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3.xml" ContentType="application/vnd.openxmlformats-officedocument.presentationml.notesSlide+xml"/>
  <Override PartName="/ppt/tags/tag30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327" r:id="rId1"/>
  </p:sldMasterIdLst>
  <p:notesMasterIdLst>
    <p:notesMasterId r:id="rId22"/>
  </p:notesMasterIdLst>
  <p:sldIdLst>
    <p:sldId id="261" r:id="rId2"/>
    <p:sldId id="263" r:id="rId3"/>
    <p:sldId id="288" r:id="rId4"/>
    <p:sldId id="296" r:id="rId5"/>
    <p:sldId id="264" r:id="rId6"/>
    <p:sldId id="291" r:id="rId7"/>
    <p:sldId id="289" r:id="rId8"/>
    <p:sldId id="257" r:id="rId9"/>
    <p:sldId id="293" r:id="rId10"/>
    <p:sldId id="292" r:id="rId11"/>
    <p:sldId id="270" r:id="rId12"/>
    <p:sldId id="269" r:id="rId13"/>
    <p:sldId id="299" r:id="rId14"/>
    <p:sldId id="301" r:id="rId15"/>
    <p:sldId id="302" r:id="rId16"/>
    <p:sldId id="303" r:id="rId17"/>
    <p:sldId id="305" r:id="rId18"/>
    <p:sldId id="284" r:id="rId19"/>
    <p:sldId id="304" r:id="rId20"/>
    <p:sldId id="307" r:id="rId21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6973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78" autoAdjust="0"/>
    <p:restoredTop sz="94660"/>
  </p:normalViewPr>
  <p:slideViewPr>
    <p:cSldViewPr snapToGrid="0">
      <p:cViewPr varScale="1">
        <p:scale>
          <a:sx n="88" d="100"/>
          <a:sy n="88" d="100"/>
        </p:scale>
        <p:origin x="461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282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35400819192449E-4"/>
          <c:y val="2.37859192352546E-2"/>
          <c:w val="0.98384062144367734"/>
          <c:h val="0.76404212043041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BI</c:v>
                </c:pt>
              </c:strCache>
            </c:strRef>
          </c:tx>
          <c:spPr>
            <a:solidFill>
              <a:schemeClr val="accent1"/>
            </a:solidFill>
            <a:ln w="23614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0" sourceLinked="0"/>
            <c:spPr>
              <a:noFill/>
              <a:ln w="23614">
                <a:noFill/>
              </a:ln>
            </c:spPr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0">
                  <c:v>157</c:v>
                </c:pt>
                <c:pt idx="1">
                  <c:v>165</c:v>
                </c:pt>
                <c:pt idx="2">
                  <c:v>173</c:v>
                </c:pt>
                <c:pt idx="3">
                  <c:v>177</c:v>
                </c:pt>
                <c:pt idx="4">
                  <c:v>181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hoenix</c:v>
                </c:pt>
              </c:strCache>
            </c:strRef>
          </c:tx>
          <c:spPr>
            <a:solidFill>
              <a:schemeClr val="accent2"/>
            </a:solidFill>
            <a:ln w="23614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0" sourceLinked="0"/>
            <c:spPr>
              <a:noFill/>
              <a:ln w="23614">
                <a:noFill/>
              </a:ln>
            </c:spPr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Sheet1!$B$3:$F$3</c:f>
              <c:numCache>
                <c:formatCode>General</c:formatCode>
                <c:ptCount val="5"/>
                <c:pt idx="0">
                  <c:v>181</c:v>
                </c:pt>
                <c:pt idx="1">
                  <c:v>190</c:v>
                </c:pt>
                <c:pt idx="2">
                  <c:v>195</c:v>
                </c:pt>
                <c:pt idx="3">
                  <c:v>199</c:v>
                </c:pt>
                <c:pt idx="4">
                  <c:v>203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Other AZ</c:v>
                </c:pt>
              </c:strCache>
            </c:strRef>
          </c:tx>
          <c:spPr>
            <a:solidFill>
              <a:schemeClr val="tx2"/>
            </a:solidFill>
            <a:ln w="23614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0" sourceLinked="0"/>
            <c:spPr>
              <a:noFill/>
              <a:ln w="23614">
                <a:noFill/>
              </a:ln>
            </c:spPr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Sheet1!$B$4:$F$4</c:f>
              <c:numCache>
                <c:formatCode>General</c:formatCode>
                <c:ptCount val="5"/>
                <c:pt idx="0">
                  <c:v>32</c:v>
                </c:pt>
                <c:pt idx="1">
                  <c:v>40</c:v>
                </c:pt>
                <c:pt idx="2">
                  <c:v>44</c:v>
                </c:pt>
                <c:pt idx="3">
                  <c:v>49</c:v>
                </c:pt>
                <c:pt idx="4">
                  <c:v>54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New Mexico</c:v>
                </c:pt>
              </c:strCache>
            </c:strRef>
          </c:tx>
          <c:invertIfNegative val="0"/>
          <c:cat>
            <c:numRef>
              <c:f>Sheet1!$B$1:$F$1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Sheet1!$B$5:$F$5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6</c:v>
                </c:pt>
                <c:pt idx="3">
                  <c:v>8</c:v>
                </c:pt>
                <c:pt idx="4">
                  <c:v>8</c:v>
                </c:pt>
              </c:numCache>
            </c:numRef>
          </c:val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Colorado</c:v>
                </c:pt>
              </c:strCache>
            </c:strRef>
          </c:tx>
          <c:invertIfNegative val="0"/>
          <c:cat>
            <c:numRef>
              <c:f>Sheet1!$B$1:$F$1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Sheet1!$B$6:$F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</c:numCache>
            </c:numRef>
          </c:val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Nevada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Sheet1!$B$7:$F$7</c:f>
              <c:numCache>
                <c:formatCode>General</c:formatCode>
                <c:ptCount val="5"/>
                <c:pt idx="0">
                  <c:v>3</c:v>
                </c:pt>
                <c:pt idx="1">
                  <c:v>5</c:v>
                </c:pt>
                <c:pt idx="2">
                  <c:v>8</c:v>
                </c:pt>
                <c:pt idx="3">
                  <c:v>12</c:v>
                </c:pt>
                <c:pt idx="4">
                  <c:v>14</c:v>
                </c:pt>
              </c:numCache>
            </c:numRef>
          </c:val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Texas</c:v>
                </c:pt>
              </c:strCache>
            </c:strRef>
          </c:tx>
          <c:invertIfNegative val="0"/>
          <c:cat>
            <c:numRef>
              <c:f>Sheet1!$B$1:$F$1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Sheet1!$B$8:$F$8</c:f>
              <c:numCache>
                <c:formatCode>General</c:formatCode>
                <c:ptCount val="5"/>
                <c:pt idx="0">
                  <c:v>1</c:v>
                </c:pt>
                <c:pt idx="1">
                  <c:v>3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</c:numCache>
            </c:numRef>
          </c:val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Total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Sheet1!$B$9:$F$9</c:f>
              <c:numCache>
                <c:formatCode>General</c:formatCode>
                <c:ptCount val="5"/>
                <c:pt idx="0">
                  <c:v>380</c:v>
                </c:pt>
                <c:pt idx="1">
                  <c:v>409</c:v>
                </c:pt>
                <c:pt idx="2">
                  <c:v>435</c:v>
                </c:pt>
                <c:pt idx="3">
                  <c:v>453</c:v>
                </c:pt>
                <c:pt idx="4">
                  <c:v>4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-10"/>
        <c:axId val="185649984"/>
        <c:axId val="185650768"/>
      </c:barChart>
      <c:catAx>
        <c:axId val="185649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accent2"/>
            </a:solidFill>
            <a:prstDash val="solid"/>
          </a:ln>
        </c:spPr>
        <c:txPr>
          <a:bodyPr rot="0" vert="horz"/>
          <a:lstStyle/>
          <a:p>
            <a:pPr>
              <a:defRPr b="0"/>
            </a:pPr>
            <a:endParaRPr lang="en-US"/>
          </a:p>
        </c:txPr>
        <c:crossAx val="185650768"/>
        <c:crosses val="autoZero"/>
        <c:auto val="1"/>
        <c:lblAlgn val="ctr"/>
        <c:lblOffset val="0"/>
        <c:tickLblSkip val="1"/>
        <c:tickMarkSkip val="1"/>
        <c:noMultiLvlLbl val="0"/>
      </c:catAx>
      <c:valAx>
        <c:axId val="18565076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85649984"/>
        <c:crosses val="autoZero"/>
        <c:crossBetween val="between"/>
      </c:valAx>
      <c:spPr>
        <a:noFill/>
        <a:ln w="23614">
          <a:noFill/>
        </a:ln>
      </c:spPr>
    </c:plotArea>
    <c:legend>
      <c:legendPos val="b"/>
      <c:layout>
        <c:manualLayout>
          <c:xMode val="edge"/>
          <c:yMode val="edge"/>
          <c:x val="1.07479163115143E-2"/>
          <c:y val="0.88344722170376144"/>
          <c:w val="0.74333725911278126"/>
          <c:h val="8.6438615148015846E-2"/>
        </c:manualLayout>
      </c:layout>
      <c:overlay val="0"/>
      <c:spPr>
        <a:noFill/>
        <a:ln w="23614">
          <a:noFill/>
        </a:ln>
      </c:spPr>
      <c:txPr>
        <a:bodyPr/>
        <a:lstStyle/>
        <a:p>
          <a:pPr>
            <a:defRPr sz="1200" b="0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29E4DBD-4EC8-4DAF-9F9B-2B0D35AE55EB}" type="datetimeFigureOut">
              <a:rPr lang="en-US" smtClean="0"/>
              <a:t>3/6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D69C156-EE18-47D4-9FBE-2DB459A98E4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17515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94050" y="439738"/>
            <a:ext cx="3759200" cy="2114550"/>
          </a:xfrm>
          <a:ln/>
        </p:spPr>
      </p:sp>
      <p:sp>
        <p:nvSpPr>
          <p:cNvPr id="9218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dirty="0" smtClean="0"/>
          </a:p>
        </p:txBody>
      </p:sp>
      <p:sp>
        <p:nvSpPr>
          <p:cNvPr id="9219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85D7831A-E7BC-4E46-8610-581DD3A0572B}" type="slidenum">
              <a:rPr lang="de-DE" smtClean="0">
                <a:latin typeface="Arial" charset="0"/>
                <a:cs typeface="Arial" charset="0"/>
              </a:rPr>
              <a:pPr/>
              <a:t>1</a:t>
            </a:fld>
            <a:endParaRPr lang="de-DE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16235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4050" y="439738"/>
            <a:ext cx="3759200" cy="211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B55028-91D5-41C1-982E-87A29F9EADBE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25427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4050" y="439738"/>
            <a:ext cx="3759200" cy="211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B55028-91D5-41C1-982E-87A29F9EADBE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96455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4050" y="439738"/>
            <a:ext cx="3759200" cy="211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B55028-91D5-41C1-982E-87A29F9EADBE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10542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4050" y="439738"/>
            <a:ext cx="3759200" cy="211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B55028-91D5-41C1-982E-87A29F9EADBE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61814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4050" y="439738"/>
            <a:ext cx="3759200" cy="211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B55028-91D5-41C1-982E-87A29F9EADBE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68312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94050" y="439738"/>
            <a:ext cx="3759200" cy="211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B55028-91D5-41C1-982E-87A29F9EADBE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10165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94050" y="439738"/>
            <a:ext cx="3759200" cy="2114550"/>
          </a:xfrm>
          <a:ln/>
        </p:spPr>
      </p:sp>
      <p:sp>
        <p:nvSpPr>
          <p:cNvPr id="16386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  <p:sp>
        <p:nvSpPr>
          <p:cNvPr id="16387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D07C698A-87CD-4678-B9CF-18C2789BEDFC}" type="slidenum">
              <a:rPr lang="de-DE" smtClean="0">
                <a:latin typeface="Arial" charset="0"/>
                <a:cs typeface="Arial" charset="0"/>
              </a:rPr>
              <a:pPr/>
              <a:t>19</a:t>
            </a:fld>
            <a:endParaRPr lang="de-DE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36760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69C156-EE18-47D4-9FBE-2DB459A98E4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194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2A2D3FB-BF57-45D8-A42F-E25B2412EBBE}" type="slidenum">
              <a:rPr lang="de-DE"/>
              <a:pPr/>
              <a:t>3</a:t>
            </a:fld>
            <a:endParaRPr lang="de-DE"/>
          </a:p>
        </p:txBody>
      </p:sp>
      <p:sp>
        <p:nvSpPr>
          <p:cNvPr id="2437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76538" y="517525"/>
            <a:ext cx="4605337" cy="2590800"/>
          </a:xfrm>
          <a:ln/>
        </p:spPr>
      </p:sp>
      <p:sp>
        <p:nvSpPr>
          <p:cNvPr id="2437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14039" y="3282459"/>
            <a:ext cx="8119158" cy="3110694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83904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94050" y="439738"/>
            <a:ext cx="3759200" cy="211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B55028-91D5-41C1-982E-87A29F9EADBE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58633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94050" y="439738"/>
            <a:ext cx="3759200" cy="2114550"/>
          </a:xfrm>
          <a:ln/>
        </p:spPr>
      </p:sp>
      <p:sp>
        <p:nvSpPr>
          <p:cNvPr id="18434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  <a:p>
            <a:endParaRPr lang="de-DE" smtClean="0"/>
          </a:p>
        </p:txBody>
      </p:sp>
      <p:sp>
        <p:nvSpPr>
          <p:cNvPr id="18435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5E104E05-894A-433F-B7DC-9F9C3229462D}" type="slidenum">
              <a:rPr lang="de-DE" smtClean="0">
                <a:latin typeface="Arial" charset="0"/>
                <a:cs typeface="Arial" charset="0"/>
              </a:rPr>
              <a:pPr/>
              <a:t>5</a:t>
            </a:fld>
            <a:endParaRPr lang="de-DE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46254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94050" y="439738"/>
            <a:ext cx="3759200" cy="2114550"/>
          </a:xfrm>
          <a:ln/>
        </p:spPr>
      </p:sp>
      <p:sp>
        <p:nvSpPr>
          <p:cNvPr id="18434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  <a:p>
            <a:endParaRPr lang="de-DE" smtClean="0"/>
          </a:p>
        </p:txBody>
      </p:sp>
      <p:sp>
        <p:nvSpPr>
          <p:cNvPr id="18435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5E104E05-894A-433F-B7DC-9F9C3229462D}" type="slidenum">
              <a:rPr lang="de-DE" smtClean="0">
                <a:latin typeface="Arial" charset="0"/>
                <a:cs typeface="Arial" charset="0"/>
              </a:rPr>
              <a:pPr/>
              <a:t>7</a:t>
            </a:fld>
            <a:endParaRPr lang="de-DE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4259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72216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66" indent="-291179" defTabSz="972216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717" indent="-232943" defTabSz="972216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604" indent="-232943" defTabSz="972216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491" indent="-232943" defTabSz="972216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377" indent="-232943" defTabSz="972216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264" indent="-232943" defTabSz="972216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4151" indent="-232943" defTabSz="972216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0038" indent="-232943" defTabSz="972216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CCDC688-EFFC-4939-B17C-478FC8901467}" type="slidenum">
              <a:rPr lang="de-DE" sz="1200"/>
              <a:pPr/>
              <a:t>9</a:t>
            </a:fld>
            <a:endParaRPr lang="de-DE" sz="1200"/>
          </a:p>
        </p:txBody>
      </p:sp>
      <p:sp>
        <p:nvSpPr>
          <p:cNvPr id="61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94050" y="439738"/>
            <a:ext cx="3759200" cy="2114550"/>
          </a:xfrm>
          <a:ln/>
        </p:spPr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5975094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72216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66" indent="-291179" defTabSz="972216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717" indent="-232943" defTabSz="972216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604" indent="-232943" defTabSz="972216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491" indent="-232943" defTabSz="972216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377" indent="-232943" defTabSz="972216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264" indent="-232943" defTabSz="972216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4151" indent="-232943" defTabSz="972216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0038" indent="-232943" defTabSz="972216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6A37C337-8C14-4C43-9AD7-F94FF2032E2A}" type="slidenum">
              <a:rPr lang="de-DE" sz="1200"/>
              <a:pPr/>
              <a:t>11</a:t>
            </a:fld>
            <a:endParaRPr lang="de-DE" sz="1200"/>
          </a:p>
        </p:txBody>
      </p:sp>
      <p:sp>
        <p:nvSpPr>
          <p:cNvPr id="1331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74950" y="517525"/>
            <a:ext cx="4606925" cy="2590800"/>
          </a:xfrm>
          <a:ln/>
        </p:spPr>
      </p:sp>
      <p:sp>
        <p:nvSpPr>
          <p:cNvPr id="13312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4113128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94050" y="439738"/>
            <a:ext cx="3759200" cy="211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B55028-91D5-41C1-982E-87A29F9EADBE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1784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54FD2A-3A49-4980-BD92-41DB13A20ECD}" type="datetime1">
              <a:rPr lang="en-US" smtClean="0"/>
              <a:t>3/6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mp Daisy and Harry Stein 2015-2020 Strategic Pla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FDF88-F8EA-4BDC-9CD1-21C405F45AAE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52498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C955FC-EEF9-4BDB-95EB-A9EF7250D07B}" type="datetime1">
              <a:rPr lang="en-US" smtClean="0"/>
              <a:t>3/6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mp Daisy and Harry Stein 2015-2020 Strategic Pla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FDF88-F8EA-4BDC-9CD1-21C405F45AA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9764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4778"/>
            <a:ext cx="2628900" cy="575742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4778"/>
            <a:ext cx="7734300" cy="5757422"/>
          </a:xfrm>
        </p:spPr>
        <p:txBody>
          <a:bodyPr vert="eaVert" lIns="45720" tIns="0" rIns="4572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A77AFB-65B8-49B2-9A3A-3E85F5D40654}" type="datetime1">
              <a:rPr lang="en-US" smtClean="0"/>
              <a:t>3/6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mp Daisy and Harry Stein 2015-2020 Strategic Pla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FDF88-F8EA-4BDC-9CD1-21C405F45AA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3072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869970" y="731345"/>
            <a:ext cx="5315444" cy="2597034"/>
          </a:xfrm>
          <a:gradFill rotWithShape="1">
            <a:gsLst>
              <a:gs pos="0">
                <a:srgbClr val="E1000F"/>
              </a:gs>
              <a:gs pos="100000">
                <a:srgbClr val="800000"/>
              </a:gs>
            </a:gsLst>
            <a:lin ang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36000"/>
          <a:lstStyle>
            <a:lvl1pPr>
              <a:lnSpc>
                <a:spcPct val="100000"/>
              </a:lnSpc>
              <a:defRPr lang="en-US" b="0" kern="0" noProof="0" dirty="0" smtClean="0">
                <a:solidFill>
                  <a:srgbClr val="FFFFFF"/>
                </a:solidFill>
                <a:latin typeface="Arial" charset="0"/>
                <a:ea typeface="ＭＳ Ｐゴシック" charset="0"/>
                <a:cs typeface="Arial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buClr>
                <a:srgbClr val="AFB4B9"/>
              </a:buClr>
            </a:pPr>
            <a:r>
              <a:rPr lang="en-US" noProof="0" smtClean="0"/>
              <a:t>Click to edit Master title style</a:t>
            </a:r>
            <a:endParaRPr lang="de-DE" noProof="0" dirty="0" smtClean="0"/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6" hasCustomPrompt="1"/>
          </p:nvPr>
        </p:nvSpPr>
        <p:spPr>
          <a:xfrm>
            <a:off x="2228855" y="3448344"/>
            <a:ext cx="1238821" cy="1238538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 (optional)</a:t>
            </a:r>
            <a:endParaRPr lang="de-DE" noProof="0" smtClean="0"/>
          </a:p>
        </p:txBody>
      </p:sp>
      <p:sp>
        <p:nvSpPr>
          <p:cNvPr id="22" name="Bildplatzhalter 2"/>
          <p:cNvSpPr>
            <a:spLocks noGrp="1"/>
          </p:cNvSpPr>
          <p:nvPr>
            <p:ph type="pic" sz="quarter" idx="18" hasCustomPrompt="1"/>
          </p:nvPr>
        </p:nvSpPr>
        <p:spPr>
          <a:xfrm>
            <a:off x="4885657" y="3448344"/>
            <a:ext cx="2599515" cy="1238538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 (optional)</a:t>
            </a:r>
            <a:endParaRPr lang="de-DE" noProof="0" smtClean="0"/>
          </a:p>
        </p:txBody>
      </p:sp>
      <p:sp>
        <p:nvSpPr>
          <p:cNvPr id="29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6245366" y="731345"/>
            <a:ext cx="2598727" cy="2597034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 (optional)</a:t>
            </a:r>
            <a:endParaRPr lang="de-DE" noProof="0" smtClean="0"/>
          </a:p>
        </p:txBody>
      </p:sp>
      <p:sp>
        <p:nvSpPr>
          <p:cNvPr id="30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10232559" y="731347"/>
            <a:ext cx="1239676" cy="1238536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 (optional)</a:t>
            </a:r>
            <a:endParaRPr lang="de-DE" noProof="0" smtClean="0"/>
          </a:p>
        </p:txBody>
      </p:sp>
      <p:sp>
        <p:nvSpPr>
          <p:cNvPr id="31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8873409" y="2089845"/>
            <a:ext cx="2598827" cy="2597038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 (optional)</a:t>
            </a:r>
            <a:endParaRPr lang="de-DE" noProof="0" smtClean="0"/>
          </a:p>
        </p:txBody>
      </p:sp>
      <p:sp>
        <p:nvSpPr>
          <p:cNvPr id="32" name="Bildplatzhalter 2"/>
          <p:cNvSpPr>
            <a:spLocks noGrp="1"/>
          </p:cNvSpPr>
          <p:nvPr>
            <p:ph type="pic" sz="quarter" idx="22" hasCustomPrompt="1"/>
          </p:nvPr>
        </p:nvSpPr>
        <p:spPr>
          <a:xfrm>
            <a:off x="869970" y="3448344"/>
            <a:ext cx="1238885" cy="1238538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None/>
              <a:defRPr lang="de-DE" sz="1066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 (optional)</a:t>
            </a:r>
            <a:endParaRPr lang="de-DE" noProof="0" smtClean="0"/>
          </a:p>
        </p:txBody>
      </p:sp>
      <p:sp>
        <p:nvSpPr>
          <p:cNvPr id="33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3587018" y="3448349"/>
            <a:ext cx="1240135" cy="1238534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None/>
              <a:defRPr lang="de-DE" sz="1066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 (optional)</a:t>
            </a:r>
            <a:endParaRPr lang="de-DE" noProof="0" smtClean="0"/>
          </a:p>
        </p:txBody>
      </p:sp>
      <p:sp>
        <p:nvSpPr>
          <p:cNvPr id="34" name="Bildplatzhalter 2"/>
          <p:cNvSpPr>
            <a:spLocks noGrp="1"/>
          </p:cNvSpPr>
          <p:nvPr>
            <p:ph type="pic" sz="quarter" idx="24" hasCustomPrompt="1"/>
          </p:nvPr>
        </p:nvSpPr>
        <p:spPr>
          <a:xfrm>
            <a:off x="8874299" y="731349"/>
            <a:ext cx="1239149" cy="1238534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 (optional)</a:t>
            </a:r>
            <a:endParaRPr lang="de-DE" noProof="0" smtClean="0"/>
          </a:p>
        </p:txBody>
      </p:sp>
      <p:sp>
        <p:nvSpPr>
          <p:cNvPr id="35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7544730" y="3448350"/>
            <a:ext cx="1238919" cy="1238534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 (optional)</a:t>
            </a:r>
            <a:endParaRPr lang="de-DE" noProof="0" smtClean="0"/>
          </a:p>
        </p:txBody>
      </p:sp>
      <p:sp>
        <p:nvSpPr>
          <p:cNvPr id="13" name="Rectangle 12"/>
          <p:cNvSpPr/>
          <p:nvPr userDrawn="1"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" name="Datumsplatzhalter 2"/>
          <p:cNvSpPr>
            <a:spLocks noGrp="1"/>
          </p:cNvSpPr>
          <p:nvPr>
            <p:ph type="dt" sz="half" idx="10"/>
          </p:nvPr>
        </p:nvSpPr>
        <p:spPr>
          <a:xfrm>
            <a:off x="1097280" y="6459785"/>
            <a:ext cx="2472271" cy="365125"/>
          </a:xfrm>
        </p:spPr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48E4BE11-F4E6-41DC-9DBC-5EB7C7A775F9}" type="datetime1">
              <a:rPr lang="en-US" smtClean="0"/>
              <a:t>3/6/2015</a:t>
            </a:fld>
            <a:endParaRPr lang="de-DE"/>
          </a:p>
        </p:txBody>
      </p:sp>
      <p:sp>
        <p:nvSpPr>
          <p:cNvPr id="16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686185" y="6459785"/>
            <a:ext cx="4822804" cy="36512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sp>
        <p:nvSpPr>
          <p:cNvPr id="17" name="Rectangle 16"/>
          <p:cNvSpPr/>
          <p:nvPr userDrawn="1"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8" name="Rectangle 17"/>
          <p:cNvSpPr/>
          <p:nvPr userDrawn="1"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" name="Date Placeholder 3"/>
          <p:cNvSpPr txBox="1">
            <a:spLocks/>
          </p:cNvSpPr>
          <p:nvPr userDrawn="1"/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0F2FC03-AE8D-4222-84FA-5727F04C9F69}" type="datetimeFigureOut">
              <a:rPr lang="en-US" smtClean="0"/>
              <a:pPr/>
              <a:t>3/6/2015</a:t>
            </a:fld>
            <a:endParaRPr lang="en-US" dirty="0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0F1FDF88-F8EA-4BDC-9CD1-21C405F45AA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63924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C8843683-11F1-4F6E-8627-3184BA304D77}" type="datetime1">
              <a:rPr lang="en-US" smtClean="0"/>
              <a:t>3/6/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5933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ildplatzhalter 2"/>
          <p:cNvSpPr>
            <a:spLocks noGrp="1"/>
          </p:cNvSpPr>
          <p:nvPr>
            <p:ph type="pic" sz="quarter" idx="32" hasCustomPrompt="1"/>
          </p:nvPr>
        </p:nvSpPr>
        <p:spPr>
          <a:xfrm>
            <a:off x="1487488" y="1557370"/>
            <a:ext cx="1296144" cy="12956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</a:t>
            </a:r>
            <a:endParaRPr lang="de-DE" noProof="0" dirty="0" smtClean="0"/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7" y="1557370"/>
            <a:ext cx="575800" cy="1295016"/>
          </a:xfr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72000" tIns="72000" rIns="36000" bIns="72000" anchor="t"/>
          <a:lstStyle>
            <a:lvl1pPr marL="0" indent="0" algn="ctr">
              <a:buNone/>
              <a:defRPr lang="de-DE" sz="1866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de-DE" dirty="0" smtClean="0"/>
              <a:t>X.</a:t>
            </a:r>
          </a:p>
        </p:txBody>
      </p:sp>
      <p:sp>
        <p:nvSpPr>
          <p:cNvPr id="22" name="Textplatzhalt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2975653" y="1557370"/>
            <a:ext cx="8496680" cy="1295016"/>
          </a:xfrm>
          <a:gradFill rotWithShape="1">
            <a:gsLst>
              <a:gs pos="0">
                <a:schemeClr val="bg2"/>
              </a:gs>
              <a:gs pos="46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216000" tIns="72009" rIns="72009" bIns="72000" anchor="ctr"/>
          <a:lstStyle>
            <a:lvl1pPr marL="0" indent="0">
              <a:buNone/>
              <a:defRPr lang="de-DE" sz="2666" b="0" kern="1200" dirty="0" smtClean="0">
                <a:solidFill>
                  <a:schemeClr val="accent2"/>
                </a:solidFill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 lvl="0" defTabSz="1193412">
              <a:buClr>
                <a:srgbClr val="E1000F"/>
              </a:buClr>
              <a:tabLst>
                <a:tab pos="1055874" algn="l"/>
              </a:tabLst>
            </a:pPr>
            <a:r>
              <a:rPr lang="de-DE" dirty="0" smtClean="0"/>
              <a:t>Agenda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667" y="302591"/>
            <a:ext cx="6432451" cy="1007222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50774894-4DF1-4DE7-8DAE-62F424F318CF}" type="datetime1">
              <a:rPr lang="en-US" smtClean="0"/>
              <a:t>3/6/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34" hasCustomPrompt="1"/>
          </p:nvPr>
        </p:nvSpPr>
        <p:spPr>
          <a:xfrm>
            <a:off x="1487488" y="3046085"/>
            <a:ext cx="1296144" cy="12956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</a:t>
            </a:r>
            <a:endParaRPr lang="de-DE" noProof="0" smtClean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719667" y="3046085"/>
            <a:ext cx="575800" cy="1295016"/>
          </a:xfr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72000" tIns="72000" rIns="36000" bIns="72000" anchor="t"/>
          <a:lstStyle>
            <a:lvl1pPr marL="0" indent="0" algn="ctr">
              <a:buNone/>
              <a:defRPr lang="de-DE" sz="1866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de-DE" dirty="0" smtClean="0"/>
              <a:t>X.</a:t>
            </a:r>
          </a:p>
        </p:txBody>
      </p:sp>
      <p:sp>
        <p:nvSpPr>
          <p:cNvPr id="25" name="Textplatzhalter 23"/>
          <p:cNvSpPr>
            <a:spLocks noGrp="1"/>
          </p:cNvSpPr>
          <p:nvPr>
            <p:ph type="body" sz="quarter" idx="36" hasCustomPrompt="1"/>
          </p:nvPr>
        </p:nvSpPr>
        <p:spPr>
          <a:xfrm>
            <a:off x="2975653" y="3046085"/>
            <a:ext cx="8496680" cy="1295016"/>
          </a:xfrm>
          <a:gradFill rotWithShape="1">
            <a:gsLst>
              <a:gs pos="0">
                <a:schemeClr val="bg2"/>
              </a:gs>
              <a:gs pos="46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216000" tIns="72009" rIns="72009" bIns="72000" anchor="ctr"/>
          <a:lstStyle>
            <a:lvl1pPr marL="0" indent="0">
              <a:buNone/>
              <a:defRPr lang="de-DE" sz="2666" b="0" kern="1200" dirty="0" smtClean="0">
                <a:solidFill>
                  <a:schemeClr val="accent2"/>
                </a:solidFill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 lvl="0" defTabSz="1193412">
              <a:buClr>
                <a:srgbClr val="E1000F"/>
              </a:buClr>
              <a:tabLst>
                <a:tab pos="1055874" algn="l"/>
              </a:tabLst>
            </a:pPr>
            <a:r>
              <a:rPr lang="de-DE" dirty="0" smtClean="0"/>
              <a:t>Agenda</a:t>
            </a:r>
          </a:p>
        </p:txBody>
      </p:sp>
      <p:sp>
        <p:nvSpPr>
          <p:cNvPr id="28" name="Bildplatzhalter 2"/>
          <p:cNvSpPr>
            <a:spLocks noGrp="1"/>
          </p:cNvSpPr>
          <p:nvPr>
            <p:ph type="pic" sz="quarter" idx="37" hasCustomPrompt="1"/>
          </p:nvPr>
        </p:nvSpPr>
        <p:spPr>
          <a:xfrm>
            <a:off x="1487488" y="4533510"/>
            <a:ext cx="1296144" cy="12956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</a:t>
            </a:r>
            <a:endParaRPr lang="de-DE" noProof="0" smtClean="0"/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38" hasCustomPrompt="1"/>
          </p:nvPr>
        </p:nvSpPr>
        <p:spPr>
          <a:xfrm>
            <a:off x="719667" y="4533510"/>
            <a:ext cx="575800" cy="1295016"/>
          </a:xfr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72000" tIns="72000" rIns="36000" bIns="72000" anchor="t"/>
          <a:lstStyle>
            <a:lvl1pPr marL="0" indent="0" algn="ctr">
              <a:buNone/>
              <a:defRPr lang="de-DE" sz="1866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de-DE" dirty="0" smtClean="0"/>
              <a:t>X.</a:t>
            </a:r>
          </a:p>
        </p:txBody>
      </p:sp>
      <p:sp>
        <p:nvSpPr>
          <p:cNvPr id="33" name="Textplatzhalter 23"/>
          <p:cNvSpPr>
            <a:spLocks noGrp="1"/>
          </p:cNvSpPr>
          <p:nvPr>
            <p:ph type="body" sz="quarter" idx="39" hasCustomPrompt="1"/>
          </p:nvPr>
        </p:nvSpPr>
        <p:spPr>
          <a:xfrm>
            <a:off x="2975653" y="4533510"/>
            <a:ext cx="8496680" cy="1295016"/>
          </a:xfrm>
          <a:gradFill rotWithShape="1">
            <a:gsLst>
              <a:gs pos="0">
                <a:schemeClr val="bg2"/>
              </a:gs>
              <a:gs pos="46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216000" tIns="72009" rIns="72009" bIns="72000" anchor="ctr"/>
          <a:lstStyle>
            <a:lvl1pPr marL="0" indent="0">
              <a:buNone/>
              <a:defRPr lang="de-DE" sz="2666" b="0" kern="1200" dirty="0" smtClean="0">
                <a:solidFill>
                  <a:schemeClr val="accent2"/>
                </a:solidFill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 lvl="0" defTabSz="1193412">
              <a:buClr>
                <a:srgbClr val="E1000F"/>
              </a:buClr>
              <a:tabLst>
                <a:tab pos="1055874" algn="l"/>
              </a:tabLst>
            </a:pPr>
            <a:r>
              <a:rPr lang="de-DE" dirty="0" smtClean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633475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und Multi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8295667" y="1557386"/>
            <a:ext cx="984000" cy="983696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 </a:t>
            </a:r>
            <a:r>
              <a:rPr lang="de-DE" noProof="0" smtClean="0"/>
              <a:t>(optional)</a:t>
            </a:r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91435" y="1557370"/>
            <a:ext cx="984000" cy="983696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 </a:t>
            </a:r>
            <a:r>
              <a:rPr lang="de-DE" noProof="0" smtClean="0"/>
              <a:t>(optional)</a:t>
            </a:r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15" hasCustomPrompt="1"/>
          </p:nvPr>
        </p:nvSpPr>
        <p:spPr>
          <a:xfrm>
            <a:off x="8295667" y="2653201"/>
            <a:ext cx="984000" cy="983696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 </a:t>
            </a:r>
            <a:r>
              <a:rPr lang="de-DE" noProof="0" smtClean="0"/>
              <a:t>(optional)</a:t>
            </a:r>
          </a:p>
        </p:txBody>
      </p:sp>
      <p:sp>
        <p:nvSpPr>
          <p:cNvPr id="25" name="Bildplatzhalter 2"/>
          <p:cNvSpPr>
            <a:spLocks noGrp="1"/>
          </p:cNvSpPr>
          <p:nvPr>
            <p:ph type="pic" sz="quarter" idx="16" hasCustomPrompt="1"/>
          </p:nvPr>
        </p:nvSpPr>
        <p:spPr>
          <a:xfrm>
            <a:off x="8295667" y="3749016"/>
            <a:ext cx="994303" cy="983696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 </a:t>
            </a:r>
            <a:r>
              <a:rPr lang="de-DE" noProof="0" smtClean="0"/>
              <a:t>(optional)</a:t>
            </a:r>
          </a:p>
        </p:txBody>
      </p:sp>
      <p:sp>
        <p:nvSpPr>
          <p:cNvPr id="26" name="Bildplatzhalter 2"/>
          <p:cNvSpPr>
            <a:spLocks noGrp="1"/>
          </p:cNvSpPr>
          <p:nvPr>
            <p:ph type="pic" sz="quarter" idx="17" hasCustomPrompt="1"/>
          </p:nvPr>
        </p:nvSpPr>
        <p:spPr>
          <a:xfrm>
            <a:off x="9391435" y="2653202"/>
            <a:ext cx="2081163" cy="2079511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 </a:t>
            </a:r>
            <a:r>
              <a:rPr lang="de-DE" noProof="0" smtClean="0"/>
              <a:t>(optional)</a:t>
            </a:r>
          </a:p>
        </p:txBody>
      </p:sp>
      <p:sp>
        <p:nvSpPr>
          <p:cNvPr id="27" name="Bildplatzhalter 2"/>
          <p:cNvSpPr>
            <a:spLocks noGrp="1"/>
          </p:cNvSpPr>
          <p:nvPr>
            <p:ph type="pic" sz="quarter" idx="18" hasCustomPrompt="1"/>
          </p:nvPr>
        </p:nvSpPr>
        <p:spPr>
          <a:xfrm>
            <a:off x="9391435" y="4844830"/>
            <a:ext cx="984000" cy="983696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 </a:t>
            </a:r>
            <a:r>
              <a:rPr lang="de-DE" noProof="0" smtClean="0"/>
              <a:t>(optional)</a:t>
            </a:r>
          </a:p>
        </p:txBody>
      </p:sp>
      <p:sp>
        <p:nvSpPr>
          <p:cNvPr id="28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10488597" y="4844830"/>
            <a:ext cx="984000" cy="983696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66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 smtClean="0"/>
              <a:t>Click icon to add picture </a:t>
            </a:r>
            <a:r>
              <a:rPr lang="de-DE" noProof="0" smtClean="0"/>
              <a:t>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667" y="302591"/>
            <a:ext cx="6336440" cy="1007222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19667" y="1489673"/>
            <a:ext cx="6336440" cy="435264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DF7A650F-5AB5-4291-BFD3-3F2B382077A6}" type="datetime1">
              <a:rPr lang="en-US" smtClean="0"/>
              <a:t>3/6/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099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E75758-2E8F-47B6-B18F-98F0092E41AF}" type="datetime1">
              <a:rPr lang="en-US" smtClean="0"/>
              <a:t>3/6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mp Daisy and Harry Stein 2015-2020 Strategic Pla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FDF88-F8EA-4BDC-9CD1-21C405F45AA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2958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E457FE-6DFC-4BC9-93BF-4627F6464E37}" type="datetime1">
              <a:rPr lang="en-US" smtClean="0"/>
              <a:t>3/6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mp Daisy and Harry Stein 2015-2020 Strategic Pla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FDF88-F8EA-4BDC-9CD1-21C405F45AAE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73392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B4241-828E-4C32-89A1-647419B060AE}" type="datetime1">
              <a:rPr lang="en-US" smtClean="0"/>
              <a:t>3/6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mp Daisy and Harry Stein 2015-2020 Strategic Pla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FDF88-F8EA-4BDC-9CD1-21C405F45AA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63760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ADDE94-F118-40C7-AAE8-F835FD27B3CD}" type="datetime1">
              <a:rPr lang="en-US" smtClean="0"/>
              <a:t>3/6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mp Daisy and Harry Stein 2015-2020 Strategic Pla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FDF88-F8EA-4BDC-9CD1-21C405F45AA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620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C2440C-B812-427A-B384-5140011AB7CE}" type="datetime1">
              <a:rPr lang="en-US" smtClean="0"/>
              <a:t>3/6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mp Daisy and Harry Stein 2015-2020 Strategic Pla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FDF88-F8EA-4BDC-9CD1-21C405F45AA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32443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22B21-A899-460F-8221-6652A4F22625}" type="datetime1">
              <a:rPr lang="en-US" smtClean="0"/>
              <a:t>3/6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amp Daisy and Harry Stein 2015-2020 Strategic Pla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FDF88-F8EA-4BDC-9CD1-21C405F45AA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0191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FAEDAF94-17CF-4789-A352-74E9435D2C26}" type="datetime1">
              <a:rPr lang="en-US" smtClean="0"/>
              <a:t>3/6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amp Daisy and Harry Stein 2015-2020 Strategic Pla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F1FDF88-F8EA-4BDC-9CD1-21C405F45AA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95533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3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CAFAAB-35FA-4411-A9EC-1AD54209A52E}" type="datetime1">
              <a:rPr lang="en-US" smtClean="0"/>
              <a:t>3/6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Camp Daisy and Harry Stein 2015-2020 Strategic Pla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1FDF88-F8EA-4BDC-9CD1-21C405F45AA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98234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EBB7D56C-BB42-416D-A2C6-18BB37163FBB}" type="datetime1">
              <a:rPr lang="en-US" smtClean="0"/>
              <a:t>3/6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amp Daisy and Harry Stein 2015-2020 Strategic Pla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0F1FDF88-F8EA-4BDC-9CD1-21C405F45AAE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9711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8" r:id="rId1"/>
    <p:sldLayoutId id="2147484329" r:id="rId2"/>
    <p:sldLayoutId id="2147484330" r:id="rId3"/>
    <p:sldLayoutId id="2147484331" r:id="rId4"/>
    <p:sldLayoutId id="2147484332" r:id="rId5"/>
    <p:sldLayoutId id="2147484333" r:id="rId6"/>
    <p:sldLayoutId id="2147484334" r:id="rId7"/>
    <p:sldLayoutId id="2147484335" r:id="rId8"/>
    <p:sldLayoutId id="2147484336" r:id="rId9"/>
    <p:sldLayoutId id="2147484337" r:id="rId10"/>
    <p:sldLayoutId id="2147484338" r:id="rId11"/>
    <p:sldLayoutId id="2147484339" r:id="rId12"/>
    <p:sldLayoutId id="2147484340" r:id="rId13"/>
    <p:sldLayoutId id="2147484343" r:id="rId14"/>
    <p:sldLayoutId id="2147484344" r:id="rId15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12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jpg"/><Relationship Id="rId11" Type="http://schemas.openxmlformats.org/officeDocument/2006/relationships/image" Target="../media/image10.jpeg"/><Relationship Id="rId5" Type="http://schemas.openxmlformats.org/officeDocument/2006/relationships/image" Target="../media/image4.jpeg"/><Relationship Id="rId10" Type="http://schemas.openxmlformats.org/officeDocument/2006/relationships/image" Target="../media/image9.png"/><Relationship Id="rId4" Type="http://schemas.openxmlformats.org/officeDocument/2006/relationships/image" Target="../media/image3.jpeg"/><Relationship Id="rId9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10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notesSlide" Target="../notesSlides/notesSlide11.xml"/><Relationship Id="rId5" Type="http://schemas.openxmlformats.org/officeDocument/2006/relationships/tags" Target="../tags/tag14.xm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notesSlide" Target="../notesSlides/notesSlide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0.xml"/><Relationship Id="rId4" Type="http://schemas.openxmlformats.org/officeDocument/2006/relationships/chart" Target="../charts/char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33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solidFill>
            <a:schemeClr val="accent6">
              <a:lumMod val="75000"/>
            </a:schemeClr>
          </a:solidFill>
        </p:spPr>
        <p:txBody>
          <a:bodyPr>
            <a:normAutofit fontScale="90000"/>
          </a:bodyPr>
          <a:lstStyle/>
          <a:p>
            <a:pPr algn="ctr"/>
            <a:r>
              <a:rPr lang="de-DE" sz="4000" dirty="0" smtClean="0">
                <a:sym typeface="Arial" pitchFamily="34" charset="0"/>
              </a:rPr>
              <a:t>Camp Daisy and Harry Stein</a:t>
            </a:r>
            <a:br>
              <a:rPr lang="de-DE" sz="4000" dirty="0" smtClean="0">
                <a:sym typeface="Arial" pitchFamily="34" charset="0"/>
              </a:rPr>
            </a:br>
            <a:r>
              <a:rPr lang="de-DE" sz="4000" dirty="0" smtClean="0">
                <a:sym typeface="Arial" pitchFamily="34" charset="0"/>
              </a:rPr>
              <a:t/>
            </a:r>
            <a:br>
              <a:rPr lang="de-DE" sz="4000" dirty="0" smtClean="0">
                <a:sym typeface="Arial" pitchFamily="34" charset="0"/>
              </a:rPr>
            </a:br>
            <a:r>
              <a:rPr lang="de-DE" sz="4000" dirty="0" smtClean="0">
                <a:sym typeface="Arial" pitchFamily="34" charset="0"/>
              </a:rPr>
              <a:t>2015-2020 Strategic Plan</a:t>
            </a:r>
            <a:r>
              <a:rPr lang="de-DE" sz="4000" dirty="0" smtClean="0"/>
              <a:t/>
            </a:r>
            <a:br>
              <a:rPr lang="de-DE" sz="4000" dirty="0" smtClean="0"/>
            </a:br>
            <a:r>
              <a:rPr lang="de-DE" sz="1866" dirty="0" smtClean="0">
                <a:sym typeface="Arial" pitchFamily="34" charset="0"/>
              </a:rPr>
              <a:t>February 25, 2015</a:t>
            </a:r>
            <a:endParaRPr lang="de-DE" sz="1866" dirty="0">
              <a:sym typeface="Arial" pitchFamily="34" charset="0"/>
            </a:endParaRPr>
          </a:p>
        </p:txBody>
      </p:sp>
      <p:pic>
        <p:nvPicPr>
          <p:cNvPr id="13" name="Picture Placeholder 12"/>
          <p:cNvPicPr>
            <a:picLocks noGrp="1" noChangeAspect="1"/>
          </p:cNvPicPr>
          <p:nvPr>
            <p:ph type="pic" sz="quarter" idx="2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13" r="16713"/>
          <a:stretch>
            <a:fillRect/>
          </a:stretch>
        </p:blipFill>
        <p:spPr/>
      </p:pic>
      <p:pic>
        <p:nvPicPr>
          <p:cNvPr id="20" name="Picture Placeholder 19"/>
          <p:cNvPicPr>
            <a:picLocks noGrp="1" noChangeAspect="1"/>
          </p:cNvPicPr>
          <p:nvPr>
            <p:ph type="pic" sz="quarter" idx="2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/>
      </p:pic>
      <p:pic>
        <p:nvPicPr>
          <p:cNvPr id="27" name="Picture Placeholder 26"/>
          <p:cNvPicPr>
            <a:picLocks noGrp="1" noChangeAspect="1"/>
          </p:cNvPicPr>
          <p:nvPr>
            <p:ph type="pic" sz="quarter" idx="16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24" r="16624"/>
          <a:stretch>
            <a:fillRect/>
          </a:stretch>
        </p:blipFill>
        <p:spPr/>
      </p:pic>
      <p:pic>
        <p:nvPicPr>
          <p:cNvPr id="11" name="Picture Placeholder 10"/>
          <p:cNvPicPr>
            <a:picLocks noGrp="1" noChangeAspect="1"/>
          </p:cNvPicPr>
          <p:nvPr>
            <p:ph type="pic" sz="quarter" idx="19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27" r="20427"/>
          <a:stretch>
            <a:fillRect/>
          </a:stretch>
        </p:blipFill>
        <p:spPr/>
      </p:pic>
      <p:pic>
        <p:nvPicPr>
          <p:cNvPr id="17" name="Picture Placeholder 16"/>
          <p:cNvPicPr>
            <a:picLocks noGrp="1" noChangeAspect="1"/>
          </p:cNvPicPr>
          <p:nvPr>
            <p:ph type="pic" sz="quarter" idx="20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24" r="16624"/>
          <a:stretch>
            <a:fillRect/>
          </a:stretch>
        </p:blipFill>
        <p:spPr/>
      </p:pic>
      <p:pic>
        <p:nvPicPr>
          <p:cNvPr id="26" name="Picture Placeholder 25"/>
          <p:cNvPicPr>
            <a:picLocks noGrp="1" noChangeAspect="1"/>
          </p:cNvPicPr>
          <p:nvPr>
            <p:ph type="pic" sz="quarter" idx="23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24" r="16624"/>
          <a:stretch>
            <a:fillRect/>
          </a:stretch>
        </p:blipFill>
        <p:spPr/>
      </p:pic>
      <p:pic>
        <p:nvPicPr>
          <p:cNvPr id="33" name="Picture Placeholder 32"/>
          <p:cNvPicPr>
            <a:picLocks noGrp="1" noChangeAspect="1"/>
          </p:cNvPicPr>
          <p:nvPr>
            <p:ph type="pic" sz="quarter" idx="22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24" r="16624"/>
          <a:stretch>
            <a:fillRect/>
          </a:stretch>
        </p:blipFill>
        <p:spPr/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85657" y="3500309"/>
            <a:ext cx="2659073" cy="1186573"/>
          </a:xfrm>
          <a:prstGeom prst="rect">
            <a:avLst/>
          </a:prstGeom>
        </p:spPr>
      </p:pic>
      <p:pic>
        <p:nvPicPr>
          <p:cNvPr id="46" name="Picture Placeholder 45"/>
          <p:cNvPicPr>
            <a:picLocks noGrp="1" noChangeAspect="1"/>
          </p:cNvPicPr>
          <p:nvPr>
            <p:ph type="pic" sz="quarter" idx="18"/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264" b="14264"/>
          <a:stretch>
            <a:fillRect/>
          </a:stretch>
        </p:blipFill>
        <p:spPr/>
      </p:pic>
      <p:pic>
        <p:nvPicPr>
          <p:cNvPr id="47" name="Picture Placeholder 46"/>
          <p:cNvPicPr>
            <a:picLocks noGrp="1" noChangeAspect="1"/>
          </p:cNvPicPr>
          <p:nvPr>
            <p:ph type="pic" sz="quarter" idx="21"/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46" r="16646"/>
          <a:stretch>
            <a:fillRect/>
          </a:stretch>
        </p:blipFill>
        <p:spPr/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41349" y="4858812"/>
            <a:ext cx="4074453" cy="1317522"/>
          </a:xfrm>
          <a:prstGeom prst="rect">
            <a:avLst/>
          </a:prstGeom>
        </p:spPr>
      </p:pic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E408F6B-6073-4237-B68B-D3C6DEDB2AA5}" type="datetime1">
              <a:rPr lang="en-US" smtClean="0"/>
              <a:t>3/6/2015</a:t>
            </a:fld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957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/>
          <p:cNvPicPr>
            <a:picLocks noGrp="1" noChangeAspect="1"/>
          </p:cNvPicPr>
          <p:nvPr>
            <p:ph type="pic" sz="quarter" idx="3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/>
      </p:pic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solidFill>
            <a:schemeClr val="accent1"/>
          </a:solidFill>
        </p:spPr>
        <p:txBody>
          <a:bodyPr vert="horz" lIns="95970" tIns="95970" rIns="95970" bIns="72000" rtlCol="0" anchor="ctr">
            <a:normAutofit/>
          </a:bodyPr>
          <a:lstStyle/>
          <a:p>
            <a:r>
              <a:rPr lang="de-DE" sz="2666"/>
              <a:t>1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 vert="horz" lIns="216000" tIns="95970" rIns="72009" bIns="72000" rtlCol="0" anchor="ctr">
            <a:normAutofit/>
          </a:bodyPr>
          <a:lstStyle/>
          <a:p>
            <a:r>
              <a:rPr lang="de-DE" dirty="0" smtClean="0"/>
              <a:t>Introduction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383EB37-C8B6-4575-88B4-10AA58A86B84}" type="datetime1">
              <a:rPr lang="en-US" smtClean="0"/>
              <a:t>3/6/2015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5"/>
          </p:nvPr>
        </p:nvSpPr>
        <p:spPr>
          <a:solidFill>
            <a:schemeClr val="accent1"/>
          </a:solidFill>
        </p:spPr>
        <p:txBody>
          <a:bodyPr vert="horz" lIns="95970" tIns="95970" rIns="95970" bIns="72000" rtlCol="0" anchor="ctr">
            <a:normAutofit/>
          </a:bodyPr>
          <a:lstStyle/>
          <a:p>
            <a:r>
              <a:rPr lang="de-DE" sz="2666" b="0" dirty="0"/>
              <a:t>2.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36"/>
          </p:nvPr>
        </p:nvSpPr>
        <p:spPr/>
        <p:txBody>
          <a:bodyPr vert="horz" lIns="216000" tIns="95970" rIns="72009" bIns="72000" rtlCol="0" anchor="ctr">
            <a:normAutofit/>
          </a:bodyPr>
          <a:lstStyle/>
          <a:p>
            <a:r>
              <a:rPr lang="de-DE" dirty="0" smtClean="0"/>
              <a:t>Vision and Mission</a:t>
            </a:r>
            <a:endParaRPr lang="de-DE" dirty="0"/>
          </a:p>
        </p:txBody>
      </p:sp>
      <p:pic>
        <p:nvPicPr>
          <p:cNvPr id="16" name="Picture Placeholder 15"/>
          <p:cNvPicPr>
            <a:picLocks noGrp="1" noChangeAspect="1"/>
          </p:cNvPicPr>
          <p:nvPr>
            <p:ph type="pic" sz="quarter" idx="37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/>
      </p:pic>
      <p:sp>
        <p:nvSpPr>
          <p:cNvPr id="12" name="Textplatzhalter 11"/>
          <p:cNvSpPr>
            <a:spLocks noGrp="1"/>
          </p:cNvSpPr>
          <p:nvPr>
            <p:ph type="body" sz="quarter" idx="38"/>
          </p:nvPr>
        </p:nvSpPr>
        <p:spPr>
          <a:solidFill>
            <a:schemeClr val="tx2"/>
          </a:solidFill>
        </p:spPr>
        <p:txBody>
          <a:bodyPr vert="horz" lIns="95970" tIns="95970" rIns="95970" bIns="72000" rtlCol="0" anchor="ctr">
            <a:normAutofit/>
          </a:bodyPr>
          <a:lstStyle/>
          <a:p>
            <a:r>
              <a:rPr lang="de-DE" sz="2666" b="0" dirty="0"/>
              <a:t>3.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39"/>
          </p:nvPr>
        </p:nvSpPr>
        <p:spPr/>
        <p:txBody>
          <a:bodyPr vert="horz" lIns="216000" tIns="95970" rIns="72009" bIns="72000" rtlCol="0" anchor="ctr">
            <a:normAutofit/>
          </a:bodyPr>
          <a:lstStyle/>
          <a:p>
            <a:r>
              <a:rPr lang="de-DE" sz="3200" b="1" dirty="0" smtClean="0">
                <a:solidFill>
                  <a:schemeClr val="tx2"/>
                </a:solidFill>
              </a:rPr>
              <a:t>Five Year Plan</a:t>
            </a:r>
            <a:endParaRPr lang="de-DE" sz="3200" b="1" dirty="0">
              <a:solidFill>
                <a:schemeClr val="tx2"/>
              </a:solidFill>
            </a:endParaRPr>
          </a:p>
        </p:txBody>
      </p:sp>
      <p:pic>
        <p:nvPicPr>
          <p:cNvPr id="18" name="Picture Placeholder 17"/>
          <p:cNvPicPr>
            <a:picLocks noGrp="1" noChangeAspect="1"/>
          </p:cNvPicPr>
          <p:nvPr>
            <p:ph type="pic" sz="quarter" idx="3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/>
      </p:pic>
      <p:sp>
        <p:nvSpPr>
          <p:cNvPr id="15" name="TextBox 14"/>
          <p:cNvSpPr txBox="1"/>
          <p:nvPr/>
        </p:nvSpPr>
        <p:spPr>
          <a:xfrm>
            <a:off x="11321490" y="6455578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10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90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81" name="Rectangle 2"/>
          <p:cNvSpPr>
            <a:spLocks noGrp="1" noChangeArrowheads="1"/>
          </p:cNvSpPr>
          <p:nvPr>
            <p:ph type="title"/>
          </p:nvPr>
        </p:nvSpPr>
        <p:spPr>
          <a:xfrm>
            <a:off x="791661" y="259341"/>
            <a:ext cx="10058400" cy="1450757"/>
          </a:xfrm>
        </p:spPr>
        <p:txBody>
          <a:bodyPr>
            <a:normAutofit/>
          </a:bodyPr>
          <a:lstStyle/>
          <a:p>
            <a:r>
              <a:rPr lang="de-DE" dirty="0">
                <a:sym typeface="Arial" pitchFamily="34" charset="0"/>
              </a:rPr>
              <a:t>2015-2020 Strategic Plan</a:t>
            </a:r>
            <a:br>
              <a:rPr lang="de-DE" dirty="0">
                <a:sym typeface="Arial" pitchFamily="34" charset="0"/>
              </a:rPr>
            </a:br>
            <a:r>
              <a:rPr lang="de-DE" dirty="0" smtClean="0">
                <a:solidFill>
                  <a:schemeClr val="accent2"/>
                </a:solidFill>
                <a:sym typeface="Arial" pitchFamily="34" charset="0"/>
              </a:rPr>
              <a:t>Strategic Objectives</a:t>
            </a:r>
            <a:endParaRPr lang="en-US" dirty="0" smtClean="0">
              <a:sym typeface="Arial" panose="020B0604020202020204" pitchFamily="34" charset="0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88EC269-4E2E-46C1-9DD7-BC6ED8A65CC3}" type="datetime1">
              <a:rPr lang="en-US" smtClean="0"/>
              <a:t>3/6/201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sp>
        <p:nvSpPr>
          <p:cNvPr id="20" name="AutoShape 7"/>
          <p:cNvSpPr>
            <a:spLocks noChangeArrowheads="1"/>
          </p:cNvSpPr>
          <p:nvPr/>
        </p:nvSpPr>
        <p:spPr bwMode="gray">
          <a:xfrm rot="5400000">
            <a:off x="1463406" y="1065635"/>
            <a:ext cx="1103765" cy="2447251"/>
          </a:xfrm>
          <a:prstGeom prst="homePlate">
            <a:avLst>
              <a:gd name="adj" fmla="val 14814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rot="10800000" vert="eaVert" wrap="square" lIns="119963" tIns="119963" rIns="119963" bIns="119963" anchor="ctr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599" b="1" dirty="0" smtClean="0">
                <a:solidFill>
                  <a:schemeClr val="bg1"/>
                </a:solidFill>
              </a:rPr>
              <a:t>Leading Jewish Outdoor Camp Experience</a:t>
            </a:r>
            <a:endParaRPr lang="en-US" sz="1599" b="1" dirty="0">
              <a:solidFill>
                <a:schemeClr val="bg1"/>
              </a:solidFill>
            </a:endParaRPr>
          </a:p>
        </p:txBody>
      </p:sp>
      <p:sp>
        <p:nvSpPr>
          <p:cNvPr id="25" name="Rectangle 3"/>
          <p:cNvSpPr>
            <a:spLocks noChangeArrowheads="1"/>
          </p:cNvSpPr>
          <p:nvPr/>
        </p:nvSpPr>
        <p:spPr bwMode="gray">
          <a:xfrm>
            <a:off x="3334900" y="1737360"/>
            <a:ext cx="8206114" cy="91171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110366" rIns="119963" bIns="110366"/>
          <a:lstStyle/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866" dirty="0" smtClean="0">
                <a:sym typeface="Arial" pitchFamily="34" charset="0"/>
              </a:rPr>
              <a:t>Competitive and contemporary Jewish outdoor camping experience</a:t>
            </a:r>
            <a:endParaRPr lang="de-DE" sz="1866" dirty="0">
              <a:sym typeface="Arial" pitchFamily="34" charset="0"/>
            </a:endParaRPr>
          </a:p>
        </p:txBody>
      </p:sp>
      <p:sp>
        <p:nvSpPr>
          <p:cNvPr id="26" name="Rectangle 3"/>
          <p:cNvSpPr>
            <a:spLocks noChangeArrowheads="1"/>
          </p:cNvSpPr>
          <p:nvPr/>
        </p:nvSpPr>
        <p:spPr bwMode="gray">
          <a:xfrm>
            <a:off x="3334900" y="2794552"/>
            <a:ext cx="8206114" cy="91171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110366" rIns="119963" bIns="110366"/>
          <a:lstStyle/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866" dirty="0" smtClean="0">
                <a:sym typeface="Arial" pitchFamily="34" charset="0"/>
              </a:rPr>
              <a:t>Financially healthy and sustainable</a:t>
            </a:r>
            <a:endParaRPr lang="de-DE" sz="1866" dirty="0">
              <a:sym typeface="Arial" pitchFamily="34" charset="0"/>
            </a:endParaRPr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gray">
          <a:xfrm>
            <a:off x="3334900" y="3851743"/>
            <a:ext cx="8206114" cy="91171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110366" rIns="119963" bIns="110366"/>
          <a:lstStyle/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866" dirty="0" smtClean="0">
                <a:sym typeface="Arial" pitchFamily="34" charset="0"/>
              </a:rPr>
              <a:t>Strong presence and capacity for service throughout the southwestern United States</a:t>
            </a:r>
            <a:endParaRPr lang="de-DE" sz="1866" dirty="0">
              <a:sym typeface="Arial" pitchFamily="34" charset="0"/>
            </a:endParaRPr>
          </a:p>
        </p:txBody>
      </p:sp>
      <p:sp>
        <p:nvSpPr>
          <p:cNvPr id="28" name="Rectangle 3"/>
          <p:cNvSpPr>
            <a:spLocks noChangeArrowheads="1"/>
          </p:cNvSpPr>
          <p:nvPr/>
        </p:nvSpPr>
        <p:spPr bwMode="gray">
          <a:xfrm>
            <a:off x="3334900" y="4920534"/>
            <a:ext cx="8206114" cy="91171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110366" rIns="119963" bIns="110366"/>
          <a:lstStyle/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866" dirty="0" smtClean="0">
                <a:sym typeface="Arial" pitchFamily="34" charset="0"/>
              </a:rPr>
              <a:t>Goverened by a strong, performance-based Camp Committee and related Sub-committees</a:t>
            </a:r>
            <a:endParaRPr lang="de-DE" sz="1866" dirty="0">
              <a:sym typeface="Arial" pitchFamily="34" charset="0"/>
            </a:endParaRPr>
          </a:p>
        </p:txBody>
      </p:sp>
      <p:sp>
        <p:nvSpPr>
          <p:cNvPr id="15" name="AutoShape 8"/>
          <p:cNvSpPr>
            <a:spLocks noChangeArrowheads="1"/>
          </p:cNvSpPr>
          <p:nvPr/>
        </p:nvSpPr>
        <p:spPr bwMode="gray">
          <a:xfrm rot="5400000">
            <a:off x="1463908" y="2122306"/>
            <a:ext cx="1102758" cy="2447251"/>
          </a:xfrm>
          <a:prstGeom prst="chevron">
            <a:avLst>
              <a:gd name="adj" fmla="val 15987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rot="10800000" vert="eaVert" wrap="square" lIns="119963" tIns="119963" rIns="119963" bIns="119963" anchor="ctr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sz="1599" b="1" dirty="0" smtClean="0">
                <a:solidFill>
                  <a:schemeClr val="bg1"/>
                </a:solidFill>
              </a:rPr>
              <a:t>Financially Healthy</a:t>
            </a:r>
            <a:endParaRPr lang="en-US" sz="1599" b="1" dirty="0">
              <a:solidFill>
                <a:schemeClr val="bg1"/>
              </a:solidFill>
            </a:endParaRPr>
          </a:p>
        </p:txBody>
      </p:sp>
      <p:sp>
        <p:nvSpPr>
          <p:cNvPr id="14" name="AutoShape 8"/>
          <p:cNvSpPr>
            <a:spLocks noChangeArrowheads="1"/>
          </p:cNvSpPr>
          <p:nvPr/>
        </p:nvSpPr>
        <p:spPr bwMode="gray">
          <a:xfrm rot="5400000">
            <a:off x="1463909" y="3179498"/>
            <a:ext cx="1102758" cy="2447251"/>
          </a:xfrm>
          <a:prstGeom prst="chevron">
            <a:avLst>
              <a:gd name="adj" fmla="val 15987"/>
            </a:avLst>
          </a:prstGeom>
          <a:solidFill>
            <a:srgbClr val="5F697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rot="10800000" vert="eaVert" wrap="square" lIns="119963" tIns="119963" rIns="119963" bIns="119963" anchor="ctr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sz="1599" b="1" dirty="0" smtClean="0">
                <a:solidFill>
                  <a:schemeClr val="bg1"/>
                </a:solidFill>
              </a:rPr>
              <a:t>Southwest Presence</a:t>
            </a:r>
            <a:endParaRPr lang="en-US" sz="1599" b="1" dirty="0">
              <a:solidFill>
                <a:schemeClr val="bg1"/>
              </a:solidFill>
            </a:endParaRPr>
          </a:p>
        </p:txBody>
      </p:sp>
      <p:sp>
        <p:nvSpPr>
          <p:cNvPr id="13" name="AutoShape 8"/>
          <p:cNvSpPr>
            <a:spLocks noChangeArrowheads="1"/>
          </p:cNvSpPr>
          <p:nvPr/>
        </p:nvSpPr>
        <p:spPr bwMode="gray">
          <a:xfrm rot="5400000">
            <a:off x="1463909" y="4232490"/>
            <a:ext cx="1102758" cy="2447251"/>
          </a:xfrm>
          <a:prstGeom prst="chevron">
            <a:avLst>
              <a:gd name="adj" fmla="val 15987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rot="10800000" vert="eaVert" wrap="square" lIns="119963" tIns="119963" rIns="119963" bIns="119963" anchor="ctr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de-DE" sz="1599" b="1" dirty="0" smtClean="0">
                <a:solidFill>
                  <a:schemeClr val="bg1"/>
                </a:solidFill>
              </a:rPr>
              <a:t>Strong Governance</a:t>
            </a:r>
            <a:endParaRPr lang="en-US" sz="1599" b="1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321490" y="6455578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11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6043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794" name="Rectangle 2"/>
          <p:cNvSpPr>
            <a:spLocks noGrp="1" noChangeArrowheads="1"/>
          </p:cNvSpPr>
          <p:nvPr>
            <p:ph type="title"/>
          </p:nvPr>
        </p:nvSpPr>
        <p:spPr>
          <a:xfrm>
            <a:off x="721325" y="195163"/>
            <a:ext cx="10058400" cy="1450757"/>
          </a:xfrm>
        </p:spPr>
        <p:txBody>
          <a:bodyPr>
            <a:normAutofit/>
          </a:bodyPr>
          <a:lstStyle/>
          <a:p>
            <a:r>
              <a:rPr lang="de-DE" dirty="0">
                <a:sym typeface="Arial" pitchFamily="34" charset="0"/>
              </a:rPr>
              <a:t>2015-2020 Strategic Plan</a:t>
            </a:r>
            <a:br>
              <a:rPr lang="de-DE" dirty="0">
                <a:sym typeface="Arial" pitchFamily="34" charset="0"/>
              </a:rPr>
            </a:br>
            <a:r>
              <a:rPr lang="de-DE" dirty="0" smtClean="0">
                <a:solidFill>
                  <a:schemeClr val="accent2"/>
                </a:solidFill>
                <a:sym typeface="Arial" pitchFamily="34" charset="0"/>
              </a:rPr>
              <a:t>Strategic Goals</a:t>
            </a:r>
            <a:endParaRPr lang="en-US" b="0" dirty="0">
              <a:solidFill>
                <a:schemeClr val="accent2"/>
              </a:solidFill>
              <a:sym typeface="Arial" pitchFamily="34" charset="0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663B8CF-8423-4FF5-BFF2-77162E32DCB1}" type="datetime1">
              <a:rPr lang="en-US" smtClean="0"/>
              <a:t>3/6/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sp>
        <p:nvSpPr>
          <p:cNvPr id="12" name="AutoShape 4"/>
          <p:cNvSpPr>
            <a:spLocks noChangeArrowheads="1"/>
          </p:cNvSpPr>
          <p:nvPr/>
        </p:nvSpPr>
        <p:spPr bwMode="gray">
          <a:xfrm>
            <a:off x="721326" y="1555270"/>
            <a:ext cx="2736005" cy="768112"/>
          </a:xfrm>
          <a:prstGeom prst="homePlate">
            <a:avLst>
              <a:gd name="adj" fmla="val 25346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239926" tIns="62381" rIns="47985" bIns="62381" anchor="ctr"/>
          <a:lstStyle/>
          <a:p>
            <a:pPr>
              <a:lnSpc>
                <a:spcPct val="105000"/>
              </a:lnSpc>
              <a:buClr>
                <a:schemeClr val="accent1"/>
              </a:buClr>
              <a:buSzPct val="120000"/>
            </a:pPr>
            <a:r>
              <a:rPr lang="de-DE" b="1" dirty="0" smtClean="0"/>
              <a:t>Leading Jewish Outdoor Camp Experience </a:t>
            </a:r>
            <a:endParaRPr lang="de-DE" b="1" dirty="0"/>
          </a:p>
        </p:txBody>
      </p:sp>
      <p:sp>
        <p:nvSpPr>
          <p:cNvPr id="13" name="AutoShape 5"/>
          <p:cNvSpPr>
            <a:spLocks noChangeArrowheads="1"/>
          </p:cNvSpPr>
          <p:nvPr/>
        </p:nvSpPr>
        <p:spPr bwMode="gray">
          <a:xfrm>
            <a:off x="3361406" y="1555270"/>
            <a:ext cx="2831226" cy="768112"/>
          </a:xfrm>
          <a:prstGeom prst="chevron">
            <a:avLst>
              <a:gd name="adj" fmla="val 25068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239926" tIns="62381" rIns="47985" bIns="62381" anchor="ctr"/>
          <a:lstStyle/>
          <a:p>
            <a:pPr>
              <a:lnSpc>
                <a:spcPct val="105000"/>
              </a:lnSpc>
              <a:buClr>
                <a:schemeClr val="accent1"/>
              </a:buClr>
              <a:buSzPct val="120000"/>
            </a:pPr>
            <a:r>
              <a:rPr lang="de-DE" b="1" dirty="0" smtClean="0"/>
              <a:t>Financially Healthy and Sustainable</a:t>
            </a:r>
            <a:endParaRPr lang="de-DE" b="1" dirty="0"/>
          </a:p>
        </p:txBody>
      </p:sp>
      <p:sp>
        <p:nvSpPr>
          <p:cNvPr id="14" name="AutoShape 6"/>
          <p:cNvSpPr>
            <a:spLocks noChangeArrowheads="1"/>
          </p:cNvSpPr>
          <p:nvPr/>
        </p:nvSpPr>
        <p:spPr bwMode="gray">
          <a:xfrm>
            <a:off x="6096000" y="1555270"/>
            <a:ext cx="2831226" cy="768112"/>
          </a:xfrm>
          <a:prstGeom prst="chevron">
            <a:avLst>
              <a:gd name="adj" fmla="val 25341"/>
            </a:avLst>
          </a:prstGeom>
          <a:solidFill>
            <a:srgbClr val="5F697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239926" tIns="62381" rIns="47985" bIns="62381" anchor="ctr"/>
          <a:lstStyle/>
          <a:p>
            <a:pPr>
              <a:lnSpc>
                <a:spcPct val="105000"/>
              </a:lnSpc>
              <a:buClr>
                <a:schemeClr val="accent1"/>
              </a:buClr>
              <a:buSzPct val="120000"/>
            </a:pPr>
            <a:r>
              <a:rPr lang="de-DE" b="1" dirty="0" smtClean="0"/>
              <a:t>Southwest Presence</a:t>
            </a:r>
            <a:endParaRPr lang="de-DE" b="1" dirty="0"/>
          </a:p>
        </p:txBody>
      </p:sp>
      <p:sp>
        <p:nvSpPr>
          <p:cNvPr id="15" name="AutoShape 7"/>
          <p:cNvSpPr>
            <a:spLocks noChangeArrowheads="1"/>
          </p:cNvSpPr>
          <p:nvPr/>
        </p:nvSpPr>
        <p:spPr bwMode="gray">
          <a:xfrm>
            <a:off x="8832007" y="1555270"/>
            <a:ext cx="2831226" cy="768112"/>
          </a:xfrm>
          <a:prstGeom prst="chevron">
            <a:avLst>
              <a:gd name="adj" fmla="val 25341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39926" tIns="62381" rIns="47985" bIns="62381" anchor="ctr"/>
          <a:lstStyle/>
          <a:p>
            <a:pPr algn="l">
              <a:buClr>
                <a:schemeClr val="accent1"/>
              </a:buClr>
            </a:pPr>
            <a:r>
              <a:rPr lang="de-DE" b="1" dirty="0" smtClean="0"/>
              <a:t>Strong Governance</a:t>
            </a:r>
            <a:endParaRPr lang="de-DE" b="1" dirty="0"/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gray">
          <a:xfrm>
            <a:off x="721325" y="2420720"/>
            <a:ext cx="2543234" cy="381930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110366" rIns="119963" bIns="110366"/>
          <a:lstStyle/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00" dirty="0" smtClean="0">
                <a:sym typeface="Arial" pitchFamily="34" charset="0"/>
              </a:rPr>
              <a:t>Ensure that the camps programs are </a:t>
            </a:r>
            <a:r>
              <a:rPr lang="de-DE" sz="1500" b="1" dirty="0" smtClean="0">
                <a:sym typeface="Arial" pitchFamily="34" charset="0"/>
              </a:rPr>
              <a:t>leading</a:t>
            </a:r>
            <a:r>
              <a:rPr lang="de-DE" sz="1500" dirty="0" smtClean="0">
                <a:sym typeface="Arial" pitchFamily="34" charset="0"/>
              </a:rPr>
              <a:t>, </a:t>
            </a:r>
            <a:r>
              <a:rPr lang="de-DE" sz="1500" b="1" dirty="0" smtClean="0">
                <a:sym typeface="Arial" pitchFamily="34" charset="0"/>
              </a:rPr>
              <a:t>contemporary,</a:t>
            </a:r>
            <a:r>
              <a:rPr lang="de-DE" sz="1500" dirty="0" smtClean="0">
                <a:sym typeface="Arial" pitchFamily="34" charset="0"/>
              </a:rPr>
              <a:t> and </a:t>
            </a:r>
            <a:r>
              <a:rPr lang="de-DE" sz="1500" b="1" dirty="0" smtClean="0">
                <a:sym typeface="Arial" pitchFamily="34" charset="0"/>
              </a:rPr>
              <a:t>competitive</a:t>
            </a:r>
          </a:p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endParaRPr lang="de-DE" sz="1500" dirty="0">
              <a:sym typeface="Arial" pitchFamily="34" charset="0"/>
            </a:endParaRPr>
          </a:p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00" dirty="0" smtClean="0">
                <a:sym typeface="Arial" pitchFamily="34" charset="0"/>
              </a:rPr>
              <a:t>Focus on </a:t>
            </a:r>
            <a:r>
              <a:rPr lang="de-DE" sz="1500" b="1" dirty="0" smtClean="0">
                <a:sym typeface="Arial" pitchFamily="34" charset="0"/>
              </a:rPr>
              <a:t>staff training</a:t>
            </a:r>
            <a:r>
              <a:rPr lang="de-DE" sz="1500" dirty="0" smtClean="0">
                <a:sym typeface="Arial" pitchFamily="34" charset="0"/>
              </a:rPr>
              <a:t>, </a:t>
            </a:r>
            <a:r>
              <a:rPr lang="de-DE" sz="1500" b="1" dirty="0" smtClean="0">
                <a:sym typeface="Arial" pitchFamily="34" charset="0"/>
              </a:rPr>
              <a:t>leadership development</a:t>
            </a:r>
            <a:r>
              <a:rPr lang="de-DE" sz="1500" dirty="0" smtClean="0">
                <a:sym typeface="Arial" pitchFamily="34" charset="0"/>
              </a:rPr>
              <a:t>, and </a:t>
            </a:r>
            <a:r>
              <a:rPr lang="de-DE" sz="1500" b="1" dirty="0" smtClean="0">
                <a:sym typeface="Arial" pitchFamily="34" charset="0"/>
              </a:rPr>
              <a:t>continuity</a:t>
            </a:r>
          </a:p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endParaRPr lang="de-DE" sz="1500" dirty="0">
              <a:sym typeface="Arial" pitchFamily="34" charset="0"/>
            </a:endParaRPr>
          </a:p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00" dirty="0" smtClean="0">
                <a:sym typeface="Arial" pitchFamily="34" charset="0"/>
              </a:rPr>
              <a:t>Provide </a:t>
            </a:r>
            <a:r>
              <a:rPr lang="de-DE" sz="1500" b="1" dirty="0" smtClean="0">
                <a:sym typeface="Arial" pitchFamily="34" charset="0"/>
              </a:rPr>
              <a:t>modern</a:t>
            </a:r>
            <a:r>
              <a:rPr lang="de-DE" sz="1500" dirty="0" smtClean="0">
                <a:sym typeface="Arial" pitchFamily="34" charset="0"/>
              </a:rPr>
              <a:t>, updated and </a:t>
            </a:r>
            <a:r>
              <a:rPr lang="de-DE" sz="1500" b="1" dirty="0" smtClean="0">
                <a:sym typeface="Arial" pitchFamily="34" charset="0"/>
              </a:rPr>
              <a:t>expanded facilities </a:t>
            </a:r>
            <a:r>
              <a:rPr lang="de-DE" sz="1500" dirty="0" smtClean="0">
                <a:sym typeface="Arial" pitchFamily="34" charset="0"/>
              </a:rPr>
              <a:t>based on the plan for </a:t>
            </a:r>
            <a:r>
              <a:rPr lang="de-DE" sz="1500" b="1" dirty="0" smtClean="0">
                <a:sym typeface="Arial" pitchFamily="34" charset="0"/>
              </a:rPr>
              <a:t>program, staff, and enrollment growth</a:t>
            </a:r>
            <a:endParaRPr lang="de-DE" sz="1500" b="1" dirty="0">
              <a:sym typeface="Arial" pitchFamily="34" charset="0"/>
            </a:endParaRP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gray">
          <a:xfrm>
            <a:off x="3360540" y="2421200"/>
            <a:ext cx="2640240" cy="381882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110366" rIns="119963" bIns="110366"/>
          <a:lstStyle/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99" dirty="0" smtClean="0">
                <a:sym typeface="Arial" pitchFamily="34" charset="0"/>
              </a:rPr>
              <a:t>Achieve </a:t>
            </a:r>
            <a:r>
              <a:rPr lang="de-DE" sz="1599" b="1" dirty="0" smtClean="0">
                <a:sym typeface="Arial" pitchFamily="34" charset="0"/>
              </a:rPr>
              <a:t>full capacity </a:t>
            </a:r>
            <a:r>
              <a:rPr lang="de-DE" sz="1599" dirty="0" smtClean="0">
                <a:sym typeface="Arial" pitchFamily="34" charset="0"/>
              </a:rPr>
              <a:t>during the summer sessions</a:t>
            </a:r>
          </a:p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endParaRPr lang="de-DE" sz="1599" dirty="0">
              <a:sym typeface="Arial" pitchFamily="34" charset="0"/>
            </a:endParaRPr>
          </a:p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99" dirty="0" smtClean="0">
                <a:sym typeface="Arial" pitchFamily="34" charset="0"/>
              </a:rPr>
              <a:t>Create </a:t>
            </a:r>
            <a:r>
              <a:rPr lang="de-DE" sz="1599" b="1" dirty="0" smtClean="0">
                <a:sym typeface="Arial" pitchFamily="34" charset="0"/>
              </a:rPr>
              <a:t>year-round income </a:t>
            </a:r>
            <a:r>
              <a:rPr lang="de-DE" sz="1599" dirty="0" smtClean="0">
                <a:sym typeface="Arial" pitchFamily="34" charset="0"/>
              </a:rPr>
              <a:t>from the Camp</a:t>
            </a:r>
          </a:p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endParaRPr lang="de-DE" sz="1599" dirty="0">
              <a:sym typeface="Arial" pitchFamily="34" charset="0"/>
            </a:endParaRPr>
          </a:p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99" dirty="0" smtClean="0">
                <a:sym typeface="Arial" pitchFamily="34" charset="0"/>
              </a:rPr>
              <a:t>Develop a vibrant progam of </a:t>
            </a:r>
            <a:r>
              <a:rPr lang="de-DE" sz="1599" b="1" dirty="0" smtClean="0">
                <a:sym typeface="Arial" pitchFamily="34" charset="0"/>
              </a:rPr>
              <a:t>private support</a:t>
            </a:r>
            <a:endParaRPr lang="de-DE" sz="1599" b="1" dirty="0">
              <a:sym typeface="Arial" pitchFamily="34" charset="0"/>
            </a:endParaRP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gray">
          <a:xfrm>
            <a:off x="6096000" y="2421744"/>
            <a:ext cx="2639479" cy="381828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110366" rIns="119963" bIns="110366"/>
          <a:lstStyle/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99" dirty="0" smtClean="0">
                <a:sym typeface="Arial" pitchFamily="34" charset="0"/>
              </a:rPr>
              <a:t>Develop a highly engaged </a:t>
            </a:r>
            <a:r>
              <a:rPr lang="de-DE" sz="1599" b="1" dirty="0" smtClean="0">
                <a:sym typeface="Arial" pitchFamily="34" charset="0"/>
              </a:rPr>
              <a:t>Professional Advisory </a:t>
            </a:r>
            <a:r>
              <a:rPr lang="de-DE" sz="1599" dirty="0" smtClean="0">
                <a:sym typeface="Arial" pitchFamily="34" charset="0"/>
              </a:rPr>
              <a:t>Committee</a:t>
            </a:r>
          </a:p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endParaRPr lang="de-DE" sz="1599" dirty="0">
              <a:sym typeface="Arial" pitchFamily="34" charset="0"/>
            </a:endParaRPr>
          </a:p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99" dirty="0" smtClean="0">
                <a:sym typeface="Arial" pitchFamily="34" charset="0"/>
              </a:rPr>
              <a:t>Expand </a:t>
            </a:r>
            <a:r>
              <a:rPr lang="de-DE" sz="1599" b="1" dirty="0" smtClean="0">
                <a:sym typeface="Arial" pitchFamily="34" charset="0"/>
              </a:rPr>
              <a:t>recruitment</a:t>
            </a:r>
            <a:r>
              <a:rPr lang="de-DE" sz="1599" dirty="0" smtClean="0">
                <a:sym typeface="Arial" pitchFamily="34" charset="0"/>
              </a:rPr>
              <a:t> efforts throughout </a:t>
            </a:r>
            <a:r>
              <a:rPr lang="de-DE" sz="1599" b="1" dirty="0" smtClean="0">
                <a:sym typeface="Arial" pitchFamily="34" charset="0"/>
              </a:rPr>
              <a:t>Southwest</a:t>
            </a:r>
          </a:p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endParaRPr lang="de-DE" sz="1599" dirty="0">
              <a:sym typeface="Arial" pitchFamily="34" charset="0"/>
            </a:endParaRPr>
          </a:p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99" dirty="0" smtClean="0">
                <a:sym typeface="Arial" pitchFamily="34" charset="0"/>
              </a:rPr>
              <a:t>Develop a first-class </a:t>
            </a:r>
            <a:r>
              <a:rPr lang="de-DE" sz="1599" b="1" dirty="0" smtClean="0">
                <a:sym typeface="Arial" pitchFamily="34" charset="0"/>
              </a:rPr>
              <a:t>Center for Youth Engagement</a:t>
            </a:r>
            <a:r>
              <a:rPr lang="de-DE" sz="1599" dirty="0" smtClean="0">
                <a:sym typeface="Arial" pitchFamily="34" charset="0"/>
              </a:rPr>
              <a:t>, Education, and Leadership development</a:t>
            </a:r>
            <a:endParaRPr lang="de-DE" sz="1599" dirty="0">
              <a:sym typeface="Arial" pitchFamily="34" charset="0"/>
            </a:endParaRP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gray">
          <a:xfrm>
            <a:off x="8830699" y="2422225"/>
            <a:ext cx="2639976" cy="38178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110366" rIns="119963" bIns="110366"/>
          <a:lstStyle/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99" dirty="0" smtClean="0">
                <a:sym typeface="Arial" pitchFamily="34" charset="0"/>
              </a:rPr>
              <a:t>Develop a strong </a:t>
            </a:r>
            <a:r>
              <a:rPr lang="de-DE" sz="1599" b="1" dirty="0" smtClean="0">
                <a:sym typeface="Arial" pitchFamily="34" charset="0"/>
              </a:rPr>
              <a:t>performance-based Camp Committee </a:t>
            </a:r>
          </a:p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endParaRPr lang="de-DE" sz="1599" dirty="0">
              <a:sym typeface="Arial" pitchFamily="34" charset="0"/>
            </a:endParaRPr>
          </a:p>
          <a:p>
            <a:pPr marL="236990" indent="-236990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99" dirty="0" smtClean="0">
                <a:sym typeface="Arial" pitchFamily="34" charset="0"/>
              </a:rPr>
              <a:t>Establish effective </a:t>
            </a:r>
            <a:r>
              <a:rPr lang="de-DE" sz="1599" b="1" dirty="0" smtClean="0">
                <a:sym typeface="Arial" pitchFamily="34" charset="0"/>
              </a:rPr>
              <a:t>Sub-committees </a:t>
            </a:r>
            <a:r>
              <a:rPr lang="de-DE" sz="1599" dirty="0" smtClean="0">
                <a:sym typeface="Arial" pitchFamily="34" charset="0"/>
              </a:rPr>
              <a:t>to focus on:</a:t>
            </a:r>
          </a:p>
          <a:p>
            <a:pPr marL="401638" lvl="1" indent="-169863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99" dirty="0" smtClean="0">
                <a:sym typeface="Arial" pitchFamily="34" charset="0"/>
              </a:rPr>
              <a:t>Planning and Development</a:t>
            </a:r>
          </a:p>
          <a:p>
            <a:pPr marL="401638" lvl="1" indent="-169863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99" dirty="0" smtClean="0">
                <a:sym typeface="Arial" pitchFamily="34" charset="0"/>
              </a:rPr>
              <a:t>Marketing/PR</a:t>
            </a:r>
          </a:p>
          <a:p>
            <a:pPr marL="401638" lvl="1" indent="-169863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99" dirty="0" smtClean="0">
                <a:sym typeface="Arial" pitchFamily="34" charset="0"/>
              </a:rPr>
              <a:t>Alumni Development</a:t>
            </a:r>
          </a:p>
          <a:p>
            <a:pPr marL="401638" lvl="1" indent="-169863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99" dirty="0" smtClean="0">
                <a:sym typeface="Arial" pitchFamily="34" charset="0"/>
              </a:rPr>
              <a:t>Finance and Scholorship</a:t>
            </a:r>
          </a:p>
          <a:p>
            <a:pPr marL="401638" lvl="1" indent="-169863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99" dirty="0" smtClean="0">
                <a:sym typeface="Arial" pitchFamily="34" charset="0"/>
              </a:rPr>
              <a:t>Facilities</a:t>
            </a:r>
          </a:p>
          <a:p>
            <a:pPr marL="401638" lvl="1" indent="-169863">
              <a:lnSpc>
                <a:spcPct val="105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de-DE" sz="1599" dirty="0" smtClean="0">
                <a:sym typeface="Arial" pitchFamily="34" charset="0"/>
              </a:rPr>
              <a:t>Professional Advisory Committee</a:t>
            </a:r>
            <a:endParaRPr lang="de-DE" sz="1599" dirty="0">
              <a:sym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321490" y="6455578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12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0238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380450" y="244601"/>
            <a:ext cx="10058400" cy="1450757"/>
          </a:xfrm>
        </p:spPr>
        <p:txBody>
          <a:bodyPr>
            <a:normAutofit/>
          </a:bodyPr>
          <a:lstStyle/>
          <a:p>
            <a:r>
              <a:rPr lang="de-DE" dirty="0">
                <a:sym typeface="Arial" pitchFamily="34" charset="0"/>
              </a:rPr>
              <a:t>2015-2020 Strategic Plan</a:t>
            </a:r>
            <a:br>
              <a:rPr lang="de-DE" dirty="0">
                <a:sym typeface="Arial" pitchFamily="34" charset="0"/>
              </a:rPr>
            </a:br>
            <a:r>
              <a:rPr lang="de-DE" dirty="0" smtClean="0">
                <a:solidFill>
                  <a:schemeClr val="accent2"/>
                </a:solidFill>
                <a:sym typeface="Arial" pitchFamily="34" charset="0"/>
              </a:rPr>
              <a:t>Action Plans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886B7ED-2329-42FD-A3CC-6F60AD310E6F}" type="datetime1">
              <a:rPr lang="en-US" smtClean="0"/>
              <a:t>3/6/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0232504"/>
              </p:ext>
            </p:extLst>
          </p:nvPr>
        </p:nvGraphicFramePr>
        <p:xfrm>
          <a:off x="368228" y="1668131"/>
          <a:ext cx="11516504" cy="46406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0931"/>
                <a:gridCol w="1789462"/>
                <a:gridCol w="2852591"/>
                <a:gridCol w="457200"/>
                <a:gridCol w="457200"/>
                <a:gridCol w="457200"/>
                <a:gridCol w="457200"/>
                <a:gridCol w="457200"/>
                <a:gridCol w="457200"/>
                <a:gridCol w="457200"/>
                <a:gridCol w="457200"/>
                <a:gridCol w="548640"/>
                <a:gridCol w="548640"/>
                <a:gridCol w="548640"/>
              </a:tblGrid>
              <a:tr h="31920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 smtClean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5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6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17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1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19</a:t>
                      </a:r>
                      <a:endParaRPr lang="en-US" sz="1400" dirty="0"/>
                    </a:p>
                  </a:txBody>
                  <a:tcPr/>
                </a:tc>
              </a:tr>
              <a:tr h="31920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Strategic Objective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Goal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Ac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999141"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  <a:buClr>
                          <a:schemeClr val="accent1"/>
                        </a:buClr>
                        <a:buSzPct val="120000"/>
                      </a:pPr>
                      <a:r>
                        <a:rPr lang="de-DE" sz="1400" b="1" dirty="0" smtClean="0">
                          <a:solidFill>
                            <a:schemeClr val="bg1"/>
                          </a:solidFill>
                        </a:rPr>
                        <a:t>Leading Jewish Outdoor Camp Experience </a:t>
                      </a:r>
                      <a:endParaRPr lang="de-DE" sz="14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sure camps programs are leading, contemporary,</a:t>
                      </a:r>
                      <a:r>
                        <a:rPr lang="en-US" sz="1400" baseline="0" dirty="0" smtClean="0"/>
                        <a:t> and competitiv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Create a</a:t>
                      </a:r>
                      <a:r>
                        <a:rPr lang="en-US" sz="1400" baseline="0" dirty="0" smtClean="0"/>
                        <a:t> Planning and Development Sub-committe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Develop a Program Master Plan</a:t>
                      </a:r>
                      <a:endParaRPr lang="en-US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</a:tr>
              <a:tr h="369337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Focus on staff training, leadership development,</a:t>
                      </a:r>
                      <a:r>
                        <a:rPr lang="en-US" sz="1400" baseline="0" dirty="0" smtClean="0"/>
                        <a:t> and continu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Provide</a:t>
                      </a:r>
                      <a:r>
                        <a:rPr lang="en-US" sz="1400" baseline="0" dirty="0" smtClean="0"/>
                        <a:t> year-round training for Staff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Expand Ozrim program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Implement a Leadership Certificate Program for Staff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Implement a Staff satisfaction assessment proces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</a:tr>
              <a:tr h="369337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rovide modern, updated, and expanded</a:t>
                      </a:r>
                      <a:r>
                        <a:rPr lang="en-US" sz="1400" baseline="0" dirty="0" smtClean="0"/>
                        <a:t> facilities based on the plan for program, staff, and growth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Create a Facilities</a:t>
                      </a:r>
                      <a:r>
                        <a:rPr lang="en-US" sz="1400" baseline="0" dirty="0" smtClean="0"/>
                        <a:t> Sub-committee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Create a multi-year Facilities Master Pla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Create a multi-year Fundraising Plan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8" name="AutoShape 3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586954" y="2441322"/>
            <a:ext cx="446891" cy="216261"/>
          </a:xfrm>
          <a:prstGeom prst="chevron">
            <a:avLst>
              <a:gd name="adj" fmla="val 33279"/>
            </a:avLst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13" name="AutoShape 3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586955" y="2859857"/>
            <a:ext cx="1421581" cy="224988"/>
          </a:xfrm>
          <a:prstGeom prst="chevron">
            <a:avLst>
              <a:gd name="adj" fmla="val 33279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14" name="AutoShape 3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960247" y="3388180"/>
            <a:ext cx="1421581" cy="224988"/>
          </a:xfrm>
          <a:prstGeom prst="chevron">
            <a:avLst>
              <a:gd name="adj" fmla="val 33279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15" name="AutoShape 3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960247" y="3737353"/>
            <a:ext cx="1421581" cy="224988"/>
          </a:xfrm>
          <a:prstGeom prst="chevron">
            <a:avLst>
              <a:gd name="adj" fmla="val 33279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17" name="AutoShape 3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0216769" y="3951273"/>
            <a:ext cx="1157966" cy="248938"/>
          </a:xfrm>
          <a:prstGeom prst="chevron">
            <a:avLst>
              <a:gd name="adj" fmla="val 33279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0" name="AutoShape 3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513071" y="4647846"/>
            <a:ext cx="1157966" cy="248938"/>
          </a:xfrm>
          <a:prstGeom prst="chevron">
            <a:avLst>
              <a:gd name="adj" fmla="val 33279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1" name="AutoShape 3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586954" y="5004169"/>
            <a:ext cx="446891" cy="216261"/>
          </a:xfrm>
          <a:prstGeom prst="chevron">
            <a:avLst>
              <a:gd name="adj" fmla="val 33279"/>
            </a:avLst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3" name="AutoShape 3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033845" y="5525341"/>
            <a:ext cx="1773631" cy="202271"/>
          </a:xfrm>
          <a:prstGeom prst="chevron">
            <a:avLst>
              <a:gd name="adj" fmla="val 33279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4" name="AutoShape 39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586955" y="6032523"/>
            <a:ext cx="2794873" cy="191709"/>
          </a:xfrm>
          <a:prstGeom prst="chevron">
            <a:avLst>
              <a:gd name="adj" fmla="val 33279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321490" y="6455578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13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6482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380450" y="244601"/>
            <a:ext cx="10058400" cy="1450757"/>
          </a:xfrm>
        </p:spPr>
        <p:txBody>
          <a:bodyPr>
            <a:normAutofit/>
          </a:bodyPr>
          <a:lstStyle/>
          <a:p>
            <a:r>
              <a:rPr lang="de-DE" dirty="0">
                <a:sym typeface="Arial" pitchFamily="34" charset="0"/>
              </a:rPr>
              <a:t>2015-2020 Strategic Plan</a:t>
            </a:r>
            <a:br>
              <a:rPr lang="de-DE" dirty="0">
                <a:sym typeface="Arial" pitchFamily="34" charset="0"/>
              </a:rPr>
            </a:br>
            <a:r>
              <a:rPr lang="de-DE" dirty="0">
                <a:solidFill>
                  <a:schemeClr val="accent2"/>
                </a:solidFill>
                <a:sym typeface="Arial" pitchFamily="34" charset="0"/>
              </a:rPr>
              <a:t>Action Plans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15134D3-0E6A-4793-B8F9-C0D59629F75B}" type="datetime1">
              <a:rPr lang="en-US" smtClean="0"/>
              <a:t>3/6/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7842571"/>
              </p:ext>
            </p:extLst>
          </p:nvPr>
        </p:nvGraphicFramePr>
        <p:xfrm>
          <a:off x="380450" y="1564461"/>
          <a:ext cx="11516504" cy="45797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5524"/>
                <a:gridCol w="1597215"/>
                <a:gridCol w="2950245"/>
                <a:gridCol w="457200"/>
                <a:gridCol w="457200"/>
                <a:gridCol w="457200"/>
                <a:gridCol w="457200"/>
                <a:gridCol w="457200"/>
                <a:gridCol w="457200"/>
                <a:gridCol w="457200"/>
                <a:gridCol w="457200"/>
                <a:gridCol w="548640"/>
                <a:gridCol w="548640"/>
                <a:gridCol w="548640"/>
              </a:tblGrid>
              <a:tr h="31920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 smtClean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5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6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17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1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19</a:t>
                      </a:r>
                      <a:endParaRPr lang="en-US" sz="1400" dirty="0"/>
                    </a:p>
                  </a:txBody>
                  <a:tcPr/>
                </a:tc>
              </a:tr>
              <a:tr h="3192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/>
                        <a:t>Strategic Objective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Goal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Ac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999141"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  <a:buClr>
                          <a:schemeClr val="accent1"/>
                        </a:buClr>
                        <a:buSzPct val="120000"/>
                      </a:pPr>
                      <a:r>
                        <a:rPr lang="de-DE" sz="1400" b="1" dirty="0" smtClean="0">
                          <a:solidFill>
                            <a:schemeClr val="bg1"/>
                          </a:solidFill>
                        </a:rPr>
                        <a:t>Financially healthy and sustainable</a:t>
                      </a:r>
                      <a:endParaRPr lang="de-DE" sz="14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Achieve full capacity during the summer session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Create marketing and PR program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Develop Ambassador progra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Expand</a:t>
                      </a:r>
                      <a:r>
                        <a:rPr lang="en-US" sz="1400" baseline="0" dirty="0" smtClean="0"/>
                        <a:t> opportunities for financial assistance</a:t>
                      </a:r>
                      <a:endParaRPr lang="en-US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</a:tr>
              <a:tr h="369337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Generate year-round income</a:t>
                      </a:r>
                      <a:r>
                        <a:rPr lang="en-US" sz="1400" baseline="0" dirty="0" smtClean="0"/>
                        <a:t> from the camp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Create marketing progra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Incorporate requirements for year-round use into Facilities Master pla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Develop other camp programs outside of camp i.e travel camp, day camp, adult camp, etc.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</a:tr>
              <a:tr h="369337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Develop a vibrant program of private suppor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Develop</a:t>
                      </a:r>
                      <a:r>
                        <a:rPr lang="en-US" sz="1400" baseline="0" dirty="0" smtClean="0"/>
                        <a:t> a comprehensive fundraising pla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Develop alumni relations progra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Explore adding professional Development Director to staf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8" name="AutoShape 3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586954" y="2441322"/>
            <a:ext cx="446891" cy="216261"/>
          </a:xfrm>
          <a:prstGeom prst="chevron">
            <a:avLst>
              <a:gd name="adj" fmla="val 33279"/>
            </a:avLst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13" name="AutoShape 3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586954" y="3035683"/>
            <a:ext cx="3629815" cy="203936"/>
          </a:xfrm>
          <a:prstGeom prst="chevron">
            <a:avLst>
              <a:gd name="adj" fmla="val 33279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14" name="AutoShape 3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960246" y="3459839"/>
            <a:ext cx="1421581" cy="193506"/>
          </a:xfrm>
          <a:prstGeom prst="chevron">
            <a:avLst>
              <a:gd name="adj" fmla="val 33279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15" name="AutoShape 3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513071" y="3950188"/>
            <a:ext cx="1421581" cy="171205"/>
          </a:xfrm>
          <a:prstGeom prst="chevron">
            <a:avLst>
              <a:gd name="adj" fmla="val 33279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0" name="AutoShape 3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0216769" y="4547207"/>
            <a:ext cx="1157966" cy="190331"/>
          </a:xfrm>
          <a:prstGeom prst="chevron">
            <a:avLst>
              <a:gd name="adj" fmla="val 33279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3" name="AutoShape 3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608872" y="5137866"/>
            <a:ext cx="3585977" cy="194470"/>
          </a:xfrm>
          <a:prstGeom prst="chevron">
            <a:avLst>
              <a:gd name="adj" fmla="val 33279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2" name="AutoShape 3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401859" y="5874608"/>
            <a:ext cx="1157966" cy="174767"/>
          </a:xfrm>
          <a:prstGeom prst="chevron">
            <a:avLst>
              <a:gd name="adj" fmla="val 33279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5" name="AutoShape 3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513071" y="2653531"/>
            <a:ext cx="1157966" cy="187277"/>
          </a:xfrm>
          <a:prstGeom prst="chevron">
            <a:avLst>
              <a:gd name="adj" fmla="val 33279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9" name="AutoShape 39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608871" y="5545003"/>
            <a:ext cx="3585977" cy="194470"/>
          </a:xfrm>
          <a:prstGeom prst="chevron">
            <a:avLst>
              <a:gd name="adj" fmla="val 33279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1321490" y="6455578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14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97286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380450" y="244601"/>
            <a:ext cx="10058400" cy="1450757"/>
          </a:xfrm>
        </p:spPr>
        <p:txBody>
          <a:bodyPr>
            <a:normAutofit/>
          </a:bodyPr>
          <a:lstStyle/>
          <a:p>
            <a:r>
              <a:rPr lang="de-DE" dirty="0">
                <a:sym typeface="Arial" pitchFamily="34" charset="0"/>
              </a:rPr>
              <a:t>2015-2020 Strategic Plan</a:t>
            </a:r>
            <a:br>
              <a:rPr lang="de-DE" dirty="0">
                <a:sym typeface="Arial" pitchFamily="34" charset="0"/>
              </a:rPr>
            </a:br>
            <a:r>
              <a:rPr lang="de-DE" dirty="0">
                <a:solidFill>
                  <a:schemeClr val="accent2"/>
                </a:solidFill>
                <a:sym typeface="Arial" pitchFamily="34" charset="0"/>
              </a:rPr>
              <a:t>Action Plans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2972214-5E75-4394-92F2-34B98FFE0479}" type="datetime1">
              <a:rPr lang="en-US" smtClean="0"/>
              <a:t>3/6/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7373105"/>
              </p:ext>
            </p:extLst>
          </p:nvPr>
        </p:nvGraphicFramePr>
        <p:xfrm>
          <a:off x="334909" y="1695358"/>
          <a:ext cx="11516504" cy="458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3993"/>
                <a:gridCol w="1628746"/>
                <a:gridCol w="2950245"/>
                <a:gridCol w="457200"/>
                <a:gridCol w="457200"/>
                <a:gridCol w="457200"/>
                <a:gridCol w="457200"/>
                <a:gridCol w="457200"/>
                <a:gridCol w="457200"/>
                <a:gridCol w="457200"/>
                <a:gridCol w="457200"/>
                <a:gridCol w="548640"/>
                <a:gridCol w="548640"/>
                <a:gridCol w="548640"/>
              </a:tblGrid>
              <a:tr h="31920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 smtClean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5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6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17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1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19</a:t>
                      </a:r>
                      <a:endParaRPr lang="en-US" sz="1400" dirty="0"/>
                    </a:p>
                  </a:txBody>
                  <a:tcPr/>
                </a:tc>
              </a:tr>
              <a:tr h="3192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/>
                        <a:t>Strategic Objec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Goal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Ac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999141"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  <a:buClr>
                          <a:schemeClr val="accent1"/>
                        </a:buClr>
                        <a:buSzPct val="120000"/>
                      </a:pPr>
                      <a:r>
                        <a:rPr lang="de-DE" sz="1400" b="1" dirty="0" smtClean="0">
                          <a:solidFill>
                            <a:schemeClr val="bg1"/>
                          </a:solidFill>
                        </a:rPr>
                        <a:t>Southwest</a:t>
                      </a:r>
                      <a:r>
                        <a:rPr lang="de-DE" sz="1400" b="1" baseline="0" dirty="0" smtClean="0">
                          <a:solidFill>
                            <a:schemeClr val="bg1"/>
                          </a:solidFill>
                        </a:rPr>
                        <a:t> Presence</a:t>
                      </a:r>
                      <a:endParaRPr lang="de-DE" sz="14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5F697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Develop an</a:t>
                      </a:r>
                      <a:r>
                        <a:rPr lang="en-US" sz="1400" baseline="0" dirty="0" smtClean="0"/>
                        <a:t> engaged Professional Advisory Committee 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Initiate conversation</a:t>
                      </a:r>
                      <a:r>
                        <a:rPr lang="en-US" sz="1400" baseline="0" dirty="0" smtClean="0"/>
                        <a:t> and engagement with other Congregations, lay leaders, and prospective donor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Develop a PR plan to engage and inform other Congregations and communities of interest</a:t>
                      </a:r>
                      <a:endParaRPr lang="en-US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</a:tr>
              <a:tr h="369337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xpand recruiting activities</a:t>
                      </a:r>
                      <a:r>
                        <a:rPr lang="en-US" sz="1400" baseline="0" dirty="0" smtClean="0"/>
                        <a:t> throughout the Southwes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Expand </a:t>
                      </a:r>
                      <a:r>
                        <a:rPr lang="en-US" sz="1400" baseline="0" dirty="0" smtClean="0"/>
                        <a:t>greater Phoenix and other Arizona recruiting activities</a:t>
                      </a:r>
                      <a:endParaRPr lang="en-US" sz="1400" dirty="0" smtClean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Focus</a:t>
                      </a:r>
                      <a:r>
                        <a:rPr lang="en-US" sz="1400" baseline="0" dirty="0" smtClean="0"/>
                        <a:t> recruitment on key states of Nevada, New Mexico, Colorado, and Uta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</a:tr>
              <a:tr h="369337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Develop a first-class Center for Youth</a:t>
                      </a:r>
                      <a:r>
                        <a:rPr lang="en-US" sz="1400" baseline="0" dirty="0" smtClean="0"/>
                        <a:t> Engagement, Education, and Leadership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Define vision for Cente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Develop programming to support year-round youth engagemen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Explore adding full-time Event Manager resource to staff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8" name="AutoShape 3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586954" y="2441322"/>
            <a:ext cx="446891" cy="216261"/>
          </a:xfrm>
          <a:prstGeom prst="chevron">
            <a:avLst>
              <a:gd name="adj" fmla="val 33279"/>
            </a:avLst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5" name="AutoShape 3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501169" y="3327917"/>
            <a:ext cx="1829261" cy="205396"/>
          </a:xfrm>
          <a:prstGeom prst="chevron">
            <a:avLst>
              <a:gd name="adj" fmla="val 33279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1" name="AutoShape 3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581841" y="4053294"/>
            <a:ext cx="1829261" cy="205396"/>
          </a:xfrm>
          <a:prstGeom prst="chevron">
            <a:avLst>
              <a:gd name="adj" fmla="val 33279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4" name="AutoShape 3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501168" y="4486491"/>
            <a:ext cx="2743663" cy="205396"/>
          </a:xfrm>
          <a:prstGeom prst="chevron">
            <a:avLst>
              <a:gd name="adj" fmla="val 33279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6" name="AutoShape 3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0022152" y="5970271"/>
            <a:ext cx="1829261" cy="205396"/>
          </a:xfrm>
          <a:prstGeom prst="chevron">
            <a:avLst>
              <a:gd name="adj" fmla="val 33279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30" name="AutoShape 3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8411102" y="5535976"/>
            <a:ext cx="2309324" cy="236849"/>
          </a:xfrm>
          <a:prstGeom prst="chevron">
            <a:avLst>
              <a:gd name="adj" fmla="val 33279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31" name="AutoShape 3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501168" y="5142639"/>
            <a:ext cx="1829261" cy="205396"/>
          </a:xfrm>
          <a:prstGeom prst="chevron">
            <a:avLst>
              <a:gd name="adj" fmla="val 33279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321490" y="6455578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15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2341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380450" y="244601"/>
            <a:ext cx="10058400" cy="1450757"/>
          </a:xfrm>
        </p:spPr>
        <p:txBody>
          <a:bodyPr>
            <a:normAutofit/>
          </a:bodyPr>
          <a:lstStyle/>
          <a:p>
            <a:r>
              <a:rPr lang="de-DE" dirty="0">
                <a:sym typeface="Arial" pitchFamily="34" charset="0"/>
              </a:rPr>
              <a:t>2015-2020 Strategic Plan</a:t>
            </a:r>
            <a:br>
              <a:rPr lang="de-DE" dirty="0">
                <a:sym typeface="Arial" pitchFamily="34" charset="0"/>
              </a:rPr>
            </a:br>
            <a:r>
              <a:rPr lang="de-DE" dirty="0">
                <a:solidFill>
                  <a:schemeClr val="accent2"/>
                </a:solidFill>
                <a:sym typeface="Arial" pitchFamily="34" charset="0"/>
              </a:rPr>
              <a:t>Action Plans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7335929-19B5-4818-B458-A65C3FE864CC}" type="datetime1">
              <a:rPr lang="en-US" smtClean="0"/>
              <a:t>3/6/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1024949"/>
              </p:ext>
            </p:extLst>
          </p:nvPr>
        </p:nvGraphicFramePr>
        <p:xfrm>
          <a:off x="368228" y="1668131"/>
          <a:ext cx="11516504" cy="406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0344"/>
                <a:gridCol w="1652395"/>
                <a:gridCol w="2950245"/>
                <a:gridCol w="457200"/>
                <a:gridCol w="457200"/>
                <a:gridCol w="457200"/>
                <a:gridCol w="457200"/>
                <a:gridCol w="457200"/>
                <a:gridCol w="457200"/>
                <a:gridCol w="457200"/>
                <a:gridCol w="457200"/>
                <a:gridCol w="548640"/>
                <a:gridCol w="548640"/>
                <a:gridCol w="548640"/>
              </a:tblGrid>
              <a:tr h="31920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 smtClean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5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6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17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1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19</a:t>
                      </a:r>
                      <a:endParaRPr lang="en-US" sz="1400" dirty="0"/>
                    </a:p>
                  </a:txBody>
                  <a:tcPr/>
                </a:tc>
              </a:tr>
              <a:tr h="3192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/>
                        <a:t>Strategic Objec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Goal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Ac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999141">
                <a:tc>
                  <a:txBody>
                    <a:bodyPr/>
                    <a:lstStyle/>
                    <a:p>
                      <a:pPr>
                        <a:lnSpc>
                          <a:spcPct val="105000"/>
                        </a:lnSpc>
                        <a:buClr>
                          <a:schemeClr val="accent1"/>
                        </a:buClr>
                        <a:buSzPct val="120000"/>
                      </a:pPr>
                      <a:r>
                        <a:rPr lang="de-DE" sz="1400" b="1" dirty="0" smtClean="0">
                          <a:solidFill>
                            <a:schemeClr val="bg1"/>
                          </a:solidFill>
                        </a:rPr>
                        <a:t>Strong</a:t>
                      </a:r>
                      <a:r>
                        <a:rPr lang="de-DE" sz="1400" b="1" baseline="0" dirty="0" smtClean="0">
                          <a:solidFill>
                            <a:schemeClr val="bg1"/>
                          </a:solidFill>
                        </a:rPr>
                        <a:t> Governance</a:t>
                      </a:r>
                      <a:endParaRPr lang="de-DE" sz="14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Develop a</a:t>
                      </a:r>
                      <a:r>
                        <a:rPr lang="en-US" sz="1400" baseline="0" dirty="0" smtClean="0"/>
                        <a:t> strong, performance-based Camp Committee 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Implement Sub-committee</a:t>
                      </a:r>
                      <a:r>
                        <a:rPr lang="en-US" sz="1400" baseline="0" dirty="0" smtClean="0"/>
                        <a:t> structure to support the strategic pla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Implement an Executive Committee to provide oversight and governance, represent camp to the CBI BOD</a:t>
                      </a:r>
                      <a:endParaRPr lang="en-US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</a:tr>
              <a:tr h="369337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stablish</a:t>
                      </a:r>
                      <a:r>
                        <a:rPr lang="en-US" sz="1400" baseline="0" dirty="0" smtClean="0"/>
                        <a:t> effective operating Sub-committe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Implement the Sub-committee structure to support the implementation of the strategic pla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Develop time-phased implementation plans for each Sub-committee that prioritizes activities and action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8" name="AutoShape 3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586954" y="2441322"/>
            <a:ext cx="446891" cy="216261"/>
          </a:xfrm>
          <a:prstGeom prst="chevron">
            <a:avLst>
              <a:gd name="adj" fmla="val 33279"/>
            </a:avLst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5" name="AutoShape 3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594518" y="3071674"/>
            <a:ext cx="914631" cy="183905"/>
          </a:xfrm>
          <a:prstGeom prst="chevron">
            <a:avLst>
              <a:gd name="adj" fmla="val 33279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1" name="AutoShape 3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586954" y="4023863"/>
            <a:ext cx="1829261" cy="205396"/>
          </a:xfrm>
          <a:prstGeom prst="chevron">
            <a:avLst>
              <a:gd name="adj" fmla="val 33279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24" name="AutoShape 3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033845" y="4888109"/>
            <a:ext cx="1829261" cy="205396"/>
          </a:xfrm>
          <a:prstGeom prst="chevron">
            <a:avLst>
              <a:gd name="adj" fmla="val 33279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9963" tIns="62381" rIns="119963" bIns="62381" anchor="ctr"/>
          <a:lstStyle/>
          <a:p>
            <a:pPr eaLnBrk="0" hangingPunct="0"/>
            <a:endParaRPr lang="en-US" sz="1333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321490" y="6455578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16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6906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56301" y="278720"/>
            <a:ext cx="10058400" cy="1450757"/>
          </a:xfrm>
        </p:spPr>
        <p:txBody>
          <a:bodyPr/>
          <a:lstStyle/>
          <a:p>
            <a:r>
              <a:rPr lang="de-DE" dirty="0">
                <a:sym typeface="Arial" pitchFamily="34" charset="0"/>
              </a:rPr>
              <a:t>2015-2020 Strategic Plan</a:t>
            </a:r>
            <a:br>
              <a:rPr lang="de-DE" dirty="0">
                <a:sym typeface="Arial" pitchFamily="34" charset="0"/>
              </a:rPr>
            </a:br>
            <a:r>
              <a:rPr lang="de-DE" dirty="0" smtClean="0">
                <a:solidFill>
                  <a:schemeClr val="accent2"/>
                </a:solidFill>
                <a:sym typeface="Arial" pitchFamily="34" charset="0"/>
              </a:rPr>
              <a:t>Camper Growth Projection</a:t>
            </a:r>
            <a:endParaRPr lang="de-DE" dirty="0"/>
          </a:p>
        </p:txBody>
      </p:sp>
      <p:graphicFrame>
        <p:nvGraphicFramePr>
          <p:cNvPr id="18" name="Object 2"/>
          <p:cNvGraphicFramePr>
            <a:graphicFrameLocks noGrp="1" noChangeAspect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700514855"/>
              </p:ext>
            </p:extLst>
          </p:nvPr>
        </p:nvGraphicFramePr>
        <p:xfrm>
          <a:off x="752011" y="1775969"/>
          <a:ext cx="7232534" cy="42701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MainTextBox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252862" y="1104662"/>
            <a:ext cx="3473564" cy="3359321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46001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119963" tIns="110366" rIns="119963" bIns="62381"/>
          <a:lstStyle/>
          <a:p>
            <a:pPr defTabSz="1193412">
              <a:lnSpc>
                <a:spcPct val="105000"/>
              </a:lnSpc>
              <a:spcAft>
                <a:spcPts val="800"/>
              </a:spcAft>
              <a:buClr>
                <a:srgbClr val="E1000F"/>
              </a:buClr>
              <a:buSzPct val="120000"/>
            </a:pPr>
            <a:r>
              <a:rPr lang="de-DE" b="1" dirty="0" smtClean="0">
                <a:ea typeface="ＭＳ Ｐゴシック" pitchFamily="34" charset="-128"/>
              </a:rPr>
              <a:t>Camper Growth Projections</a:t>
            </a:r>
            <a:endParaRPr lang="de-DE" b="1" dirty="0">
              <a:ea typeface="ＭＳ Ｐゴシック" pitchFamily="34" charset="-128"/>
            </a:endParaRPr>
          </a:p>
          <a:p>
            <a:pPr marL="243338" indent="-243338" defTabSz="1193412">
              <a:lnSpc>
                <a:spcPct val="105000"/>
              </a:lnSpc>
              <a:spcAft>
                <a:spcPts val="800"/>
              </a:spcAft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</a:pPr>
            <a:r>
              <a:rPr lang="de-DE" dirty="0" smtClean="0">
                <a:ea typeface="ＭＳ Ｐゴシック" pitchFamily="34" charset="-128"/>
              </a:rPr>
              <a:t>Opportunity for growth of at least 25%</a:t>
            </a:r>
          </a:p>
          <a:p>
            <a:pPr marL="243338" indent="-243338" defTabSz="1193412">
              <a:lnSpc>
                <a:spcPct val="105000"/>
              </a:lnSpc>
              <a:spcAft>
                <a:spcPts val="800"/>
              </a:spcAft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</a:pPr>
            <a:r>
              <a:rPr lang="de-DE" dirty="0" smtClean="0">
                <a:ea typeface="ＭＳ Ｐゴシック" pitchFamily="34" charset="-128"/>
              </a:rPr>
              <a:t>Most growth from Arizona</a:t>
            </a:r>
          </a:p>
          <a:p>
            <a:pPr marL="243338" indent="-243338" defTabSz="1193412">
              <a:lnSpc>
                <a:spcPct val="105000"/>
              </a:lnSpc>
              <a:spcAft>
                <a:spcPts val="800"/>
              </a:spcAft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</a:pPr>
            <a:r>
              <a:rPr lang="de-DE" dirty="0" smtClean="0">
                <a:ea typeface="ＭＳ Ｐゴシック" pitchFamily="34" charset="-128"/>
              </a:rPr>
              <a:t>Need to achieve fair share of Southwest</a:t>
            </a:r>
          </a:p>
          <a:p>
            <a:pPr marL="243338" indent="-243338" defTabSz="1193412">
              <a:lnSpc>
                <a:spcPct val="105000"/>
              </a:lnSpc>
              <a:spcAft>
                <a:spcPts val="800"/>
              </a:spcAft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</a:pPr>
            <a:r>
              <a:rPr lang="de-DE" dirty="0" smtClean="0">
                <a:ea typeface="ＭＳ Ｐゴシック" pitchFamily="34" charset="-128"/>
              </a:rPr>
              <a:t>Potential for 600+ campers by 2020</a:t>
            </a:r>
          </a:p>
          <a:p>
            <a:pPr marL="243338" indent="-243338" defTabSz="1193412">
              <a:lnSpc>
                <a:spcPct val="105000"/>
              </a:lnSpc>
              <a:spcAft>
                <a:spcPts val="800"/>
              </a:spcAft>
              <a:buClr>
                <a:srgbClr val="E1000F"/>
              </a:buClr>
              <a:buSzPct val="120000"/>
              <a:buFont typeface="Arial" panose="020B0604020202020204" pitchFamily="34" charset="0"/>
              <a:buChar char="•"/>
            </a:pPr>
            <a:endParaRPr lang="de-DE" sz="1599" dirty="0">
              <a:ea typeface="ＭＳ Ｐゴシック" pitchFamily="34" charset="-128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7A83693-458B-4ABF-BB9C-0B59DC03A53F}" type="datetime1">
              <a:rPr lang="en-US" smtClean="0"/>
              <a:t>3/6/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sp>
        <p:nvSpPr>
          <p:cNvPr id="7" name="TextBox 6"/>
          <p:cNvSpPr txBox="1"/>
          <p:nvPr/>
        </p:nvSpPr>
        <p:spPr>
          <a:xfrm>
            <a:off x="11321490" y="6455578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220907" y="4126192"/>
            <a:ext cx="2773836" cy="107721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29K camper age Jewish kid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11K in AZ alon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~ 3K attend camp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~400 attend Camp Stein</a:t>
            </a:r>
          </a:p>
        </p:txBody>
      </p:sp>
      <p:sp>
        <p:nvSpPr>
          <p:cNvPr id="3" name="Oval 2"/>
          <p:cNvSpPr/>
          <p:nvPr/>
        </p:nvSpPr>
        <p:spPr>
          <a:xfrm>
            <a:off x="5874578" y="1631771"/>
            <a:ext cx="780393" cy="756745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 flipH="1">
            <a:off x="6694216" y="1004098"/>
            <a:ext cx="907311" cy="8948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7074461" y="696321"/>
            <a:ext cx="33897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Requires growth in cabins and dining facility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87759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0" name="Straight Connector 65"/>
          <p:cNvCxnSpPr>
            <a:cxnSpLocks noChangeShapeType="1"/>
          </p:cNvCxnSpPr>
          <p:nvPr/>
        </p:nvCxnSpPr>
        <p:spPr bwMode="auto">
          <a:xfrm>
            <a:off x="3648172" y="3980127"/>
            <a:ext cx="0" cy="1773373"/>
          </a:xfrm>
          <a:prstGeom prst="line">
            <a:avLst/>
          </a:prstGeom>
          <a:noFill/>
          <a:ln w="6350" algn="ctr">
            <a:solidFill>
              <a:schemeClr val="accent2"/>
            </a:solidFill>
            <a:round/>
            <a:headEnd/>
            <a:tailEnd/>
          </a:ln>
        </p:spPr>
      </p:cxnSp>
      <p:cxnSp>
        <p:nvCxnSpPr>
          <p:cNvPr id="51" name="Straight Connector 65"/>
          <p:cNvCxnSpPr>
            <a:cxnSpLocks noChangeShapeType="1"/>
          </p:cNvCxnSpPr>
          <p:nvPr/>
        </p:nvCxnSpPr>
        <p:spPr bwMode="auto">
          <a:xfrm>
            <a:off x="6377862" y="3980127"/>
            <a:ext cx="0" cy="1773373"/>
          </a:xfrm>
          <a:prstGeom prst="line">
            <a:avLst/>
          </a:prstGeom>
          <a:noFill/>
          <a:ln w="6350" algn="ctr">
            <a:solidFill>
              <a:schemeClr val="accent2"/>
            </a:solidFill>
            <a:round/>
            <a:headEnd/>
            <a:tailEnd/>
          </a:ln>
        </p:spPr>
      </p:cxnSp>
      <p:cxnSp>
        <p:nvCxnSpPr>
          <p:cNvPr id="52" name="Straight Connector 65"/>
          <p:cNvCxnSpPr>
            <a:cxnSpLocks noChangeShapeType="1"/>
          </p:cNvCxnSpPr>
          <p:nvPr/>
        </p:nvCxnSpPr>
        <p:spPr bwMode="auto">
          <a:xfrm>
            <a:off x="9065331" y="3980127"/>
            <a:ext cx="0" cy="1773373"/>
          </a:xfrm>
          <a:prstGeom prst="line">
            <a:avLst/>
          </a:prstGeom>
          <a:noFill/>
          <a:ln w="6350" algn="ctr">
            <a:solidFill>
              <a:schemeClr val="accent2"/>
            </a:solidFill>
            <a:round/>
            <a:headEnd/>
            <a:tailEnd/>
          </a:ln>
        </p:spPr>
      </p:cxnSp>
      <p:cxnSp>
        <p:nvCxnSpPr>
          <p:cNvPr id="45" name="Straight Connector 65"/>
          <p:cNvCxnSpPr>
            <a:cxnSpLocks noChangeShapeType="1"/>
          </p:cNvCxnSpPr>
          <p:nvPr/>
        </p:nvCxnSpPr>
        <p:spPr bwMode="auto">
          <a:xfrm>
            <a:off x="2355820" y="1957788"/>
            <a:ext cx="0" cy="1773373"/>
          </a:xfrm>
          <a:prstGeom prst="line">
            <a:avLst/>
          </a:prstGeom>
          <a:noFill/>
          <a:ln w="6350" algn="ctr">
            <a:solidFill>
              <a:schemeClr val="accent2"/>
            </a:solidFill>
            <a:round/>
            <a:headEnd/>
            <a:tailEnd/>
          </a:ln>
        </p:spPr>
      </p:cxnSp>
      <p:cxnSp>
        <p:nvCxnSpPr>
          <p:cNvPr id="46" name="Straight Connector 65"/>
          <p:cNvCxnSpPr>
            <a:cxnSpLocks noChangeShapeType="1"/>
          </p:cNvCxnSpPr>
          <p:nvPr/>
        </p:nvCxnSpPr>
        <p:spPr bwMode="auto">
          <a:xfrm>
            <a:off x="5046931" y="1957788"/>
            <a:ext cx="0" cy="1773373"/>
          </a:xfrm>
          <a:prstGeom prst="line">
            <a:avLst/>
          </a:prstGeom>
          <a:noFill/>
          <a:ln w="6350" algn="ctr">
            <a:solidFill>
              <a:schemeClr val="accent2"/>
            </a:solidFill>
            <a:round/>
            <a:headEnd/>
            <a:tailEnd/>
          </a:ln>
        </p:spPr>
      </p:cxnSp>
      <p:cxnSp>
        <p:nvCxnSpPr>
          <p:cNvPr id="47" name="Straight Connector 65"/>
          <p:cNvCxnSpPr>
            <a:cxnSpLocks noChangeShapeType="1"/>
          </p:cNvCxnSpPr>
          <p:nvPr/>
        </p:nvCxnSpPr>
        <p:spPr bwMode="auto">
          <a:xfrm>
            <a:off x="7738433" y="1957788"/>
            <a:ext cx="0" cy="1773373"/>
          </a:xfrm>
          <a:prstGeom prst="line">
            <a:avLst/>
          </a:prstGeom>
          <a:noFill/>
          <a:ln w="6350" algn="ctr">
            <a:solidFill>
              <a:schemeClr val="accent2"/>
            </a:solidFill>
            <a:round/>
            <a:headEnd/>
            <a:tailEnd/>
          </a:ln>
        </p:spPr>
      </p:cxn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759129" y="235854"/>
            <a:ext cx="10058400" cy="1450757"/>
          </a:xfrm>
        </p:spPr>
        <p:txBody>
          <a:bodyPr>
            <a:normAutofit/>
          </a:bodyPr>
          <a:lstStyle/>
          <a:p>
            <a:r>
              <a:rPr lang="de-DE" dirty="0">
                <a:sym typeface="Arial" pitchFamily="34" charset="0"/>
              </a:rPr>
              <a:t>2015-2020 Strategic Plan</a:t>
            </a:r>
            <a:br>
              <a:rPr lang="de-DE" dirty="0">
                <a:sym typeface="Arial" pitchFamily="34" charset="0"/>
              </a:rPr>
            </a:br>
            <a:r>
              <a:rPr lang="de-DE" dirty="0" smtClean="0">
                <a:solidFill>
                  <a:schemeClr val="accent2"/>
                </a:solidFill>
                <a:sym typeface="Arial" pitchFamily="34" charset="0"/>
              </a:rPr>
              <a:t>Building Blocks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D1A632-9664-4CA0-AEAA-C3B4893C8208}" type="datetime1">
              <a:rPr lang="en-US" smtClean="0"/>
              <a:t>3/6/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 dirty="0"/>
          </a:p>
        </p:txBody>
      </p:sp>
      <p:sp>
        <p:nvSpPr>
          <p:cNvPr id="108" name="Rectangle 176"/>
          <p:cNvSpPr>
            <a:spLocks noChangeArrowheads="1"/>
          </p:cNvSpPr>
          <p:nvPr/>
        </p:nvSpPr>
        <p:spPr bwMode="gray">
          <a:xfrm>
            <a:off x="1662358" y="3613550"/>
            <a:ext cx="1315117" cy="4857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45721" tIns="46800" rIns="45721" bIns="46800" anchor="ctr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5000"/>
              </a:lnSpc>
            </a:pPr>
            <a:r>
              <a:rPr lang="en-US" sz="1066" b="1" dirty="0" smtClean="0">
                <a:solidFill>
                  <a:schemeClr val="bg1"/>
                </a:solidFill>
              </a:rPr>
              <a:t>Program Master Plan</a:t>
            </a:r>
            <a:endParaRPr lang="en-US" sz="1066" b="1" dirty="0">
              <a:solidFill>
                <a:schemeClr val="bg1"/>
              </a:solidFill>
            </a:endParaRPr>
          </a:p>
        </p:txBody>
      </p:sp>
      <p:sp>
        <p:nvSpPr>
          <p:cNvPr id="109" name="Rectangle 178"/>
          <p:cNvSpPr>
            <a:spLocks noChangeArrowheads="1"/>
          </p:cNvSpPr>
          <p:nvPr/>
        </p:nvSpPr>
        <p:spPr bwMode="gray">
          <a:xfrm>
            <a:off x="4357853" y="3613550"/>
            <a:ext cx="1315117" cy="4857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45721" tIns="46800" rIns="45721" bIns="46800" anchor="ctr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5000"/>
              </a:lnSpc>
            </a:pPr>
            <a:r>
              <a:rPr lang="en-US" sz="1066" b="1" dirty="0" smtClean="0">
                <a:solidFill>
                  <a:schemeClr val="bg1"/>
                </a:solidFill>
              </a:rPr>
              <a:t>Phase 2 Funding Raising Plan</a:t>
            </a:r>
            <a:endParaRPr lang="en-US" sz="1066" b="1" dirty="0">
              <a:solidFill>
                <a:schemeClr val="bg1"/>
              </a:solidFill>
            </a:endParaRPr>
          </a:p>
        </p:txBody>
      </p:sp>
      <p:sp>
        <p:nvSpPr>
          <p:cNvPr id="110" name="Rectangle 180"/>
          <p:cNvSpPr>
            <a:spLocks noChangeArrowheads="1"/>
          </p:cNvSpPr>
          <p:nvPr/>
        </p:nvSpPr>
        <p:spPr bwMode="gray">
          <a:xfrm>
            <a:off x="5705600" y="3613550"/>
            <a:ext cx="1315117" cy="4857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45721" tIns="46800" rIns="45721" bIns="46800" anchor="ctr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5000"/>
              </a:lnSpc>
            </a:pPr>
            <a:r>
              <a:rPr lang="en-US" sz="1066" b="1" dirty="0" smtClean="0">
                <a:solidFill>
                  <a:schemeClr val="bg1"/>
                </a:solidFill>
              </a:rPr>
              <a:t>Center for Youth Engagement Plan</a:t>
            </a:r>
            <a:endParaRPr lang="en-US" sz="1066" b="1" dirty="0">
              <a:solidFill>
                <a:schemeClr val="bg1"/>
              </a:solidFill>
            </a:endParaRPr>
          </a:p>
        </p:txBody>
      </p:sp>
      <p:sp>
        <p:nvSpPr>
          <p:cNvPr id="111" name="Rectangle 182"/>
          <p:cNvSpPr>
            <a:spLocks noChangeArrowheads="1"/>
          </p:cNvSpPr>
          <p:nvPr/>
        </p:nvSpPr>
        <p:spPr bwMode="gray">
          <a:xfrm>
            <a:off x="3010105" y="3613550"/>
            <a:ext cx="1315117" cy="4857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45721" tIns="46800" rIns="45721" bIns="46800" anchor="ctr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5000"/>
              </a:lnSpc>
            </a:pPr>
            <a:r>
              <a:rPr lang="en-US" sz="1066" b="1" dirty="0" smtClean="0">
                <a:solidFill>
                  <a:schemeClr val="bg1"/>
                </a:solidFill>
              </a:rPr>
              <a:t>Facilities Master Plan</a:t>
            </a:r>
            <a:endParaRPr lang="en-US" sz="1066" b="1" dirty="0">
              <a:solidFill>
                <a:schemeClr val="bg1"/>
              </a:solidFill>
            </a:endParaRPr>
          </a:p>
        </p:txBody>
      </p:sp>
      <p:sp>
        <p:nvSpPr>
          <p:cNvPr id="112" name="Rectangle 194"/>
          <p:cNvSpPr>
            <a:spLocks noChangeArrowheads="1"/>
          </p:cNvSpPr>
          <p:nvPr/>
        </p:nvSpPr>
        <p:spPr bwMode="gray">
          <a:xfrm>
            <a:off x="7053348" y="3613550"/>
            <a:ext cx="1315117" cy="4857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45721" tIns="46800" rIns="45721" bIns="46800" anchor="ctr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5000"/>
              </a:lnSpc>
            </a:pPr>
            <a:r>
              <a:rPr lang="en-US" sz="1066" b="1" dirty="0" smtClean="0">
                <a:solidFill>
                  <a:schemeClr val="bg1"/>
                </a:solidFill>
              </a:rPr>
              <a:t>Phase 3 Fundraising Plan</a:t>
            </a:r>
            <a:endParaRPr lang="en-US" sz="1066" b="1" dirty="0">
              <a:solidFill>
                <a:schemeClr val="bg1"/>
              </a:solidFill>
            </a:endParaRPr>
          </a:p>
        </p:txBody>
      </p:sp>
      <p:sp>
        <p:nvSpPr>
          <p:cNvPr id="115" name="Rectangle 200"/>
          <p:cNvSpPr>
            <a:spLocks noChangeArrowheads="1"/>
          </p:cNvSpPr>
          <p:nvPr/>
        </p:nvSpPr>
        <p:spPr bwMode="gray">
          <a:xfrm>
            <a:off x="8401095" y="3613550"/>
            <a:ext cx="1315117" cy="48577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45721" tIns="46800" rIns="45721" bIns="46800" anchor="ctr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5000"/>
              </a:lnSpc>
            </a:pPr>
            <a:r>
              <a:rPr lang="en-US" sz="1066" b="1" dirty="0" smtClean="0">
                <a:solidFill>
                  <a:schemeClr val="bg1"/>
                </a:solidFill>
              </a:rPr>
              <a:t>Staffing and Resource Plan</a:t>
            </a:r>
            <a:endParaRPr lang="en-US" sz="1066" b="1" dirty="0">
              <a:solidFill>
                <a:schemeClr val="bg1"/>
              </a:solidFill>
            </a:endParaRPr>
          </a:p>
        </p:txBody>
      </p:sp>
      <p:sp>
        <p:nvSpPr>
          <p:cNvPr id="118" name="Rectangle 20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30434" y="1957788"/>
            <a:ext cx="1919130" cy="1406525"/>
          </a:xfrm>
          <a:prstGeom prst="rect">
            <a:avLst/>
          </a:prstGeom>
          <a:solidFill>
            <a:schemeClr val="accent5"/>
          </a:solidFill>
          <a:ln>
            <a:noFill/>
          </a:ln>
          <a:extLst/>
        </p:spPr>
        <p:txBody>
          <a:bodyPr tIns="91440" rIns="90000" bIns="9144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5000"/>
              </a:lnSpc>
            </a:pPr>
            <a:r>
              <a:rPr lang="da-DK" sz="1333" b="1" dirty="0" smtClean="0"/>
              <a:t>The Progam Master Plan is the basis for all other Plans</a:t>
            </a:r>
            <a:endParaRPr lang="en-US" sz="1333" b="1" dirty="0"/>
          </a:p>
        </p:txBody>
      </p:sp>
      <p:sp>
        <p:nvSpPr>
          <p:cNvPr id="124" name="Rectangle 21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62359" y="4345388"/>
            <a:ext cx="1912788" cy="1408112"/>
          </a:xfrm>
          <a:prstGeom prst="rect">
            <a:avLst/>
          </a:prstGeom>
          <a:solidFill>
            <a:schemeClr val="accent5"/>
          </a:solidFill>
          <a:ln>
            <a:noFill/>
          </a:ln>
          <a:extLst/>
        </p:spPr>
        <p:txBody>
          <a:bodyPr tIns="91440" rIns="90000" bIns="9144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5000"/>
              </a:lnSpc>
            </a:pPr>
            <a:r>
              <a:rPr lang="da-DK" sz="1333" b="1" dirty="0" smtClean="0"/>
              <a:t>The Facilities Master Plan will detail the long-term phased plan to support the Program Master Plan</a:t>
            </a:r>
            <a:endParaRPr lang="en-US" sz="1333" b="1" dirty="0"/>
          </a:p>
        </p:txBody>
      </p:sp>
      <p:sp>
        <p:nvSpPr>
          <p:cNvPr id="128" name="Rectangle 21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117903" y="1957788"/>
            <a:ext cx="1919130" cy="1406525"/>
          </a:xfrm>
          <a:prstGeom prst="rect">
            <a:avLst/>
          </a:prstGeom>
          <a:solidFill>
            <a:schemeClr val="accent5"/>
          </a:solidFill>
          <a:ln>
            <a:noFill/>
          </a:ln>
          <a:extLst/>
        </p:spPr>
        <p:txBody>
          <a:bodyPr tIns="91440" rIns="90000" bIns="9144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5000"/>
              </a:lnSpc>
            </a:pPr>
            <a:r>
              <a:rPr lang="da-DK" sz="1333" b="1" dirty="0" smtClean="0"/>
              <a:t>Phase 2 Funding will support the mid-term investments in programming and facilities - $1-2MM</a:t>
            </a:r>
            <a:endParaRPr lang="en-US" sz="1333" b="1" dirty="0"/>
          </a:p>
        </p:txBody>
      </p:sp>
      <p:sp>
        <p:nvSpPr>
          <p:cNvPr id="134" name="Rectangle 22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349564" y="4345388"/>
            <a:ext cx="1961043" cy="1408112"/>
          </a:xfrm>
          <a:prstGeom prst="rect">
            <a:avLst/>
          </a:prstGeom>
          <a:solidFill>
            <a:schemeClr val="accent5"/>
          </a:solidFill>
          <a:ln>
            <a:noFill/>
          </a:ln>
          <a:extLst/>
        </p:spPr>
        <p:txBody>
          <a:bodyPr tIns="91440" rIns="90000" bIns="9144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5000"/>
              </a:lnSpc>
            </a:pPr>
            <a:r>
              <a:rPr lang="da-DK" sz="1333" b="1" dirty="0" smtClean="0"/>
              <a:t>The Center for Youth Engagement Plan will detail the long-term phased plan to develop a world-class Center</a:t>
            </a:r>
            <a:endParaRPr lang="en-US" sz="1333" b="1" dirty="0"/>
          </a:p>
        </p:txBody>
      </p:sp>
      <p:sp>
        <p:nvSpPr>
          <p:cNvPr id="138" name="Rectangle 22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809863" y="1957788"/>
            <a:ext cx="1919130" cy="1406525"/>
          </a:xfrm>
          <a:prstGeom prst="rect">
            <a:avLst/>
          </a:prstGeom>
          <a:solidFill>
            <a:schemeClr val="accent5"/>
          </a:solidFill>
          <a:ln>
            <a:noFill/>
          </a:ln>
          <a:extLst/>
        </p:spPr>
        <p:txBody>
          <a:bodyPr tIns="91440" rIns="90000" bIns="9144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5000"/>
              </a:lnSpc>
            </a:pPr>
            <a:r>
              <a:rPr lang="da-DK" sz="1333" b="1" dirty="0" smtClean="0"/>
              <a:t>The Phase 3 Fundraising Plan will support the development of the Center - $2-3MM</a:t>
            </a:r>
            <a:endParaRPr lang="en-US" sz="1333" b="1" dirty="0"/>
          </a:p>
        </p:txBody>
      </p:sp>
      <p:sp>
        <p:nvSpPr>
          <p:cNvPr id="144" name="Rectangle 23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037033" y="4345388"/>
            <a:ext cx="1967121" cy="1408112"/>
          </a:xfrm>
          <a:prstGeom prst="rect">
            <a:avLst/>
          </a:prstGeom>
          <a:solidFill>
            <a:schemeClr val="accent5"/>
          </a:solidFill>
          <a:ln>
            <a:noFill/>
          </a:ln>
          <a:extLst/>
        </p:spPr>
        <p:txBody>
          <a:bodyPr tIns="91440" rIns="90000" bIns="9144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5000"/>
              </a:lnSpc>
            </a:pPr>
            <a:r>
              <a:rPr lang="da-DK" sz="1333" b="1" dirty="0" smtClean="0"/>
              <a:t>The Staffing and Resource Plan will support the developement of the Programming, Facilities, and Center </a:t>
            </a:r>
            <a:endParaRPr lang="en-US" sz="1333" b="1" dirty="0"/>
          </a:p>
        </p:txBody>
      </p:sp>
      <p:sp>
        <p:nvSpPr>
          <p:cNvPr id="7" name="Right Arrow 6"/>
          <p:cNvSpPr/>
          <p:nvPr/>
        </p:nvSpPr>
        <p:spPr>
          <a:xfrm>
            <a:off x="918483" y="3622470"/>
            <a:ext cx="665826" cy="47685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11321490" y="6455578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18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888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el 1"/>
          <p:cNvSpPr>
            <a:spLocks noGrp="1"/>
          </p:cNvSpPr>
          <p:nvPr>
            <p:ph type="title"/>
          </p:nvPr>
        </p:nvSpPr>
        <p:spPr>
          <a:xfrm>
            <a:off x="719209" y="104512"/>
            <a:ext cx="10058400" cy="1450757"/>
          </a:xfrm>
        </p:spPr>
        <p:txBody>
          <a:bodyPr/>
          <a:lstStyle/>
          <a:p>
            <a:r>
              <a:rPr lang="de-DE" dirty="0">
                <a:sym typeface="Arial" pitchFamily="34" charset="0"/>
              </a:rPr>
              <a:t>2015-2020 Strategic Plan</a:t>
            </a:r>
            <a:br>
              <a:rPr lang="de-DE" dirty="0">
                <a:sym typeface="Arial" pitchFamily="34" charset="0"/>
              </a:rPr>
            </a:br>
            <a:r>
              <a:rPr lang="de-DE" dirty="0" smtClean="0">
                <a:solidFill>
                  <a:schemeClr val="accent2"/>
                </a:solidFill>
                <a:sym typeface="Arial" pitchFamily="34" charset="0"/>
              </a:rPr>
              <a:t>Summary</a:t>
            </a:r>
            <a:endParaRPr lang="de-DE" dirty="0" smtClean="0">
              <a:ea typeface="MS PGothic" pitchFamily="34" charset="-128"/>
            </a:endParaRPr>
          </a:p>
        </p:txBody>
      </p:sp>
      <p:sp>
        <p:nvSpPr>
          <p:cNvPr id="11" name="Rechteck 10"/>
          <p:cNvSpPr>
            <a:spLocks noChangeArrowheads="1"/>
          </p:cNvSpPr>
          <p:nvPr/>
        </p:nvSpPr>
        <p:spPr bwMode="gray">
          <a:xfrm>
            <a:off x="719209" y="1555270"/>
            <a:ext cx="3502919" cy="1872671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46001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39926" tIns="95970" rIns="239926" bIns="119963" numCol="1" anchor="t" anchorCtr="0" compatLnSpc="1">
            <a:prstTxWarp prst="textNoShape">
              <a:avLst/>
            </a:prstTxWarp>
          </a:bodyPr>
          <a:lstStyle/>
          <a:p>
            <a:pPr defTabSz="1218804" fontAlgn="base">
              <a:spcBef>
                <a:spcPct val="0"/>
              </a:spcBef>
              <a:spcAft>
                <a:spcPct val="0"/>
              </a:spcAft>
            </a:pPr>
            <a:r>
              <a:rPr lang="de-DE" sz="2133" dirty="0" smtClean="0">
                <a:solidFill>
                  <a:srgbClr val="5F6973"/>
                </a:solidFill>
                <a:latin typeface="Arial" pitchFamily="34" charset="0"/>
                <a:cs typeface="Arial" pitchFamily="34" charset="0"/>
              </a:rPr>
              <a:t>Vision is to be the </a:t>
            </a:r>
            <a:r>
              <a:rPr lang="de-DE" sz="2133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leading Jewish outdoor camping</a:t>
            </a:r>
            <a:r>
              <a:rPr lang="de-DE" sz="2133" dirty="0" smtClean="0">
                <a:solidFill>
                  <a:srgbClr val="5F6973"/>
                </a:solidFill>
                <a:latin typeface="Arial" pitchFamily="34" charset="0"/>
                <a:cs typeface="Arial" pitchFamily="34" charset="0"/>
              </a:rPr>
              <a:t> experience in the Southwest</a:t>
            </a:r>
            <a:endParaRPr lang="de-DE" sz="2399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hteck 8"/>
          <p:cNvSpPr>
            <a:spLocks noChangeArrowheads="1"/>
          </p:cNvSpPr>
          <p:nvPr/>
        </p:nvSpPr>
        <p:spPr bwMode="gray">
          <a:xfrm>
            <a:off x="7965903" y="1555268"/>
            <a:ext cx="3502919" cy="1872673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46001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39926" tIns="95970" rIns="239926" bIns="119963" numCol="1" anchor="t" anchorCtr="0" compatLnSpc="1">
            <a:prstTxWarp prst="textNoShape">
              <a:avLst/>
            </a:prstTxWarp>
          </a:bodyPr>
          <a:lstStyle/>
          <a:p>
            <a:pPr defTabSz="1218804" fontAlgn="base">
              <a:spcBef>
                <a:spcPct val="0"/>
              </a:spcBef>
              <a:spcAft>
                <a:spcPct val="0"/>
              </a:spcAft>
            </a:pPr>
            <a:endParaRPr lang="de-DE" sz="2133" dirty="0" smtClean="0">
              <a:solidFill>
                <a:srgbClr val="5F6973"/>
              </a:solidFill>
              <a:latin typeface="Arial" pitchFamily="34" charset="0"/>
              <a:cs typeface="Arial" pitchFamily="34" charset="0"/>
            </a:endParaRPr>
          </a:p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de-DE" sz="2130" dirty="0">
                <a:solidFill>
                  <a:srgbClr val="5F6973"/>
                </a:solidFill>
                <a:latin typeface="Arial" pitchFamily="34" charset="0"/>
                <a:cs typeface="Arial" pitchFamily="34" charset="0"/>
              </a:rPr>
              <a:t>Based on a strong </a:t>
            </a:r>
            <a:r>
              <a:rPr lang="de-DE" sz="2133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ogam and Facilities </a:t>
            </a:r>
            <a:r>
              <a:rPr lang="de-DE" sz="2130" dirty="0">
                <a:solidFill>
                  <a:srgbClr val="5F6973"/>
                </a:solidFill>
                <a:latin typeface="Arial" pitchFamily="34" charset="0"/>
                <a:cs typeface="Arial" pitchFamily="34" charset="0"/>
              </a:rPr>
              <a:t>Master</a:t>
            </a:r>
            <a:r>
              <a:rPr lang="de-DE" sz="2133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130" dirty="0" smtClean="0">
                <a:solidFill>
                  <a:srgbClr val="5F6973"/>
                </a:solidFill>
                <a:latin typeface="Arial" pitchFamily="34" charset="0"/>
                <a:cs typeface="Arial" pitchFamily="34" charset="0"/>
              </a:rPr>
              <a:t>Plans</a:t>
            </a:r>
            <a:endParaRPr lang="de-DE" sz="2130" dirty="0">
              <a:solidFill>
                <a:srgbClr val="5F697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hteck 11"/>
          <p:cNvSpPr>
            <a:spLocks noChangeArrowheads="1"/>
          </p:cNvSpPr>
          <p:nvPr/>
        </p:nvSpPr>
        <p:spPr bwMode="gray">
          <a:xfrm>
            <a:off x="721325" y="3547904"/>
            <a:ext cx="3502919" cy="2273332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46001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39926" tIns="95970" rIns="239926" bIns="119963" numCol="1" anchor="t" anchorCtr="0" compatLnSpc="1">
            <a:prstTxWarp prst="textNoShape">
              <a:avLst/>
            </a:prstTxWarp>
          </a:bodyPr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de-DE" sz="2133" dirty="0">
                <a:solidFill>
                  <a:srgbClr val="E1000F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de-DE" sz="2133" dirty="0">
                <a:solidFill>
                  <a:srgbClr val="E1000F"/>
                </a:solidFill>
                <a:latin typeface="Arial" pitchFamily="34" charset="0"/>
                <a:cs typeface="Arial" pitchFamily="34" charset="0"/>
              </a:rPr>
            </a:br>
            <a:r>
              <a:rPr lang="de-DE" sz="2133" dirty="0" smtClean="0">
                <a:solidFill>
                  <a:srgbClr val="5F6973"/>
                </a:solidFill>
                <a:latin typeface="Arial" pitchFamily="34" charset="0"/>
                <a:cs typeface="Arial" pitchFamily="34" charset="0"/>
              </a:rPr>
              <a:t>The potential for growth is real</a:t>
            </a:r>
          </a:p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endParaRPr lang="de-DE" sz="2133" dirty="0" smtClean="0">
              <a:solidFill>
                <a:srgbClr val="5F6973"/>
              </a:solidFill>
              <a:latin typeface="Arial" pitchFamily="34" charset="0"/>
              <a:cs typeface="Arial" pitchFamily="34" charset="0"/>
            </a:endParaRPr>
          </a:p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de-DE" sz="24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60+% more kids will go to camp</a:t>
            </a:r>
          </a:p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endParaRPr lang="de-DE" sz="2399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hteck 14"/>
          <p:cNvSpPr>
            <a:spLocks noChangeArrowheads="1"/>
          </p:cNvSpPr>
          <p:nvPr/>
        </p:nvSpPr>
        <p:spPr bwMode="gray">
          <a:xfrm>
            <a:off x="4343614" y="3981688"/>
            <a:ext cx="3502919" cy="1839550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46001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39926" tIns="95970" rIns="239926" bIns="119963" numCol="1" anchor="t" anchorCtr="0" compatLnSpc="1">
            <a:prstTxWarp prst="textNoShape">
              <a:avLst/>
            </a:prstTxWarp>
          </a:bodyPr>
          <a:lstStyle/>
          <a:p>
            <a:pPr algn="ctr" defTabSz="1218804" fontAlgn="base">
              <a:spcBef>
                <a:spcPct val="0"/>
              </a:spcBef>
              <a:spcAft>
                <a:spcPct val="0"/>
              </a:spcAft>
            </a:pPr>
            <a:r>
              <a:rPr lang="de-DE" sz="24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$3-5MM+</a:t>
            </a:r>
            <a:r>
              <a:rPr lang="de-DE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de-DE" sz="2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</a:br>
            <a:r>
              <a:rPr lang="de-DE" sz="2133" dirty="0" smtClean="0">
                <a:solidFill>
                  <a:srgbClr val="5F6973"/>
                </a:solidFill>
                <a:latin typeface="Arial" pitchFamily="34" charset="0"/>
                <a:cs typeface="Arial" pitchFamily="34" charset="0"/>
              </a:rPr>
              <a:t>This will require significant capital funding</a:t>
            </a:r>
            <a:endParaRPr lang="de-DE" sz="2399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hteck 15"/>
          <p:cNvSpPr>
            <a:spLocks noChangeArrowheads="1"/>
          </p:cNvSpPr>
          <p:nvPr/>
        </p:nvSpPr>
        <p:spPr bwMode="gray">
          <a:xfrm>
            <a:off x="7965903" y="3547904"/>
            <a:ext cx="3502919" cy="2273333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46001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39926" tIns="95970" rIns="239926" bIns="119963" numCol="1" anchor="t" anchorCtr="0" compatLnSpc="1">
            <a:prstTxWarp prst="textNoShape">
              <a:avLst/>
            </a:prstTxWarp>
          </a:bodyPr>
          <a:lstStyle/>
          <a:p>
            <a:pPr defTabSz="1218804" fontAlgn="base">
              <a:spcBef>
                <a:spcPct val="0"/>
              </a:spcBef>
              <a:spcAft>
                <a:spcPct val="0"/>
              </a:spcAft>
            </a:pPr>
            <a:r>
              <a:rPr lang="de-DE" sz="2133" dirty="0">
                <a:solidFill>
                  <a:srgbClr val="5F6973"/>
                </a:solidFill>
                <a:latin typeface="MS PGothic" pitchFamily="34" charset="-128"/>
                <a:cs typeface="Arial" pitchFamily="34" charset="0"/>
              </a:rPr>
              <a:t/>
            </a:r>
            <a:br>
              <a:rPr lang="de-DE" sz="2133" dirty="0">
                <a:solidFill>
                  <a:srgbClr val="5F6973"/>
                </a:solidFill>
                <a:latin typeface="MS PGothic" pitchFamily="34" charset="-128"/>
                <a:cs typeface="Arial" pitchFamily="34" charset="0"/>
              </a:rPr>
            </a:br>
            <a:r>
              <a:rPr lang="de-DE" sz="2133" dirty="0" smtClean="0">
                <a:solidFill>
                  <a:srgbClr val="5F6973"/>
                </a:solidFill>
                <a:latin typeface="Arial" pitchFamily="34" charset="0"/>
                <a:cs typeface="Arial" pitchFamily="34" charset="0"/>
              </a:rPr>
              <a:t>and the </a:t>
            </a:r>
            <a:r>
              <a:rPr lang="de-DE" sz="2133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BEST </a:t>
            </a:r>
            <a:r>
              <a:rPr lang="de-DE" sz="2133" dirty="0" smtClean="0">
                <a:solidFill>
                  <a:srgbClr val="5F6973"/>
                </a:solidFill>
                <a:latin typeface="Arial" pitchFamily="34" charset="0"/>
                <a:cs typeface="Arial" pitchFamily="34" charset="0"/>
              </a:rPr>
              <a:t>team!</a:t>
            </a:r>
            <a:endParaRPr lang="de-DE" sz="2399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hteck 14"/>
          <p:cNvSpPr>
            <a:spLocks noChangeArrowheads="1"/>
          </p:cNvSpPr>
          <p:nvPr/>
        </p:nvSpPr>
        <p:spPr bwMode="gray">
          <a:xfrm>
            <a:off x="4343614" y="1555269"/>
            <a:ext cx="3502919" cy="2306455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46001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39926" tIns="95970" rIns="239926" bIns="119963" numCol="1" anchor="t" anchorCtr="0" compatLnSpc="1">
            <a:prstTxWarp prst="textNoShape">
              <a:avLst/>
            </a:prstTxWarp>
          </a:bodyPr>
          <a:lstStyle/>
          <a:p>
            <a:pPr defTabSz="1218804" fontAlgn="base">
              <a:spcBef>
                <a:spcPct val="0"/>
              </a:spcBef>
              <a:spcAft>
                <a:spcPct val="0"/>
              </a:spcAft>
            </a:pPr>
            <a:endParaRPr lang="de-DE" sz="2130" dirty="0" smtClean="0">
              <a:solidFill>
                <a:srgbClr val="5F6973"/>
              </a:solidFill>
              <a:latin typeface="Arial" pitchFamily="34" charset="0"/>
              <a:cs typeface="Arial" pitchFamily="34" charset="0"/>
            </a:endParaRPr>
          </a:p>
          <a:p>
            <a:pPr defTabSz="1218804" fontAlgn="base">
              <a:spcBef>
                <a:spcPct val="0"/>
              </a:spcBef>
              <a:spcAft>
                <a:spcPct val="0"/>
              </a:spcAft>
            </a:pPr>
            <a:r>
              <a:rPr lang="de-DE" sz="2130" dirty="0" smtClean="0">
                <a:solidFill>
                  <a:srgbClr val="5F6973"/>
                </a:solidFill>
                <a:latin typeface="Arial" pitchFamily="34" charset="0"/>
                <a:cs typeface="Arial" pitchFamily="34" charset="0"/>
              </a:rPr>
              <a:t>We can create a leading </a:t>
            </a:r>
            <a:r>
              <a:rPr lang="de-DE" sz="213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enter for youth engagement </a:t>
            </a:r>
            <a:r>
              <a:rPr lang="de-DE" sz="2130" dirty="0" smtClean="0">
                <a:solidFill>
                  <a:srgbClr val="5F6973"/>
                </a:solidFill>
                <a:latin typeface="Arial" pitchFamily="34" charset="0"/>
                <a:cs typeface="Arial" pitchFamily="34" charset="0"/>
              </a:rPr>
              <a:t>and leadership development</a:t>
            </a:r>
            <a:endParaRPr lang="de-DE" sz="213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F4DF28-0E97-46DF-93D6-D7B982C368D7}" type="datetime1">
              <a:rPr lang="en-US" smtClean="0"/>
              <a:t>3/6/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sp>
        <p:nvSpPr>
          <p:cNvPr id="17" name="TextBox 16"/>
          <p:cNvSpPr txBox="1"/>
          <p:nvPr/>
        </p:nvSpPr>
        <p:spPr>
          <a:xfrm>
            <a:off x="11321490" y="6455578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19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625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/>
          <p:cNvPicPr>
            <a:picLocks noGrp="1" noChangeAspect="1"/>
          </p:cNvPicPr>
          <p:nvPr>
            <p:ph type="pic" sz="quarter" idx="3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/>
      </p:pic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solidFill>
            <a:schemeClr val="tx2"/>
          </a:solidFill>
        </p:spPr>
        <p:txBody>
          <a:bodyPr vert="horz" lIns="95970" tIns="95970" rIns="95970" bIns="72000" rtlCol="0" anchor="ctr">
            <a:normAutofit/>
          </a:bodyPr>
          <a:lstStyle/>
          <a:p>
            <a:r>
              <a:rPr lang="de-DE" sz="2666"/>
              <a:t>1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 vert="horz" lIns="216000" tIns="95970" rIns="72009" bIns="72000" rtlCol="0" anchor="ctr">
            <a:normAutofit/>
          </a:bodyPr>
          <a:lstStyle/>
          <a:p>
            <a:r>
              <a:rPr lang="de-DE" sz="3200" b="1" dirty="0" smtClean="0">
                <a:solidFill>
                  <a:schemeClr val="tx2"/>
                </a:solidFill>
              </a:rPr>
              <a:t>Introduction</a:t>
            </a:r>
            <a:endParaRPr lang="de-DE" sz="3200" b="1" dirty="0">
              <a:solidFill>
                <a:schemeClr val="tx2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67895B8-51FD-4BC5-BCF7-871B4D82E882}" type="datetime1">
              <a:rPr lang="en-US" smtClean="0"/>
              <a:t>3/6/2015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pic>
        <p:nvPicPr>
          <p:cNvPr id="18" name="Picture Placeholder 17"/>
          <p:cNvPicPr>
            <a:picLocks noGrp="1" noChangeAspect="1"/>
          </p:cNvPicPr>
          <p:nvPr>
            <p:ph type="pic" sz="quarter" idx="3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/>
      </p:pic>
      <p:sp>
        <p:nvSpPr>
          <p:cNvPr id="9" name="Textplatzhalter 8"/>
          <p:cNvSpPr>
            <a:spLocks noGrp="1"/>
          </p:cNvSpPr>
          <p:nvPr>
            <p:ph type="body" sz="quarter" idx="35"/>
          </p:nvPr>
        </p:nvSpPr>
        <p:spPr/>
        <p:txBody>
          <a:bodyPr vert="horz" lIns="95970" tIns="95970" rIns="95970" bIns="72000" rtlCol="0" anchor="ctr">
            <a:normAutofit/>
          </a:bodyPr>
          <a:lstStyle/>
          <a:p>
            <a:r>
              <a:rPr lang="de-DE" sz="2666" b="0"/>
              <a:t>2.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36"/>
          </p:nvPr>
        </p:nvSpPr>
        <p:spPr/>
        <p:txBody>
          <a:bodyPr vert="horz" lIns="216000" tIns="95970" rIns="72009" bIns="72000" rtlCol="0" anchor="ctr">
            <a:normAutofit/>
          </a:bodyPr>
          <a:lstStyle/>
          <a:p>
            <a:r>
              <a:rPr lang="de-DE" dirty="0" smtClean="0"/>
              <a:t>Vision and Mission</a:t>
            </a:r>
            <a:endParaRPr lang="de-DE" dirty="0"/>
          </a:p>
        </p:txBody>
      </p:sp>
      <p:pic>
        <p:nvPicPr>
          <p:cNvPr id="16" name="Picture Placeholder 15"/>
          <p:cNvPicPr>
            <a:picLocks noGrp="1" noChangeAspect="1"/>
          </p:cNvPicPr>
          <p:nvPr>
            <p:ph type="pic" sz="quarter" idx="37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/>
      </p:pic>
      <p:sp>
        <p:nvSpPr>
          <p:cNvPr id="12" name="Textplatzhalter 11"/>
          <p:cNvSpPr>
            <a:spLocks noGrp="1"/>
          </p:cNvSpPr>
          <p:nvPr>
            <p:ph type="body" sz="quarter" idx="38"/>
          </p:nvPr>
        </p:nvSpPr>
        <p:spPr/>
        <p:txBody>
          <a:bodyPr vert="horz" lIns="95970" tIns="95970" rIns="95970" bIns="72000" rtlCol="0" anchor="ctr">
            <a:normAutofit/>
          </a:bodyPr>
          <a:lstStyle/>
          <a:p>
            <a:r>
              <a:rPr lang="de-DE" sz="2666" b="0"/>
              <a:t>3.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39"/>
          </p:nvPr>
        </p:nvSpPr>
        <p:spPr/>
        <p:txBody>
          <a:bodyPr vert="horz" lIns="216000" tIns="95970" rIns="72009" bIns="72000" rtlCol="0" anchor="ctr">
            <a:normAutofit/>
          </a:bodyPr>
          <a:lstStyle/>
          <a:p>
            <a:r>
              <a:rPr lang="de-DE" dirty="0" smtClean="0"/>
              <a:t>Five Year Plan</a:t>
            </a:r>
            <a:endParaRPr lang="de-DE" dirty="0"/>
          </a:p>
        </p:txBody>
      </p:sp>
      <p:sp>
        <p:nvSpPr>
          <p:cNvPr id="2" name="TextBox 1"/>
          <p:cNvSpPr txBox="1"/>
          <p:nvPr/>
        </p:nvSpPr>
        <p:spPr>
          <a:xfrm>
            <a:off x="11321490" y="6455578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2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542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!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613160"/>
            <a:ext cx="3041374" cy="196577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1375" y="2613160"/>
            <a:ext cx="3150703" cy="196577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078" y="2613159"/>
            <a:ext cx="3041374" cy="196577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3452" y="2613159"/>
            <a:ext cx="2958548" cy="196577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1349" y="4858812"/>
            <a:ext cx="4074453" cy="131752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5DE25A1-BBF5-4EC6-B8B2-A97BB5B89CEC}" type="datetime1">
              <a:rPr lang="en-US" smtClean="0"/>
              <a:t>3/6/201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6596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694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ym typeface="Arial" pitchFamily="34" charset="0"/>
              </a:rPr>
              <a:t>2015-2020 Strategic Plan</a:t>
            </a:r>
            <a:br>
              <a:rPr lang="de-DE" dirty="0" smtClean="0">
                <a:sym typeface="Arial" pitchFamily="34" charset="0"/>
              </a:rPr>
            </a:br>
            <a:r>
              <a:rPr lang="de-DE" b="0" dirty="0" smtClean="0">
                <a:solidFill>
                  <a:schemeClr val="accent2"/>
                </a:solidFill>
                <a:sym typeface="Arial" pitchFamily="34" charset="0"/>
              </a:rPr>
              <a:t>The Process</a:t>
            </a:r>
            <a:endParaRPr lang="de-DE" b="0" dirty="0">
              <a:solidFill>
                <a:schemeClr val="accent2"/>
              </a:solidFill>
              <a:sym typeface="Arial" pitchFamily="34" charset="0"/>
            </a:endParaRPr>
          </a:p>
        </p:txBody>
      </p:sp>
      <p:sp>
        <p:nvSpPr>
          <p:cNvPr id="242695" name="Rectangle 7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None/>
            </a:pPr>
            <a:r>
              <a:rPr lang="de-DE" b="1" dirty="0" smtClean="0">
                <a:sym typeface="Arial" pitchFamily="34" charset="0"/>
              </a:rPr>
              <a:t>Objective:  Prepare a 5 year plan to guide Camp Stein‘s growth and development</a:t>
            </a:r>
            <a:endParaRPr lang="de-DE" b="1" dirty="0">
              <a:sym typeface="Arial" pitchFamily="34" charset="0"/>
            </a:endParaRPr>
          </a:p>
          <a:p>
            <a:pPr marL="0" indent="0">
              <a:buNone/>
            </a:pPr>
            <a:endParaRPr lang="de-DE" dirty="0">
              <a:sym typeface="Arial" pitchFamily="34" charset="0"/>
            </a:endParaRPr>
          </a:p>
          <a:p>
            <a:pPr lvl="1"/>
            <a:r>
              <a:rPr lang="de-DE" dirty="0" smtClean="0">
                <a:sym typeface="Arial" pitchFamily="34" charset="0"/>
              </a:rPr>
              <a:t>Planning process started in May, 2014</a:t>
            </a:r>
          </a:p>
          <a:p>
            <a:pPr lvl="1"/>
            <a:r>
              <a:rPr lang="de-DE" dirty="0" smtClean="0">
                <a:sym typeface="Arial" pitchFamily="34" charset="0"/>
              </a:rPr>
              <a:t>Partnered with JCamp180 and hired experienced consultant, Royster Hedgepeth, to lead the process</a:t>
            </a:r>
            <a:endParaRPr lang="de-DE" dirty="0">
              <a:sym typeface="Arial" pitchFamily="34" charset="0"/>
            </a:endParaRPr>
          </a:p>
          <a:p>
            <a:pPr lvl="1"/>
            <a:r>
              <a:rPr lang="de-DE" dirty="0" smtClean="0">
                <a:sym typeface="Arial" pitchFamily="34" charset="0"/>
              </a:rPr>
              <a:t>Held two workshops over five month period, with group feedback opportunities along the way</a:t>
            </a:r>
            <a:endParaRPr lang="de-DE" dirty="0">
              <a:sym typeface="Arial" pitchFamily="34" charset="0"/>
            </a:endParaRPr>
          </a:p>
          <a:p>
            <a:pPr lvl="1"/>
            <a:r>
              <a:rPr lang="de-DE" dirty="0" smtClean="0">
                <a:sym typeface="Arial" pitchFamily="34" charset="0"/>
              </a:rPr>
              <a:t>Engaged Camp Committee, CBI Board members, Clergy, and friends of camp:  ~40 people</a:t>
            </a:r>
          </a:p>
          <a:p>
            <a:pPr lvl="1"/>
            <a:r>
              <a:rPr lang="de-DE" dirty="0" smtClean="0">
                <a:sym typeface="Arial" pitchFamily="34" charset="0"/>
              </a:rPr>
              <a:t>Final plan completed in January, 2015</a:t>
            </a:r>
            <a:endParaRPr lang="de-DE" dirty="0">
              <a:sym typeface="Arial" pitchFamily="34" charset="0"/>
            </a:endParaRPr>
          </a:p>
        </p:txBody>
      </p:sp>
      <p:sp>
        <p:nvSpPr>
          <p:cNvPr id="242692" name="Rechteck 26"/>
          <p:cNvSpPr>
            <a:spLocks noChangeArrowheads="1"/>
          </p:cNvSpPr>
          <p:nvPr/>
        </p:nvSpPr>
        <p:spPr bwMode="gray">
          <a:xfrm>
            <a:off x="1104325" y="5395834"/>
            <a:ext cx="10366350" cy="431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l">
              <a:buClr>
                <a:schemeClr val="accent1"/>
              </a:buClr>
            </a:pPr>
            <a:r>
              <a:rPr lang="en-US" sz="2133" b="1" dirty="0" smtClean="0">
                <a:solidFill>
                  <a:schemeClr val="tx2"/>
                </a:solidFill>
              </a:rPr>
              <a:t>There is a robust and inspiring plan to drive Camp Stein’s future</a:t>
            </a:r>
            <a:endParaRPr lang="en-US" sz="2133" b="1" dirty="0">
              <a:solidFill>
                <a:schemeClr val="tx2"/>
              </a:solidFill>
            </a:endParaRPr>
          </a:p>
        </p:txBody>
      </p:sp>
      <p:sp>
        <p:nvSpPr>
          <p:cNvPr id="242693" name="Eingekerbter Richtungspfeil 27"/>
          <p:cNvSpPr>
            <a:spLocks noChangeArrowheads="1"/>
          </p:cNvSpPr>
          <p:nvPr/>
        </p:nvSpPr>
        <p:spPr bwMode="gray">
          <a:xfrm>
            <a:off x="721326" y="5395834"/>
            <a:ext cx="198905" cy="431667"/>
          </a:xfrm>
          <a:prstGeom prst="chevron">
            <a:avLst>
              <a:gd name="adj" fmla="val 5000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19963" tIns="62381" rIns="119963" bIns="62381" anchor="ctr"/>
          <a:lstStyle/>
          <a:p>
            <a:pPr>
              <a:buClr>
                <a:schemeClr val="accent1"/>
              </a:buClr>
            </a:pPr>
            <a:endParaRPr lang="en-US" sz="2666" dirty="0">
              <a:ea typeface="ＭＳ Ｐゴシック" pitchFamily="34" charset="-128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200123A-EC34-42CF-841A-76BDA11AB129}" type="datetime1">
              <a:rPr lang="en-US" noProof="0" smtClean="0"/>
              <a:t>3/6/2015</a:t>
            </a:fld>
            <a:endParaRPr lang="de-DE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sp>
        <p:nvSpPr>
          <p:cNvPr id="9" name="TextBox 8"/>
          <p:cNvSpPr txBox="1"/>
          <p:nvPr/>
        </p:nvSpPr>
        <p:spPr>
          <a:xfrm>
            <a:off x="11321490" y="6455578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3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509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492" name="Rectangle 4"/>
          <p:cNvSpPr>
            <a:spLocks noGrp="1" noChangeArrowheads="1"/>
          </p:cNvSpPr>
          <p:nvPr>
            <p:ph type="title"/>
          </p:nvPr>
        </p:nvSpPr>
        <p:spPr>
          <a:xfrm>
            <a:off x="721325" y="279814"/>
            <a:ext cx="10058400" cy="1450757"/>
          </a:xfrm>
        </p:spPr>
        <p:txBody>
          <a:bodyPr/>
          <a:lstStyle/>
          <a:p>
            <a:r>
              <a:rPr lang="de-DE" dirty="0">
                <a:sym typeface="Arial" pitchFamily="34" charset="0"/>
              </a:rPr>
              <a:t>2015-2020 Strategic Plan</a:t>
            </a:r>
            <a:br>
              <a:rPr lang="de-DE" dirty="0">
                <a:sym typeface="Arial" pitchFamily="34" charset="0"/>
              </a:rPr>
            </a:br>
            <a:r>
              <a:rPr lang="de-DE" dirty="0">
                <a:solidFill>
                  <a:schemeClr val="accent2"/>
                </a:solidFill>
                <a:sym typeface="Arial" pitchFamily="34" charset="0"/>
              </a:rPr>
              <a:t>Camp Stein Today: Current State</a:t>
            </a:r>
            <a:endParaRPr lang="en-US" b="0" dirty="0">
              <a:solidFill>
                <a:schemeClr val="accent2"/>
              </a:solidFill>
              <a:sym typeface="Arial" pitchFamily="34" charset="0"/>
            </a:endParaRPr>
          </a:p>
        </p:txBody>
      </p:sp>
      <p:sp>
        <p:nvSpPr>
          <p:cNvPr id="319501" name="Rectangle 13"/>
          <p:cNvSpPr>
            <a:spLocks noChangeArrowheads="1"/>
          </p:cNvSpPr>
          <p:nvPr/>
        </p:nvSpPr>
        <p:spPr bwMode="gray">
          <a:xfrm>
            <a:off x="721325" y="1737360"/>
            <a:ext cx="5086897" cy="4090141"/>
          </a:xfrm>
          <a:prstGeom prst="rect">
            <a:avLst/>
          </a:prstGeom>
          <a:gradFill>
            <a:gsLst>
              <a:gs pos="0">
                <a:schemeClr val="bg2"/>
              </a:gs>
              <a:gs pos="46001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287911" tIns="287911" rIns="287911" bIns="0"/>
          <a:lstStyle/>
          <a:p>
            <a:pPr marL="2857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endParaRPr lang="de-DE" dirty="0" smtClean="0">
              <a:solidFill>
                <a:srgbClr val="000000">
                  <a:lumMod val="75000"/>
                  <a:lumOff val="25000"/>
                </a:srgbClr>
              </a:solidFill>
              <a:sym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endParaRPr lang="de-DE" dirty="0" smtClean="0">
              <a:solidFill>
                <a:srgbClr val="000000">
                  <a:lumMod val="75000"/>
                  <a:lumOff val="25000"/>
                </a:srgbClr>
              </a:solidFill>
              <a:sym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Highest </a:t>
            </a:r>
            <a:r>
              <a:rPr lang="de-DE" dirty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enrollment in past </a:t>
            </a:r>
            <a:r>
              <a:rPr lang="de-DE" dirty="0" smtClean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2 </a:t>
            </a:r>
            <a:r>
              <a:rPr lang="de-DE" dirty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years, waiting lists in some bunks / sessions</a:t>
            </a:r>
          </a:p>
          <a:p>
            <a:pPr marL="2857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Highly engaged </a:t>
            </a:r>
            <a:r>
              <a:rPr lang="de-DE" dirty="0" smtClean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Staff </a:t>
            </a:r>
            <a:r>
              <a:rPr lang="de-DE" dirty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and Camp Committee</a:t>
            </a:r>
          </a:p>
          <a:p>
            <a:pPr marL="2857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Successful first phase </a:t>
            </a:r>
            <a:r>
              <a:rPr lang="de-DE" dirty="0" smtClean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capital </a:t>
            </a:r>
            <a:r>
              <a:rPr lang="de-DE" dirty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campaign </a:t>
            </a:r>
            <a:endParaRPr lang="de-DE" dirty="0" smtClean="0">
              <a:solidFill>
                <a:srgbClr val="000000">
                  <a:lumMod val="75000"/>
                  <a:lumOff val="25000"/>
                </a:srgbClr>
              </a:solidFill>
              <a:sym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Investment in new programming i.e. Tennis!</a:t>
            </a:r>
          </a:p>
          <a:p>
            <a:pPr marL="2857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Growing off-season revenue</a:t>
            </a:r>
          </a:p>
          <a:p>
            <a:pPr marL="2857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Area of growing population</a:t>
            </a:r>
            <a:endParaRPr lang="en-US" dirty="0"/>
          </a:p>
        </p:txBody>
      </p:sp>
      <p:sp>
        <p:nvSpPr>
          <p:cNvPr id="319502" name="Rectangle 14"/>
          <p:cNvSpPr>
            <a:spLocks noChangeArrowheads="1"/>
          </p:cNvSpPr>
          <p:nvPr/>
        </p:nvSpPr>
        <p:spPr bwMode="gray">
          <a:xfrm>
            <a:off x="6191221" y="1737360"/>
            <a:ext cx="5086897" cy="4090141"/>
          </a:xfrm>
          <a:prstGeom prst="rect">
            <a:avLst/>
          </a:prstGeom>
          <a:gradFill>
            <a:gsLst>
              <a:gs pos="0">
                <a:schemeClr val="bg2"/>
              </a:gs>
              <a:gs pos="46001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287911" tIns="287911" rIns="287911" bIns="0"/>
          <a:lstStyle/>
          <a:p>
            <a:pPr lvl="1"/>
            <a:endParaRPr lang="de-DE" dirty="0" smtClean="0">
              <a:sym typeface="Arial" pitchFamily="34" charset="0"/>
            </a:endParaRPr>
          </a:p>
          <a:p>
            <a:pPr lvl="1"/>
            <a:endParaRPr lang="de-DE" dirty="0">
              <a:sym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Reaching capacity in some areas</a:t>
            </a:r>
          </a:p>
          <a:p>
            <a:pPr marL="2857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Aging facility needing investment / maintenance</a:t>
            </a:r>
          </a:p>
          <a:p>
            <a:pPr marL="2857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Investment cannot be supported by camper fees alone</a:t>
            </a:r>
          </a:p>
          <a:p>
            <a:pPr marL="2857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000000">
                    <a:lumMod val="75000"/>
                    <a:lumOff val="25000"/>
                  </a:srgbClr>
                </a:solidFill>
                <a:sym typeface="Arial" pitchFamily="34" charset="0"/>
              </a:rPr>
              <a:t>Limited engagement and awareness from other Congregations and Jewish communities in the Southwest</a:t>
            </a:r>
          </a:p>
          <a:p>
            <a:pPr marL="2857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endParaRPr lang="de-DE" dirty="0" smtClean="0">
              <a:solidFill>
                <a:srgbClr val="000000">
                  <a:lumMod val="75000"/>
                  <a:lumOff val="25000"/>
                </a:srgbClr>
              </a:solidFill>
              <a:sym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endParaRPr lang="de-DE" dirty="0" smtClean="0">
              <a:solidFill>
                <a:srgbClr val="000000">
                  <a:lumMod val="75000"/>
                  <a:lumOff val="25000"/>
                </a:srgbClr>
              </a:solidFill>
              <a:sym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endParaRPr lang="de-DE" dirty="0" smtClean="0">
              <a:solidFill>
                <a:srgbClr val="000000">
                  <a:lumMod val="75000"/>
                  <a:lumOff val="25000"/>
                </a:srgbClr>
              </a:solidFill>
              <a:sym typeface="Arial" pitchFamily="34" charset="0"/>
            </a:endParaRPr>
          </a:p>
        </p:txBody>
      </p:sp>
      <p:grpSp>
        <p:nvGrpSpPr>
          <p:cNvPr id="23" name="Gruppieren 22"/>
          <p:cNvGrpSpPr/>
          <p:nvPr/>
        </p:nvGrpSpPr>
        <p:grpSpPr>
          <a:xfrm>
            <a:off x="5015758" y="1642138"/>
            <a:ext cx="926098" cy="822728"/>
            <a:chOff x="3455988" y="1379538"/>
            <a:chExt cx="1077912" cy="1077912"/>
          </a:xfrm>
        </p:grpSpPr>
        <p:sp>
          <p:nvSpPr>
            <p:cNvPr id="24" name="Oval 26"/>
            <p:cNvSpPr>
              <a:spLocks noChangeArrowheads="1"/>
            </p:cNvSpPr>
            <p:nvPr/>
          </p:nvSpPr>
          <p:spPr bwMode="gray">
            <a:xfrm>
              <a:off x="3455988" y="1379538"/>
              <a:ext cx="1077912" cy="1077912"/>
            </a:xfrm>
            <a:prstGeom prst="ellipse">
              <a:avLst/>
            </a:prstGeom>
            <a:solidFill>
              <a:srgbClr val="008246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lIns="119963" tIns="62381" rIns="119963" bIns="62381" anchor="ctr"/>
            <a:lstStyle/>
            <a:p>
              <a:endParaRPr lang="de-DE" sz="2399"/>
            </a:p>
          </p:txBody>
        </p:sp>
        <p:grpSp>
          <p:nvGrpSpPr>
            <p:cNvPr id="25" name="Gruppieren 17"/>
            <p:cNvGrpSpPr>
              <a:grpSpLocks/>
            </p:cNvGrpSpPr>
            <p:nvPr/>
          </p:nvGrpSpPr>
          <p:grpSpPr bwMode="auto">
            <a:xfrm>
              <a:off x="3748234" y="1671784"/>
              <a:ext cx="493420" cy="493420"/>
              <a:chOff x="1124000" y="1844824"/>
              <a:chExt cx="576064" cy="576064"/>
            </a:xfrm>
          </p:grpSpPr>
          <p:sp>
            <p:nvSpPr>
              <p:cNvPr id="28" name="Rechteck 27"/>
              <p:cNvSpPr>
                <a:spLocks noChangeArrowheads="1"/>
              </p:cNvSpPr>
              <p:nvPr/>
            </p:nvSpPr>
            <p:spPr bwMode="auto">
              <a:xfrm>
                <a:off x="1338823" y="1844654"/>
                <a:ext cx="144565" cy="57640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119963" tIns="62381" rIns="119963" bIns="62381" anchor="ctr"/>
              <a:lstStyle/>
              <a:p>
                <a:pPr rtl="1">
                  <a:buClr>
                    <a:schemeClr val="accent1"/>
                  </a:buClr>
                </a:pPr>
                <a:endParaRPr lang="en-US" sz="2399" dirty="0">
                  <a:ea typeface="ＭＳ Ｐゴシック" pitchFamily="34" charset="-128"/>
                </a:endParaRPr>
              </a:p>
            </p:txBody>
          </p:sp>
          <p:sp>
            <p:nvSpPr>
              <p:cNvPr id="29" name="Rechteck 19"/>
              <p:cNvSpPr>
                <a:spLocks noChangeArrowheads="1"/>
              </p:cNvSpPr>
              <p:nvPr/>
            </p:nvSpPr>
            <p:spPr bwMode="auto">
              <a:xfrm rot="5400000">
                <a:off x="1339575" y="1844818"/>
                <a:ext cx="144514" cy="57647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7"/>
                        </a:schemeClr>
                      </a:outerShdw>
                    </a:effectLst>
                  </a14:hiddenEffects>
                </a:ext>
              </a:extLst>
            </p:spPr>
            <p:txBody>
              <a:bodyPr rot="10800000" vert="eaVert" wrap="none" lIns="119963" tIns="62381" rIns="119963" bIns="62381" anchor="ctr"/>
              <a:lstStyle/>
              <a:p>
                <a:pPr rtl="1">
                  <a:buClr>
                    <a:schemeClr val="accent1"/>
                  </a:buClr>
                </a:pPr>
                <a:endParaRPr lang="en-US" sz="2399" dirty="0">
                  <a:ea typeface="ＭＳ Ｐゴシック" pitchFamily="34" charset="-128"/>
                </a:endParaRPr>
              </a:p>
            </p:txBody>
          </p:sp>
        </p:grpSp>
      </p:grpSp>
      <p:grpSp>
        <p:nvGrpSpPr>
          <p:cNvPr id="30" name="Gruppieren 29"/>
          <p:cNvGrpSpPr/>
          <p:nvPr/>
        </p:nvGrpSpPr>
        <p:grpSpPr>
          <a:xfrm>
            <a:off x="10478944" y="1538768"/>
            <a:ext cx="926101" cy="926098"/>
            <a:chOff x="7520855" y="1374214"/>
            <a:chExt cx="1077913" cy="1077912"/>
          </a:xfrm>
        </p:grpSpPr>
        <p:sp>
          <p:nvSpPr>
            <p:cNvPr id="31" name="Oval 45"/>
            <p:cNvSpPr>
              <a:spLocks noChangeArrowheads="1"/>
            </p:cNvSpPr>
            <p:nvPr/>
          </p:nvSpPr>
          <p:spPr bwMode="gray">
            <a:xfrm>
              <a:off x="7520855" y="1374214"/>
              <a:ext cx="1077913" cy="1077912"/>
            </a:xfrm>
            <a:prstGeom prst="ellipse">
              <a:avLst/>
            </a:prstGeom>
            <a:solidFill>
              <a:srgbClr val="FF0000"/>
            </a:solidFill>
            <a:ln w="19050" algn="ctr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lIns="119963" tIns="62381" rIns="119963" bIns="62381" anchor="ctr"/>
            <a:lstStyle/>
            <a:p>
              <a:endParaRPr lang="de-DE" sz="2399"/>
            </a:p>
          </p:txBody>
        </p:sp>
        <p:sp>
          <p:nvSpPr>
            <p:cNvPr id="32" name="Rechteck 19"/>
            <p:cNvSpPr>
              <a:spLocks noChangeArrowheads="1"/>
            </p:cNvSpPr>
            <p:nvPr/>
          </p:nvSpPr>
          <p:spPr bwMode="auto">
            <a:xfrm rot="5400000">
              <a:off x="8040688" y="1671638"/>
              <a:ext cx="123825" cy="4937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rot="10800000" vert="eaVert" wrap="none" lIns="119963" tIns="62381" rIns="119963" bIns="62381" anchor="ctr"/>
            <a:lstStyle/>
            <a:p>
              <a:pPr rtl="1">
                <a:buClr>
                  <a:schemeClr val="accent1"/>
                </a:buClr>
              </a:pPr>
              <a:endParaRPr lang="en-US" sz="2399" dirty="0">
                <a:ea typeface="ＭＳ Ｐゴシック" pitchFamily="34" charset="-128"/>
              </a:endParaRPr>
            </a:p>
          </p:txBody>
        </p:sp>
      </p:grp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57CF1A-3624-4D3A-B28B-7F25E4C74809}" type="datetime1">
              <a:rPr lang="en-US" smtClean="0"/>
              <a:t>3/6/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sp>
        <p:nvSpPr>
          <p:cNvPr id="15" name="TextBox 14"/>
          <p:cNvSpPr txBox="1"/>
          <p:nvPr/>
        </p:nvSpPr>
        <p:spPr>
          <a:xfrm>
            <a:off x="11321490" y="6455578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4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2946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>
                <a:sym typeface="Arial" pitchFamily="34" charset="0"/>
              </a:rPr>
              <a:t>2015-2020 Strategic Plan</a:t>
            </a:r>
            <a:br>
              <a:rPr lang="de-DE" dirty="0">
                <a:sym typeface="Arial" pitchFamily="34" charset="0"/>
              </a:rPr>
            </a:br>
            <a:r>
              <a:rPr lang="de-DE" dirty="0" smtClean="0">
                <a:solidFill>
                  <a:schemeClr val="accent2"/>
                </a:solidFill>
                <a:sym typeface="Arial" pitchFamily="34" charset="0"/>
              </a:rPr>
              <a:t>Aspirations for the Future</a:t>
            </a:r>
            <a:endParaRPr lang="en-US" noProof="0" dirty="0" smtClean="0"/>
          </a:p>
        </p:txBody>
      </p:sp>
      <p:sp>
        <p:nvSpPr>
          <p:cNvPr id="17410" name="Inhaltsplatzhalter 4"/>
          <p:cNvSpPr>
            <a:spLocks noGrp="1"/>
          </p:cNvSpPr>
          <p:nvPr>
            <p:ph idx="1"/>
          </p:nvPr>
        </p:nvSpPr>
        <p:spPr>
          <a:xfrm>
            <a:off x="1097280" y="2086892"/>
            <a:ext cx="10058400" cy="4023360"/>
          </a:xfrm>
        </p:spPr>
        <p:txBody>
          <a:bodyPr>
            <a:normAutofit/>
          </a:bodyPr>
          <a:lstStyle/>
          <a:p>
            <a:pPr>
              <a:spcAft>
                <a:spcPts val="1599"/>
              </a:spcAft>
              <a:buFont typeface="Arial"/>
              <a:buChar char="•"/>
            </a:pPr>
            <a:r>
              <a:rPr lang="en-US" noProof="0" dirty="0" smtClean="0"/>
              <a:t>Powerful, </a:t>
            </a:r>
            <a:r>
              <a:rPr lang="en-US" b="1" noProof="0" dirty="0" smtClean="0">
                <a:solidFill>
                  <a:schemeClr val="tx2"/>
                </a:solidFill>
              </a:rPr>
              <a:t>transformative effect </a:t>
            </a:r>
            <a:r>
              <a:rPr lang="en-US" noProof="0" dirty="0" smtClean="0"/>
              <a:t>Jewish summer camp has on campers and families</a:t>
            </a:r>
            <a:endParaRPr lang="en-US" dirty="0"/>
          </a:p>
          <a:p>
            <a:pPr>
              <a:spcAft>
                <a:spcPts val="1599"/>
              </a:spcAft>
              <a:buFont typeface="Arial"/>
              <a:buChar char="•"/>
            </a:pPr>
            <a:r>
              <a:rPr lang="en-US" noProof="0" dirty="0" smtClean="0"/>
              <a:t>The role Jewish</a:t>
            </a:r>
            <a:r>
              <a:rPr lang="en-US" dirty="0" smtClean="0"/>
              <a:t> summer camp plays in developing </a:t>
            </a:r>
            <a:r>
              <a:rPr lang="en-US" b="1" dirty="0" smtClean="0">
                <a:solidFill>
                  <a:schemeClr val="tx2"/>
                </a:solidFill>
              </a:rPr>
              <a:t>new generations </a:t>
            </a:r>
            <a:r>
              <a:rPr lang="en-US" dirty="0" smtClean="0"/>
              <a:t>of Jewish leaders</a:t>
            </a:r>
          </a:p>
          <a:p>
            <a:pPr>
              <a:spcAft>
                <a:spcPts val="1599"/>
              </a:spcAft>
              <a:buFont typeface="Arial"/>
              <a:buChar char="•"/>
            </a:pPr>
            <a:r>
              <a:rPr lang="en-US" noProof="0" dirty="0" smtClean="0"/>
              <a:t>The desire to strengthen Camp Stein’s capacity to provide a </a:t>
            </a:r>
            <a:r>
              <a:rPr lang="en-US" b="1" noProof="0" dirty="0" smtClean="0">
                <a:solidFill>
                  <a:schemeClr val="tx2"/>
                </a:solidFill>
              </a:rPr>
              <a:t>quality summer camp </a:t>
            </a:r>
            <a:r>
              <a:rPr lang="en-US" noProof="0" dirty="0" smtClean="0"/>
              <a:t>experience, </a:t>
            </a:r>
            <a:r>
              <a:rPr lang="en-US" b="1" noProof="0" dirty="0" smtClean="0">
                <a:solidFill>
                  <a:schemeClr val="tx2"/>
                </a:solidFill>
              </a:rPr>
              <a:t>serve more campers</a:t>
            </a:r>
            <a:r>
              <a:rPr lang="en-US" noProof="0" dirty="0" smtClean="0"/>
              <a:t>, and enhance its capacity for </a:t>
            </a:r>
            <a:r>
              <a:rPr lang="en-US" b="1" noProof="0" dirty="0" smtClean="0">
                <a:solidFill>
                  <a:schemeClr val="tx2"/>
                </a:solidFill>
              </a:rPr>
              <a:t>year-round service</a:t>
            </a:r>
          </a:p>
          <a:p>
            <a:pPr>
              <a:spcAft>
                <a:spcPts val="1599"/>
              </a:spcAft>
              <a:buFont typeface="Arial"/>
              <a:buChar char="•"/>
            </a:pPr>
            <a:r>
              <a:rPr lang="en-US" dirty="0" smtClean="0"/>
              <a:t>Perception of Camp Stein’s </a:t>
            </a:r>
            <a:r>
              <a:rPr lang="en-US" b="1" dirty="0" smtClean="0">
                <a:solidFill>
                  <a:schemeClr val="tx2"/>
                </a:solidFill>
              </a:rPr>
              <a:t>potential for growth </a:t>
            </a:r>
            <a:r>
              <a:rPr lang="en-US" dirty="0" smtClean="0"/>
              <a:t>and its ability to serve the </a:t>
            </a:r>
            <a:r>
              <a:rPr lang="en-US" b="1" dirty="0" smtClean="0">
                <a:solidFill>
                  <a:schemeClr val="tx2"/>
                </a:solidFill>
              </a:rPr>
              <a:t>Reform</a:t>
            </a:r>
            <a:r>
              <a:rPr lang="en-US" dirty="0" smtClean="0"/>
              <a:t> </a:t>
            </a:r>
            <a:r>
              <a:rPr lang="en-US" b="1" dirty="0" smtClean="0">
                <a:solidFill>
                  <a:schemeClr val="tx2"/>
                </a:solidFill>
              </a:rPr>
              <a:t>communities in the Southwes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A501E0-8D23-4058-B521-7F5DA8B051BA}" type="datetime1">
              <a:rPr lang="en-US" smtClean="0"/>
              <a:t>3/6/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sp>
        <p:nvSpPr>
          <p:cNvPr id="7" name="TextBox 6"/>
          <p:cNvSpPr txBox="1"/>
          <p:nvPr/>
        </p:nvSpPr>
        <p:spPr>
          <a:xfrm>
            <a:off x="11321490" y="6455578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5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842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/>
          <p:cNvPicPr>
            <a:picLocks noGrp="1" noChangeAspect="1"/>
          </p:cNvPicPr>
          <p:nvPr>
            <p:ph type="pic" sz="quarter" idx="3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/>
      </p:pic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solidFill>
            <a:schemeClr val="accent1"/>
          </a:solidFill>
        </p:spPr>
        <p:txBody>
          <a:bodyPr vert="horz" lIns="95970" tIns="95970" rIns="95970" bIns="72000" rtlCol="0" anchor="ctr">
            <a:normAutofit/>
          </a:bodyPr>
          <a:lstStyle/>
          <a:p>
            <a:r>
              <a:rPr lang="de-DE" sz="2666"/>
              <a:t>1.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 vert="horz" lIns="216000" tIns="95970" rIns="72009" bIns="72000" rtlCol="0" anchor="ctr">
            <a:normAutofit/>
          </a:bodyPr>
          <a:lstStyle/>
          <a:p>
            <a:r>
              <a:rPr lang="de-DE" dirty="0" smtClean="0"/>
              <a:t>Introduction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F962003-1CDB-4ED9-89BF-E5FF57EA6424}" type="datetime1">
              <a:rPr lang="en-US" smtClean="0"/>
              <a:t>3/6/2015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5"/>
          </p:nvPr>
        </p:nvSpPr>
        <p:spPr>
          <a:solidFill>
            <a:schemeClr val="tx2"/>
          </a:solidFill>
        </p:spPr>
        <p:txBody>
          <a:bodyPr vert="horz" lIns="95970" tIns="95970" rIns="95970" bIns="72000" rtlCol="0" anchor="ctr">
            <a:normAutofit/>
          </a:bodyPr>
          <a:lstStyle/>
          <a:p>
            <a:r>
              <a:rPr lang="de-DE" sz="2666" b="0"/>
              <a:t>2.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36"/>
          </p:nvPr>
        </p:nvSpPr>
        <p:spPr/>
        <p:txBody>
          <a:bodyPr vert="horz" lIns="216000" tIns="95970" rIns="72009" bIns="72000" rtlCol="0" anchor="ctr">
            <a:normAutofit/>
          </a:bodyPr>
          <a:lstStyle/>
          <a:p>
            <a:r>
              <a:rPr lang="de-DE" sz="3200" b="1" dirty="0" smtClean="0">
                <a:solidFill>
                  <a:schemeClr val="tx2"/>
                </a:solidFill>
              </a:rPr>
              <a:t>Vision and Mission</a:t>
            </a:r>
            <a:endParaRPr lang="de-DE" sz="3200" b="1" dirty="0">
              <a:solidFill>
                <a:schemeClr val="tx2"/>
              </a:solidFill>
            </a:endParaRPr>
          </a:p>
        </p:txBody>
      </p:sp>
      <p:pic>
        <p:nvPicPr>
          <p:cNvPr id="16" name="Picture Placeholder 15"/>
          <p:cNvPicPr>
            <a:picLocks noGrp="1" noChangeAspect="1"/>
          </p:cNvPicPr>
          <p:nvPr>
            <p:ph type="pic" sz="quarter" idx="37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/>
      </p:pic>
      <p:sp>
        <p:nvSpPr>
          <p:cNvPr id="12" name="Textplatzhalter 11"/>
          <p:cNvSpPr>
            <a:spLocks noGrp="1"/>
          </p:cNvSpPr>
          <p:nvPr>
            <p:ph type="body" sz="quarter" idx="38"/>
          </p:nvPr>
        </p:nvSpPr>
        <p:spPr/>
        <p:txBody>
          <a:bodyPr vert="horz" lIns="95970" tIns="95970" rIns="95970" bIns="72000" rtlCol="0" anchor="ctr">
            <a:normAutofit/>
          </a:bodyPr>
          <a:lstStyle/>
          <a:p>
            <a:r>
              <a:rPr lang="de-DE" sz="2666" b="0"/>
              <a:t>3.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39"/>
          </p:nvPr>
        </p:nvSpPr>
        <p:spPr/>
        <p:txBody>
          <a:bodyPr vert="horz" lIns="216000" tIns="95970" rIns="72009" bIns="72000" rtlCol="0" anchor="ctr">
            <a:normAutofit/>
          </a:bodyPr>
          <a:lstStyle/>
          <a:p>
            <a:r>
              <a:rPr lang="de-DE" dirty="0" smtClean="0"/>
              <a:t>Five Year Plan</a:t>
            </a:r>
            <a:endParaRPr lang="de-DE" dirty="0"/>
          </a:p>
        </p:txBody>
      </p:sp>
      <p:pic>
        <p:nvPicPr>
          <p:cNvPr id="18" name="Picture Placeholder 17"/>
          <p:cNvPicPr>
            <a:picLocks noGrp="1" noChangeAspect="1"/>
          </p:cNvPicPr>
          <p:nvPr>
            <p:ph type="pic" sz="quarter" idx="3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/>
      </p:pic>
      <p:sp>
        <p:nvSpPr>
          <p:cNvPr id="15" name="TextBox 14"/>
          <p:cNvSpPr txBox="1"/>
          <p:nvPr/>
        </p:nvSpPr>
        <p:spPr>
          <a:xfrm>
            <a:off x="11321490" y="6455578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6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451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>
                <a:sym typeface="Arial" pitchFamily="34" charset="0"/>
              </a:rPr>
              <a:t>2015-2020 Strategic </a:t>
            </a:r>
            <a:r>
              <a:rPr lang="de-DE" dirty="0" smtClean="0">
                <a:sym typeface="Arial" pitchFamily="34" charset="0"/>
              </a:rPr>
              <a:t>Plan</a:t>
            </a:r>
            <a:r>
              <a:rPr lang="de-DE" dirty="0">
                <a:sym typeface="Arial" pitchFamily="34" charset="0"/>
              </a:rPr>
              <a:t/>
            </a:r>
            <a:br>
              <a:rPr lang="de-DE" dirty="0">
                <a:sym typeface="Arial" pitchFamily="34" charset="0"/>
              </a:rPr>
            </a:br>
            <a:r>
              <a:rPr lang="de-DE" b="0" dirty="0" smtClean="0">
                <a:solidFill>
                  <a:schemeClr val="accent2"/>
                </a:solidFill>
                <a:sym typeface="Arial" pitchFamily="34" charset="0"/>
              </a:rPr>
              <a:t>Vision and Mission</a:t>
            </a:r>
            <a:endParaRPr lang="en-US" noProof="0" dirty="0" smtClean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C4E5C15-864A-49D1-ABE9-09830B070C18}" type="datetime1">
              <a:rPr lang="en-US" smtClean="0"/>
              <a:t>3/6/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grpSp>
        <p:nvGrpSpPr>
          <p:cNvPr id="56" name="Group 55"/>
          <p:cNvGrpSpPr/>
          <p:nvPr/>
        </p:nvGrpSpPr>
        <p:grpSpPr>
          <a:xfrm>
            <a:off x="6518786" y="2400765"/>
            <a:ext cx="5489519" cy="2913298"/>
            <a:chOff x="2313446" y="2002192"/>
            <a:chExt cx="6934354" cy="3577976"/>
          </a:xfrm>
        </p:grpSpPr>
        <p:sp>
          <p:nvSpPr>
            <p:cNvPr id="57" name="Freeform 5"/>
            <p:cNvSpPr>
              <a:spLocks/>
            </p:cNvSpPr>
            <p:nvPr/>
          </p:nvSpPr>
          <p:spPr bwMode="auto">
            <a:xfrm>
              <a:off x="4795965" y="2509515"/>
              <a:ext cx="909851" cy="490609"/>
            </a:xfrm>
            <a:custGeom>
              <a:avLst/>
              <a:gdLst>
                <a:gd name="T0" fmla="*/ 0 w 523"/>
                <a:gd name="T1" fmla="*/ 217 h 282"/>
                <a:gd name="T2" fmla="*/ 0 w 523"/>
                <a:gd name="T3" fmla="*/ 186 h 282"/>
                <a:gd name="T4" fmla="*/ 0 w 523"/>
                <a:gd name="T5" fmla="*/ 147 h 282"/>
                <a:gd name="T6" fmla="*/ 3 w 523"/>
                <a:gd name="T7" fmla="*/ 77 h 282"/>
                <a:gd name="T8" fmla="*/ 3 w 523"/>
                <a:gd name="T9" fmla="*/ 62 h 282"/>
                <a:gd name="T10" fmla="*/ 3 w 523"/>
                <a:gd name="T11" fmla="*/ 48 h 282"/>
                <a:gd name="T12" fmla="*/ 2 w 523"/>
                <a:gd name="T13" fmla="*/ 0 h 282"/>
                <a:gd name="T14" fmla="*/ 107 w 523"/>
                <a:gd name="T15" fmla="*/ 0 h 282"/>
                <a:gd name="T16" fmla="*/ 316 w 523"/>
                <a:gd name="T17" fmla="*/ 0 h 282"/>
                <a:gd name="T18" fmla="*/ 515 w 523"/>
                <a:gd name="T19" fmla="*/ 7 h 282"/>
                <a:gd name="T20" fmla="*/ 509 w 523"/>
                <a:gd name="T21" fmla="*/ 15 h 282"/>
                <a:gd name="T22" fmla="*/ 505 w 523"/>
                <a:gd name="T23" fmla="*/ 18 h 282"/>
                <a:gd name="T24" fmla="*/ 497 w 523"/>
                <a:gd name="T25" fmla="*/ 25 h 282"/>
                <a:gd name="T26" fmla="*/ 495 w 523"/>
                <a:gd name="T27" fmla="*/ 28 h 282"/>
                <a:gd name="T28" fmla="*/ 505 w 523"/>
                <a:gd name="T29" fmla="*/ 41 h 282"/>
                <a:gd name="T30" fmla="*/ 508 w 523"/>
                <a:gd name="T31" fmla="*/ 43 h 282"/>
                <a:gd name="T32" fmla="*/ 511 w 523"/>
                <a:gd name="T33" fmla="*/ 45 h 282"/>
                <a:gd name="T34" fmla="*/ 518 w 523"/>
                <a:gd name="T35" fmla="*/ 46 h 282"/>
                <a:gd name="T36" fmla="*/ 520 w 523"/>
                <a:gd name="T37" fmla="*/ 48 h 282"/>
                <a:gd name="T38" fmla="*/ 523 w 523"/>
                <a:gd name="T39" fmla="*/ 57 h 282"/>
                <a:gd name="T40" fmla="*/ 523 w 523"/>
                <a:gd name="T41" fmla="*/ 200 h 282"/>
                <a:gd name="T42" fmla="*/ 513 w 523"/>
                <a:gd name="T43" fmla="*/ 206 h 282"/>
                <a:gd name="T44" fmla="*/ 518 w 523"/>
                <a:gd name="T45" fmla="*/ 210 h 282"/>
                <a:gd name="T46" fmla="*/ 518 w 523"/>
                <a:gd name="T47" fmla="*/ 216 h 282"/>
                <a:gd name="T48" fmla="*/ 518 w 523"/>
                <a:gd name="T49" fmla="*/ 217 h 282"/>
                <a:gd name="T50" fmla="*/ 516 w 523"/>
                <a:gd name="T51" fmla="*/ 219 h 282"/>
                <a:gd name="T52" fmla="*/ 515 w 523"/>
                <a:gd name="T53" fmla="*/ 219 h 282"/>
                <a:gd name="T54" fmla="*/ 515 w 523"/>
                <a:gd name="T55" fmla="*/ 220 h 282"/>
                <a:gd name="T56" fmla="*/ 516 w 523"/>
                <a:gd name="T57" fmla="*/ 224 h 282"/>
                <a:gd name="T58" fmla="*/ 520 w 523"/>
                <a:gd name="T59" fmla="*/ 224 h 282"/>
                <a:gd name="T60" fmla="*/ 522 w 523"/>
                <a:gd name="T61" fmla="*/ 224 h 282"/>
                <a:gd name="T62" fmla="*/ 523 w 523"/>
                <a:gd name="T63" fmla="*/ 231 h 282"/>
                <a:gd name="T64" fmla="*/ 520 w 523"/>
                <a:gd name="T65" fmla="*/ 245 h 282"/>
                <a:gd name="T66" fmla="*/ 516 w 523"/>
                <a:gd name="T67" fmla="*/ 255 h 282"/>
                <a:gd name="T68" fmla="*/ 515 w 523"/>
                <a:gd name="T69" fmla="*/ 255 h 282"/>
                <a:gd name="T70" fmla="*/ 513 w 523"/>
                <a:gd name="T71" fmla="*/ 256 h 282"/>
                <a:gd name="T72" fmla="*/ 511 w 523"/>
                <a:gd name="T73" fmla="*/ 263 h 282"/>
                <a:gd name="T74" fmla="*/ 512 w 523"/>
                <a:gd name="T75" fmla="*/ 265 h 282"/>
                <a:gd name="T76" fmla="*/ 518 w 523"/>
                <a:gd name="T77" fmla="*/ 269 h 282"/>
                <a:gd name="T78" fmla="*/ 520 w 523"/>
                <a:gd name="T79" fmla="*/ 276 h 282"/>
                <a:gd name="T80" fmla="*/ 522 w 523"/>
                <a:gd name="T81" fmla="*/ 282 h 282"/>
                <a:gd name="T82" fmla="*/ 511 w 523"/>
                <a:gd name="T83" fmla="*/ 277 h 282"/>
                <a:gd name="T84" fmla="*/ 497 w 523"/>
                <a:gd name="T85" fmla="*/ 265 h 282"/>
                <a:gd name="T86" fmla="*/ 483 w 523"/>
                <a:gd name="T87" fmla="*/ 261 h 282"/>
                <a:gd name="T88" fmla="*/ 478 w 523"/>
                <a:gd name="T89" fmla="*/ 261 h 282"/>
                <a:gd name="T90" fmla="*/ 473 w 523"/>
                <a:gd name="T91" fmla="*/ 256 h 282"/>
                <a:gd name="T92" fmla="*/ 470 w 523"/>
                <a:gd name="T93" fmla="*/ 254 h 282"/>
                <a:gd name="T94" fmla="*/ 469 w 523"/>
                <a:gd name="T95" fmla="*/ 252 h 282"/>
                <a:gd name="T96" fmla="*/ 462 w 523"/>
                <a:gd name="T97" fmla="*/ 252 h 282"/>
                <a:gd name="T98" fmla="*/ 457 w 523"/>
                <a:gd name="T99" fmla="*/ 254 h 282"/>
                <a:gd name="T100" fmla="*/ 439 w 523"/>
                <a:gd name="T101" fmla="*/ 255 h 282"/>
                <a:gd name="T102" fmla="*/ 436 w 523"/>
                <a:gd name="T103" fmla="*/ 254 h 282"/>
                <a:gd name="T104" fmla="*/ 428 w 523"/>
                <a:gd name="T105" fmla="*/ 254 h 282"/>
                <a:gd name="T106" fmla="*/ 425 w 523"/>
                <a:gd name="T107" fmla="*/ 254 h 282"/>
                <a:gd name="T108" fmla="*/ 424 w 523"/>
                <a:gd name="T109" fmla="*/ 256 h 282"/>
                <a:gd name="T110" fmla="*/ 422 w 523"/>
                <a:gd name="T111" fmla="*/ 259 h 282"/>
                <a:gd name="T112" fmla="*/ 421 w 523"/>
                <a:gd name="T113" fmla="*/ 261 h 282"/>
                <a:gd name="T114" fmla="*/ 417 w 523"/>
                <a:gd name="T115" fmla="*/ 261 h 282"/>
                <a:gd name="T116" fmla="*/ 391 w 523"/>
                <a:gd name="T117" fmla="*/ 249 h 282"/>
                <a:gd name="T118" fmla="*/ 386 w 523"/>
                <a:gd name="T119" fmla="*/ 245 h 282"/>
                <a:gd name="T120" fmla="*/ 349 w 523"/>
                <a:gd name="T121" fmla="*/ 242 h 282"/>
                <a:gd name="T122" fmla="*/ 119 w 523"/>
                <a:gd name="T123" fmla="*/ 242 h 282"/>
                <a:gd name="T124" fmla="*/ 0 w 523"/>
                <a:gd name="T125" fmla="*/ 24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23" h="282">
                  <a:moveTo>
                    <a:pt x="0" y="231"/>
                  </a:moveTo>
                  <a:lnTo>
                    <a:pt x="0" y="226"/>
                  </a:lnTo>
                  <a:lnTo>
                    <a:pt x="0" y="217"/>
                  </a:lnTo>
                  <a:lnTo>
                    <a:pt x="0" y="210"/>
                  </a:lnTo>
                  <a:lnTo>
                    <a:pt x="0" y="199"/>
                  </a:lnTo>
                  <a:lnTo>
                    <a:pt x="0" y="186"/>
                  </a:lnTo>
                  <a:lnTo>
                    <a:pt x="0" y="172"/>
                  </a:lnTo>
                  <a:lnTo>
                    <a:pt x="0" y="157"/>
                  </a:lnTo>
                  <a:lnTo>
                    <a:pt x="0" y="147"/>
                  </a:lnTo>
                  <a:lnTo>
                    <a:pt x="0" y="88"/>
                  </a:lnTo>
                  <a:lnTo>
                    <a:pt x="0" y="77"/>
                  </a:lnTo>
                  <a:lnTo>
                    <a:pt x="3" y="77"/>
                  </a:lnTo>
                  <a:lnTo>
                    <a:pt x="3" y="76"/>
                  </a:lnTo>
                  <a:lnTo>
                    <a:pt x="3" y="66"/>
                  </a:lnTo>
                  <a:lnTo>
                    <a:pt x="3" y="62"/>
                  </a:lnTo>
                  <a:lnTo>
                    <a:pt x="3" y="55"/>
                  </a:lnTo>
                  <a:lnTo>
                    <a:pt x="3" y="49"/>
                  </a:lnTo>
                  <a:lnTo>
                    <a:pt x="3" y="48"/>
                  </a:lnTo>
                  <a:lnTo>
                    <a:pt x="2" y="32"/>
                  </a:lnTo>
                  <a:lnTo>
                    <a:pt x="2" y="5"/>
                  </a:lnTo>
                  <a:lnTo>
                    <a:pt x="2" y="0"/>
                  </a:lnTo>
                  <a:lnTo>
                    <a:pt x="3" y="0"/>
                  </a:lnTo>
                  <a:lnTo>
                    <a:pt x="9" y="0"/>
                  </a:lnTo>
                  <a:lnTo>
                    <a:pt x="107" y="0"/>
                  </a:lnTo>
                  <a:lnTo>
                    <a:pt x="187" y="0"/>
                  </a:lnTo>
                  <a:lnTo>
                    <a:pt x="254" y="0"/>
                  </a:lnTo>
                  <a:lnTo>
                    <a:pt x="316" y="0"/>
                  </a:lnTo>
                  <a:lnTo>
                    <a:pt x="435" y="0"/>
                  </a:lnTo>
                  <a:lnTo>
                    <a:pt x="516" y="0"/>
                  </a:lnTo>
                  <a:lnTo>
                    <a:pt x="515" y="7"/>
                  </a:lnTo>
                  <a:lnTo>
                    <a:pt x="511" y="14"/>
                  </a:lnTo>
                  <a:lnTo>
                    <a:pt x="511" y="15"/>
                  </a:lnTo>
                  <a:lnTo>
                    <a:pt x="509" y="15"/>
                  </a:lnTo>
                  <a:lnTo>
                    <a:pt x="508" y="17"/>
                  </a:lnTo>
                  <a:lnTo>
                    <a:pt x="506" y="18"/>
                  </a:lnTo>
                  <a:lnTo>
                    <a:pt x="505" y="18"/>
                  </a:lnTo>
                  <a:lnTo>
                    <a:pt x="502" y="19"/>
                  </a:lnTo>
                  <a:lnTo>
                    <a:pt x="498" y="24"/>
                  </a:lnTo>
                  <a:lnTo>
                    <a:pt x="497" y="25"/>
                  </a:lnTo>
                  <a:lnTo>
                    <a:pt x="497" y="26"/>
                  </a:lnTo>
                  <a:lnTo>
                    <a:pt x="495" y="26"/>
                  </a:lnTo>
                  <a:lnTo>
                    <a:pt x="495" y="28"/>
                  </a:lnTo>
                  <a:lnTo>
                    <a:pt x="495" y="28"/>
                  </a:lnTo>
                  <a:lnTo>
                    <a:pt x="497" y="29"/>
                  </a:lnTo>
                  <a:lnTo>
                    <a:pt x="505" y="41"/>
                  </a:lnTo>
                  <a:lnTo>
                    <a:pt x="506" y="42"/>
                  </a:lnTo>
                  <a:lnTo>
                    <a:pt x="508" y="43"/>
                  </a:lnTo>
                  <a:lnTo>
                    <a:pt x="508" y="43"/>
                  </a:lnTo>
                  <a:lnTo>
                    <a:pt x="508" y="43"/>
                  </a:lnTo>
                  <a:lnTo>
                    <a:pt x="508" y="43"/>
                  </a:lnTo>
                  <a:lnTo>
                    <a:pt x="511" y="45"/>
                  </a:lnTo>
                  <a:lnTo>
                    <a:pt x="512" y="45"/>
                  </a:lnTo>
                  <a:lnTo>
                    <a:pt x="515" y="45"/>
                  </a:lnTo>
                  <a:lnTo>
                    <a:pt x="518" y="46"/>
                  </a:lnTo>
                  <a:lnTo>
                    <a:pt x="518" y="46"/>
                  </a:lnTo>
                  <a:lnTo>
                    <a:pt x="519" y="48"/>
                  </a:lnTo>
                  <a:lnTo>
                    <a:pt x="520" y="48"/>
                  </a:lnTo>
                  <a:lnTo>
                    <a:pt x="523" y="53"/>
                  </a:lnTo>
                  <a:lnTo>
                    <a:pt x="523" y="56"/>
                  </a:lnTo>
                  <a:lnTo>
                    <a:pt x="523" y="57"/>
                  </a:lnTo>
                  <a:lnTo>
                    <a:pt x="523" y="165"/>
                  </a:lnTo>
                  <a:lnTo>
                    <a:pt x="523" y="193"/>
                  </a:lnTo>
                  <a:lnTo>
                    <a:pt x="523" y="200"/>
                  </a:lnTo>
                  <a:lnTo>
                    <a:pt x="513" y="200"/>
                  </a:lnTo>
                  <a:lnTo>
                    <a:pt x="513" y="206"/>
                  </a:lnTo>
                  <a:lnTo>
                    <a:pt x="513" y="206"/>
                  </a:lnTo>
                  <a:lnTo>
                    <a:pt x="515" y="206"/>
                  </a:lnTo>
                  <a:lnTo>
                    <a:pt x="516" y="207"/>
                  </a:lnTo>
                  <a:lnTo>
                    <a:pt x="518" y="210"/>
                  </a:lnTo>
                  <a:lnTo>
                    <a:pt x="518" y="210"/>
                  </a:lnTo>
                  <a:lnTo>
                    <a:pt x="518" y="212"/>
                  </a:lnTo>
                  <a:lnTo>
                    <a:pt x="518" y="216"/>
                  </a:lnTo>
                  <a:lnTo>
                    <a:pt x="518" y="216"/>
                  </a:lnTo>
                  <a:lnTo>
                    <a:pt x="518" y="217"/>
                  </a:lnTo>
                  <a:lnTo>
                    <a:pt x="518" y="217"/>
                  </a:lnTo>
                  <a:lnTo>
                    <a:pt x="518" y="219"/>
                  </a:lnTo>
                  <a:lnTo>
                    <a:pt x="518" y="219"/>
                  </a:lnTo>
                  <a:lnTo>
                    <a:pt x="516" y="219"/>
                  </a:lnTo>
                  <a:lnTo>
                    <a:pt x="516" y="219"/>
                  </a:lnTo>
                  <a:lnTo>
                    <a:pt x="516" y="219"/>
                  </a:lnTo>
                  <a:lnTo>
                    <a:pt x="515" y="219"/>
                  </a:lnTo>
                  <a:lnTo>
                    <a:pt x="515" y="219"/>
                  </a:lnTo>
                  <a:lnTo>
                    <a:pt x="515" y="219"/>
                  </a:lnTo>
                  <a:lnTo>
                    <a:pt x="515" y="220"/>
                  </a:lnTo>
                  <a:lnTo>
                    <a:pt x="515" y="223"/>
                  </a:lnTo>
                  <a:lnTo>
                    <a:pt x="516" y="224"/>
                  </a:lnTo>
                  <a:lnTo>
                    <a:pt x="516" y="224"/>
                  </a:lnTo>
                  <a:lnTo>
                    <a:pt x="516" y="224"/>
                  </a:lnTo>
                  <a:lnTo>
                    <a:pt x="520" y="224"/>
                  </a:lnTo>
                  <a:lnTo>
                    <a:pt x="520" y="224"/>
                  </a:lnTo>
                  <a:lnTo>
                    <a:pt x="520" y="224"/>
                  </a:lnTo>
                  <a:lnTo>
                    <a:pt x="522" y="224"/>
                  </a:lnTo>
                  <a:lnTo>
                    <a:pt x="522" y="224"/>
                  </a:lnTo>
                  <a:lnTo>
                    <a:pt x="522" y="224"/>
                  </a:lnTo>
                  <a:lnTo>
                    <a:pt x="522" y="224"/>
                  </a:lnTo>
                  <a:lnTo>
                    <a:pt x="523" y="231"/>
                  </a:lnTo>
                  <a:lnTo>
                    <a:pt x="523" y="233"/>
                  </a:lnTo>
                  <a:lnTo>
                    <a:pt x="523" y="235"/>
                  </a:lnTo>
                  <a:lnTo>
                    <a:pt x="520" y="245"/>
                  </a:lnTo>
                  <a:lnTo>
                    <a:pt x="518" y="251"/>
                  </a:lnTo>
                  <a:lnTo>
                    <a:pt x="516" y="254"/>
                  </a:lnTo>
                  <a:lnTo>
                    <a:pt x="516" y="255"/>
                  </a:lnTo>
                  <a:lnTo>
                    <a:pt x="516" y="255"/>
                  </a:lnTo>
                  <a:lnTo>
                    <a:pt x="515" y="255"/>
                  </a:lnTo>
                  <a:lnTo>
                    <a:pt x="515" y="255"/>
                  </a:lnTo>
                  <a:lnTo>
                    <a:pt x="515" y="255"/>
                  </a:lnTo>
                  <a:lnTo>
                    <a:pt x="513" y="256"/>
                  </a:lnTo>
                  <a:lnTo>
                    <a:pt x="513" y="256"/>
                  </a:lnTo>
                  <a:lnTo>
                    <a:pt x="512" y="261"/>
                  </a:lnTo>
                  <a:lnTo>
                    <a:pt x="511" y="262"/>
                  </a:lnTo>
                  <a:lnTo>
                    <a:pt x="511" y="263"/>
                  </a:lnTo>
                  <a:lnTo>
                    <a:pt x="511" y="263"/>
                  </a:lnTo>
                  <a:lnTo>
                    <a:pt x="512" y="265"/>
                  </a:lnTo>
                  <a:lnTo>
                    <a:pt x="512" y="265"/>
                  </a:lnTo>
                  <a:lnTo>
                    <a:pt x="512" y="266"/>
                  </a:lnTo>
                  <a:lnTo>
                    <a:pt x="515" y="268"/>
                  </a:lnTo>
                  <a:lnTo>
                    <a:pt x="518" y="269"/>
                  </a:lnTo>
                  <a:lnTo>
                    <a:pt x="518" y="270"/>
                  </a:lnTo>
                  <a:lnTo>
                    <a:pt x="519" y="270"/>
                  </a:lnTo>
                  <a:lnTo>
                    <a:pt x="520" y="276"/>
                  </a:lnTo>
                  <a:lnTo>
                    <a:pt x="522" y="277"/>
                  </a:lnTo>
                  <a:lnTo>
                    <a:pt x="522" y="280"/>
                  </a:lnTo>
                  <a:lnTo>
                    <a:pt x="522" y="282"/>
                  </a:lnTo>
                  <a:lnTo>
                    <a:pt x="516" y="280"/>
                  </a:lnTo>
                  <a:lnTo>
                    <a:pt x="511" y="277"/>
                  </a:lnTo>
                  <a:lnTo>
                    <a:pt x="511" y="277"/>
                  </a:lnTo>
                  <a:lnTo>
                    <a:pt x="506" y="270"/>
                  </a:lnTo>
                  <a:lnTo>
                    <a:pt x="498" y="265"/>
                  </a:lnTo>
                  <a:lnTo>
                    <a:pt x="497" y="265"/>
                  </a:lnTo>
                  <a:lnTo>
                    <a:pt x="494" y="263"/>
                  </a:lnTo>
                  <a:lnTo>
                    <a:pt x="487" y="261"/>
                  </a:lnTo>
                  <a:lnTo>
                    <a:pt x="483" y="261"/>
                  </a:lnTo>
                  <a:lnTo>
                    <a:pt x="481" y="261"/>
                  </a:lnTo>
                  <a:lnTo>
                    <a:pt x="480" y="261"/>
                  </a:lnTo>
                  <a:lnTo>
                    <a:pt x="478" y="261"/>
                  </a:lnTo>
                  <a:lnTo>
                    <a:pt x="477" y="259"/>
                  </a:lnTo>
                  <a:lnTo>
                    <a:pt x="477" y="259"/>
                  </a:lnTo>
                  <a:lnTo>
                    <a:pt x="473" y="256"/>
                  </a:lnTo>
                  <a:lnTo>
                    <a:pt x="471" y="256"/>
                  </a:lnTo>
                  <a:lnTo>
                    <a:pt x="470" y="255"/>
                  </a:lnTo>
                  <a:lnTo>
                    <a:pt x="470" y="254"/>
                  </a:lnTo>
                  <a:lnTo>
                    <a:pt x="470" y="254"/>
                  </a:lnTo>
                  <a:lnTo>
                    <a:pt x="470" y="254"/>
                  </a:lnTo>
                  <a:lnTo>
                    <a:pt x="469" y="252"/>
                  </a:lnTo>
                  <a:lnTo>
                    <a:pt x="466" y="252"/>
                  </a:lnTo>
                  <a:lnTo>
                    <a:pt x="463" y="252"/>
                  </a:lnTo>
                  <a:lnTo>
                    <a:pt x="462" y="252"/>
                  </a:lnTo>
                  <a:lnTo>
                    <a:pt x="459" y="252"/>
                  </a:lnTo>
                  <a:lnTo>
                    <a:pt x="457" y="254"/>
                  </a:lnTo>
                  <a:lnTo>
                    <a:pt x="457" y="254"/>
                  </a:lnTo>
                  <a:lnTo>
                    <a:pt x="456" y="254"/>
                  </a:lnTo>
                  <a:lnTo>
                    <a:pt x="439" y="255"/>
                  </a:lnTo>
                  <a:lnTo>
                    <a:pt x="439" y="255"/>
                  </a:lnTo>
                  <a:lnTo>
                    <a:pt x="438" y="254"/>
                  </a:lnTo>
                  <a:lnTo>
                    <a:pt x="438" y="254"/>
                  </a:lnTo>
                  <a:lnTo>
                    <a:pt x="436" y="254"/>
                  </a:lnTo>
                  <a:lnTo>
                    <a:pt x="435" y="254"/>
                  </a:lnTo>
                  <a:lnTo>
                    <a:pt x="429" y="254"/>
                  </a:lnTo>
                  <a:lnTo>
                    <a:pt x="428" y="254"/>
                  </a:lnTo>
                  <a:lnTo>
                    <a:pt x="426" y="254"/>
                  </a:lnTo>
                  <a:lnTo>
                    <a:pt x="425" y="254"/>
                  </a:lnTo>
                  <a:lnTo>
                    <a:pt x="425" y="254"/>
                  </a:lnTo>
                  <a:lnTo>
                    <a:pt x="424" y="255"/>
                  </a:lnTo>
                  <a:lnTo>
                    <a:pt x="424" y="255"/>
                  </a:lnTo>
                  <a:lnTo>
                    <a:pt x="424" y="256"/>
                  </a:lnTo>
                  <a:lnTo>
                    <a:pt x="424" y="256"/>
                  </a:lnTo>
                  <a:lnTo>
                    <a:pt x="424" y="258"/>
                  </a:lnTo>
                  <a:lnTo>
                    <a:pt x="422" y="259"/>
                  </a:lnTo>
                  <a:lnTo>
                    <a:pt x="422" y="259"/>
                  </a:lnTo>
                  <a:lnTo>
                    <a:pt x="421" y="259"/>
                  </a:lnTo>
                  <a:lnTo>
                    <a:pt x="421" y="261"/>
                  </a:lnTo>
                  <a:lnTo>
                    <a:pt x="419" y="261"/>
                  </a:lnTo>
                  <a:lnTo>
                    <a:pt x="418" y="261"/>
                  </a:lnTo>
                  <a:lnTo>
                    <a:pt x="417" y="261"/>
                  </a:lnTo>
                  <a:lnTo>
                    <a:pt x="415" y="259"/>
                  </a:lnTo>
                  <a:lnTo>
                    <a:pt x="411" y="258"/>
                  </a:lnTo>
                  <a:lnTo>
                    <a:pt x="391" y="249"/>
                  </a:lnTo>
                  <a:lnTo>
                    <a:pt x="389" y="248"/>
                  </a:lnTo>
                  <a:lnTo>
                    <a:pt x="389" y="247"/>
                  </a:lnTo>
                  <a:lnTo>
                    <a:pt x="386" y="245"/>
                  </a:lnTo>
                  <a:lnTo>
                    <a:pt x="383" y="242"/>
                  </a:lnTo>
                  <a:lnTo>
                    <a:pt x="383" y="242"/>
                  </a:lnTo>
                  <a:lnTo>
                    <a:pt x="349" y="242"/>
                  </a:lnTo>
                  <a:lnTo>
                    <a:pt x="286" y="242"/>
                  </a:lnTo>
                  <a:lnTo>
                    <a:pt x="190" y="242"/>
                  </a:lnTo>
                  <a:lnTo>
                    <a:pt x="119" y="242"/>
                  </a:lnTo>
                  <a:lnTo>
                    <a:pt x="32" y="242"/>
                  </a:lnTo>
                  <a:lnTo>
                    <a:pt x="18" y="242"/>
                  </a:lnTo>
                  <a:lnTo>
                    <a:pt x="0" y="242"/>
                  </a:lnTo>
                  <a:lnTo>
                    <a:pt x="0" y="231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58" name="Freeform 6"/>
            <p:cNvSpPr>
              <a:spLocks/>
            </p:cNvSpPr>
            <p:nvPr/>
          </p:nvSpPr>
          <p:spPr bwMode="auto">
            <a:xfrm>
              <a:off x="4795965" y="2930533"/>
              <a:ext cx="1047286" cy="429718"/>
            </a:xfrm>
            <a:custGeom>
              <a:avLst/>
              <a:gdLst>
                <a:gd name="T0" fmla="*/ 2 w 602"/>
                <a:gd name="T1" fmla="*/ 129 h 247"/>
                <a:gd name="T2" fmla="*/ 2 w 602"/>
                <a:gd name="T3" fmla="*/ 85 h 247"/>
                <a:gd name="T4" fmla="*/ 2 w 602"/>
                <a:gd name="T5" fmla="*/ 35 h 247"/>
                <a:gd name="T6" fmla="*/ 6 w 602"/>
                <a:gd name="T7" fmla="*/ 0 h 247"/>
                <a:gd name="T8" fmla="*/ 124 w 602"/>
                <a:gd name="T9" fmla="*/ 0 h 247"/>
                <a:gd name="T10" fmla="*/ 383 w 602"/>
                <a:gd name="T11" fmla="*/ 0 h 247"/>
                <a:gd name="T12" fmla="*/ 389 w 602"/>
                <a:gd name="T13" fmla="*/ 5 h 247"/>
                <a:gd name="T14" fmla="*/ 411 w 602"/>
                <a:gd name="T15" fmla="*/ 16 h 247"/>
                <a:gd name="T16" fmla="*/ 418 w 602"/>
                <a:gd name="T17" fmla="*/ 19 h 247"/>
                <a:gd name="T18" fmla="*/ 421 w 602"/>
                <a:gd name="T19" fmla="*/ 17 h 247"/>
                <a:gd name="T20" fmla="*/ 424 w 602"/>
                <a:gd name="T21" fmla="*/ 16 h 247"/>
                <a:gd name="T22" fmla="*/ 424 w 602"/>
                <a:gd name="T23" fmla="*/ 13 h 247"/>
                <a:gd name="T24" fmla="*/ 425 w 602"/>
                <a:gd name="T25" fmla="*/ 12 h 247"/>
                <a:gd name="T26" fmla="*/ 429 w 602"/>
                <a:gd name="T27" fmla="*/ 12 h 247"/>
                <a:gd name="T28" fmla="*/ 438 w 602"/>
                <a:gd name="T29" fmla="*/ 12 h 247"/>
                <a:gd name="T30" fmla="*/ 439 w 602"/>
                <a:gd name="T31" fmla="*/ 13 h 247"/>
                <a:gd name="T32" fmla="*/ 457 w 602"/>
                <a:gd name="T33" fmla="*/ 12 h 247"/>
                <a:gd name="T34" fmla="*/ 463 w 602"/>
                <a:gd name="T35" fmla="*/ 10 h 247"/>
                <a:gd name="T36" fmla="*/ 470 w 602"/>
                <a:gd name="T37" fmla="*/ 12 h 247"/>
                <a:gd name="T38" fmla="*/ 470 w 602"/>
                <a:gd name="T39" fmla="*/ 13 h 247"/>
                <a:gd name="T40" fmla="*/ 477 w 602"/>
                <a:gd name="T41" fmla="*/ 17 h 247"/>
                <a:gd name="T42" fmla="*/ 480 w 602"/>
                <a:gd name="T43" fmla="*/ 19 h 247"/>
                <a:gd name="T44" fmla="*/ 487 w 602"/>
                <a:gd name="T45" fmla="*/ 19 h 247"/>
                <a:gd name="T46" fmla="*/ 498 w 602"/>
                <a:gd name="T47" fmla="*/ 23 h 247"/>
                <a:gd name="T48" fmla="*/ 511 w 602"/>
                <a:gd name="T49" fmla="*/ 35 h 247"/>
                <a:gd name="T50" fmla="*/ 523 w 602"/>
                <a:gd name="T51" fmla="*/ 40 h 247"/>
                <a:gd name="T52" fmla="*/ 527 w 602"/>
                <a:gd name="T53" fmla="*/ 41 h 247"/>
                <a:gd name="T54" fmla="*/ 529 w 602"/>
                <a:gd name="T55" fmla="*/ 44 h 247"/>
                <a:gd name="T56" fmla="*/ 527 w 602"/>
                <a:gd name="T57" fmla="*/ 47 h 247"/>
                <a:gd name="T58" fmla="*/ 527 w 602"/>
                <a:gd name="T59" fmla="*/ 52 h 247"/>
                <a:gd name="T60" fmla="*/ 530 w 602"/>
                <a:gd name="T61" fmla="*/ 55 h 247"/>
                <a:gd name="T62" fmla="*/ 532 w 602"/>
                <a:gd name="T63" fmla="*/ 61 h 247"/>
                <a:gd name="T64" fmla="*/ 532 w 602"/>
                <a:gd name="T65" fmla="*/ 64 h 247"/>
                <a:gd name="T66" fmla="*/ 530 w 602"/>
                <a:gd name="T67" fmla="*/ 65 h 247"/>
                <a:gd name="T68" fmla="*/ 544 w 602"/>
                <a:gd name="T69" fmla="*/ 89 h 247"/>
                <a:gd name="T70" fmla="*/ 551 w 602"/>
                <a:gd name="T71" fmla="*/ 100 h 247"/>
                <a:gd name="T72" fmla="*/ 547 w 602"/>
                <a:gd name="T73" fmla="*/ 108 h 247"/>
                <a:gd name="T74" fmla="*/ 551 w 602"/>
                <a:gd name="T75" fmla="*/ 121 h 247"/>
                <a:gd name="T76" fmla="*/ 560 w 602"/>
                <a:gd name="T77" fmla="*/ 127 h 247"/>
                <a:gd name="T78" fmla="*/ 561 w 602"/>
                <a:gd name="T79" fmla="*/ 128 h 247"/>
                <a:gd name="T80" fmla="*/ 558 w 602"/>
                <a:gd name="T81" fmla="*/ 138 h 247"/>
                <a:gd name="T82" fmla="*/ 567 w 602"/>
                <a:gd name="T83" fmla="*/ 174 h 247"/>
                <a:gd name="T84" fmla="*/ 567 w 602"/>
                <a:gd name="T85" fmla="*/ 181 h 247"/>
                <a:gd name="T86" fmla="*/ 571 w 602"/>
                <a:gd name="T87" fmla="*/ 193 h 247"/>
                <a:gd name="T88" fmla="*/ 571 w 602"/>
                <a:gd name="T89" fmla="*/ 197 h 247"/>
                <a:gd name="T90" fmla="*/ 571 w 602"/>
                <a:gd name="T91" fmla="*/ 201 h 247"/>
                <a:gd name="T92" fmla="*/ 571 w 602"/>
                <a:gd name="T93" fmla="*/ 202 h 247"/>
                <a:gd name="T94" fmla="*/ 574 w 602"/>
                <a:gd name="T95" fmla="*/ 204 h 247"/>
                <a:gd name="T96" fmla="*/ 577 w 602"/>
                <a:gd name="T97" fmla="*/ 205 h 247"/>
                <a:gd name="T98" fmla="*/ 581 w 602"/>
                <a:gd name="T99" fmla="*/ 219 h 247"/>
                <a:gd name="T100" fmla="*/ 591 w 602"/>
                <a:gd name="T101" fmla="*/ 230 h 247"/>
                <a:gd name="T102" fmla="*/ 602 w 602"/>
                <a:gd name="T103" fmla="*/ 247 h 247"/>
                <a:gd name="T104" fmla="*/ 164 w 602"/>
                <a:gd name="T105" fmla="*/ 247 h 247"/>
                <a:gd name="T106" fmla="*/ 139 w 602"/>
                <a:gd name="T107" fmla="*/ 240 h 247"/>
                <a:gd name="T108" fmla="*/ 135 w 602"/>
                <a:gd name="T109" fmla="*/ 164 h 247"/>
                <a:gd name="T110" fmla="*/ 2 w 602"/>
                <a:gd name="T111" fmla="*/ 16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02" h="247">
                  <a:moveTo>
                    <a:pt x="2" y="160"/>
                  </a:moveTo>
                  <a:lnTo>
                    <a:pt x="2" y="142"/>
                  </a:lnTo>
                  <a:lnTo>
                    <a:pt x="2" y="129"/>
                  </a:lnTo>
                  <a:lnTo>
                    <a:pt x="2" y="127"/>
                  </a:lnTo>
                  <a:lnTo>
                    <a:pt x="2" y="120"/>
                  </a:lnTo>
                  <a:lnTo>
                    <a:pt x="2" y="85"/>
                  </a:lnTo>
                  <a:lnTo>
                    <a:pt x="2" y="72"/>
                  </a:lnTo>
                  <a:lnTo>
                    <a:pt x="2" y="59"/>
                  </a:lnTo>
                  <a:lnTo>
                    <a:pt x="2" y="35"/>
                  </a:lnTo>
                  <a:lnTo>
                    <a:pt x="0" y="7"/>
                  </a:lnTo>
                  <a:lnTo>
                    <a:pt x="0" y="0"/>
                  </a:lnTo>
                  <a:lnTo>
                    <a:pt x="6" y="0"/>
                  </a:lnTo>
                  <a:lnTo>
                    <a:pt x="32" y="0"/>
                  </a:lnTo>
                  <a:lnTo>
                    <a:pt x="72" y="0"/>
                  </a:lnTo>
                  <a:lnTo>
                    <a:pt x="124" y="0"/>
                  </a:lnTo>
                  <a:lnTo>
                    <a:pt x="191" y="0"/>
                  </a:lnTo>
                  <a:lnTo>
                    <a:pt x="290" y="0"/>
                  </a:lnTo>
                  <a:lnTo>
                    <a:pt x="383" y="0"/>
                  </a:lnTo>
                  <a:lnTo>
                    <a:pt x="383" y="0"/>
                  </a:lnTo>
                  <a:lnTo>
                    <a:pt x="386" y="3"/>
                  </a:lnTo>
                  <a:lnTo>
                    <a:pt x="389" y="5"/>
                  </a:lnTo>
                  <a:lnTo>
                    <a:pt x="389" y="6"/>
                  </a:lnTo>
                  <a:lnTo>
                    <a:pt x="391" y="7"/>
                  </a:lnTo>
                  <a:lnTo>
                    <a:pt x="411" y="16"/>
                  </a:lnTo>
                  <a:lnTo>
                    <a:pt x="415" y="17"/>
                  </a:lnTo>
                  <a:lnTo>
                    <a:pt x="417" y="19"/>
                  </a:lnTo>
                  <a:lnTo>
                    <a:pt x="418" y="19"/>
                  </a:lnTo>
                  <a:lnTo>
                    <a:pt x="419" y="19"/>
                  </a:lnTo>
                  <a:lnTo>
                    <a:pt x="421" y="19"/>
                  </a:lnTo>
                  <a:lnTo>
                    <a:pt x="421" y="17"/>
                  </a:lnTo>
                  <a:lnTo>
                    <a:pt x="422" y="17"/>
                  </a:lnTo>
                  <a:lnTo>
                    <a:pt x="422" y="17"/>
                  </a:lnTo>
                  <a:lnTo>
                    <a:pt x="424" y="16"/>
                  </a:lnTo>
                  <a:lnTo>
                    <a:pt x="424" y="14"/>
                  </a:lnTo>
                  <a:lnTo>
                    <a:pt x="424" y="14"/>
                  </a:lnTo>
                  <a:lnTo>
                    <a:pt x="424" y="13"/>
                  </a:lnTo>
                  <a:lnTo>
                    <a:pt x="424" y="13"/>
                  </a:lnTo>
                  <a:lnTo>
                    <a:pt x="425" y="12"/>
                  </a:lnTo>
                  <a:lnTo>
                    <a:pt x="425" y="12"/>
                  </a:lnTo>
                  <a:lnTo>
                    <a:pt x="426" y="12"/>
                  </a:lnTo>
                  <a:lnTo>
                    <a:pt x="428" y="12"/>
                  </a:lnTo>
                  <a:lnTo>
                    <a:pt x="429" y="12"/>
                  </a:lnTo>
                  <a:lnTo>
                    <a:pt x="435" y="12"/>
                  </a:lnTo>
                  <a:lnTo>
                    <a:pt x="436" y="12"/>
                  </a:lnTo>
                  <a:lnTo>
                    <a:pt x="438" y="12"/>
                  </a:lnTo>
                  <a:lnTo>
                    <a:pt x="438" y="12"/>
                  </a:lnTo>
                  <a:lnTo>
                    <a:pt x="439" y="13"/>
                  </a:lnTo>
                  <a:lnTo>
                    <a:pt x="439" y="13"/>
                  </a:lnTo>
                  <a:lnTo>
                    <a:pt x="456" y="12"/>
                  </a:lnTo>
                  <a:lnTo>
                    <a:pt x="457" y="12"/>
                  </a:lnTo>
                  <a:lnTo>
                    <a:pt x="457" y="12"/>
                  </a:lnTo>
                  <a:lnTo>
                    <a:pt x="459" y="10"/>
                  </a:lnTo>
                  <a:lnTo>
                    <a:pt x="462" y="10"/>
                  </a:lnTo>
                  <a:lnTo>
                    <a:pt x="463" y="10"/>
                  </a:lnTo>
                  <a:lnTo>
                    <a:pt x="466" y="10"/>
                  </a:lnTo>
                  <a:lnTo>
                    <a:pt x="469" y="10"/>
                  </a:lnTo>
                  <a:lnTo>
                    <a:pt x="470" y="12"/>
                  </a:lnTo>
                  <a:lnTo>
                    <a:pt x="470" y="12"/>
                  </a:lnTo>
                  <a:lnTo>
                    <a:pt x="470" y="12"/>
                  </a:lnTo>
                  <a:lnTo>
                    <a:pt x="470" y="13"/>
                  </a:lnTo>
                  <a:lnTo>
                    <a:pt x="471" y="14"/>
                  </a:lnTo>
                  <a:lnTo>
                    <a:pt x="473" y="14"/>
                  </a:lnTo>
                  <a:lnTo>
                    <a:pt x="477" y="17"/>
                  </a:lnTo>
                  <a:lnTo>
                    <a:pt x="477" y="17"/>
                  </a:lnTo>
                  <a:lnTo>
                    <a:pt x="478" y="19"/>
                  </a:lnTo>
                  <a:lnTo>
                    <a:pt x="480" y="19"/>
                  </a:lnTo>
                  <a:lnTo>
                    <a:pt x="481" y="19"/>
                  </a:lnTo>
                  <a:lnTo>
                    <a:pt x="483" y="19"/>
                  </a:lnTo>
                  <a:lnTo>
                    <a:pt x="487" y="19"/>
                  </a:lnTo>
                  <a:lnTo>
                    <a:pt x="494" y="21"/>
                  </a:lnTo>
                  <a:lnTo>
                    <a:pt x="497" y="23"/>
                  </a:lnTo>
                  <a:lnTo>
                    <a:pt x="498" y="23"/>
                  </a:lnTo>
                  <a:lnTo>
                    <a:pt x="506" y="28"/>
                  </a:lnTo>
                  <a:lnTo>
                    <a:pt x="511" y="35"/>
                  </a:lnTo>
                  <a:lnTo>
                    <a:pt x="511" y="35"/>
                  </a:lnTo>
                  <a:lnTo>
                    <a:pt x="516" y="38"/>
                  </a:lnTo>
                  <a:lnTo>
                    <a:pt x="522" y="40"/>
                  </a:lnTo>
                  <a:lnTo>
                    <a:pt x="523" y="40"/>
                  </a:lnTo>
                  <a:lnTo>
                    <a:pt x="523" y="40"/>
                  </a:lnTo>
                  <a:lnTo>
                    <a:pt x="526" y="41"/>
                  </a:lnTo>
                  <a:lnTo>
                    <a:pt x="527" y="41"/>
                  </a:lnTo>
                  <a:lnTo>
                    <a:pt x="527" y="42"/>
                  </a:lnTo>
                  <a:lnTo>
                    <a:pt x="529" y="42"/>
                  </a:lnTo>
                  <a:lnTo>
                    <a:pt x="529" y="44"/>
                  </a:lnTo>
                  <a:lnTo>
                    <a:pt x="529" y="44"/>
                  </a:lnTo>
                  <a:lnTo>
                    <a:pt x="529" y="45"/>
                  </a:lnTo>
                  <a:lnTo>
                    <a:pt x="527" y="47"/>
                  </a:lnTo>
                  <a:lnTo>
                    <a:pt x="527" y="51"/>
                  </a:lnTo>
                  <a:lnTo>
                    <a:pt x="526" y="52"/>
                  </a:lnTo>
                  <a:lnTo>
                    <a:pt x="527" y="52"/>
                  </a:lnTo>
                  <a:lnTo>
                    <a:pt x="527" y="54"/>
                  </a:lnTo>
                  <a:lnTo>
                    <a:pt x="527" y="54"/>
                  </a:lnTo>
                  <a:lnTo>
                    <a:pt x="530" y="55"/>
                  </a:lnTo>
                  <a:lnTo>
                    <a:pt x="532" y="58"/>
                  </a:lnTo>
                  <a:lnTo>
                    <a:pt x="532" y="59"/>
                  </a:lnTo>
                  <a:lnTo>
                    <a:pt x="532" y="61"/>
                  </a:lnTo>
                  <a:lnTo>
                    <a:pt x="532" y="61"/>
                  </a:lnTo>
                  <a:lnTo>
                    <a:pt x="532" y="62"/>
                  </a:lnTo>
                  <a:lnTo>
                    <a:pt x="532" y="64"/>
                  </a:lnTo>
                  <a:lnTo>
                    <a:pt x="530" y="65"/>
                  </a:lnTo>
                  <a:lnTo>
                    <a:pt x="530" y="65"/>
                  </a:lnTo>
                  <a:lnTo>
                    <a:pt x="530" y="65"/>
                  </a:lnTo>
                  <a:lnTo>
                    <a:pt x="532" y="68"/>
                  </a:lnTo>
                  <a:lnTo>
                    <a:pt x="537" y="78"/>
                  </a:lnTo>
                  <a:lnTo>
                    <a:pt x="544" y="89"/>
                  </a:lnTo>
                  <a:lnTo>
                    <a:pt x="551" y="99"/>
                  </a:lnTo>
                  <a:lnTo>
                    <a:pt x="551" y="100"/>
                  </a:lnTo>
                  <a:lnTo>
                    <a:pt x="551" y="100"/>
                  </a:lnTo>
                  <a:lnTo>
                    <a:pt x="551" y="100"/>
                  </a:lnTo>
                  <a:lnTo>
                    <a:pt x="550" y="104"/>
                  </a:lnTo>
                  <a:lnTo>
                    <a:pt x="547" y="108"/>
                  </a:lnTo>
                  <a:lnTo>
                    <a:pt x="547" y="108"/>
                  </a:lnTo>
                  <a:lnTo>
                    <a:pt x="548" y="113"/>
                  </a:lnTo>
                  <a:lnTo>
                    <a:pt x="551" y="121"/>
                  </a:lnTo>
                  <a:lnTo>
                    <a:pt x="555" y="125"/>
                  </a:lnTo>
                  <a:lnTo>
                    <a:pt x="560" y="127"/>
                  </a:lnTo>
                  <a:lnTo>
                    <a:pt x="560" y="127"/>
                  </a:lnTo>
                  <a:lnTo>
                    <a:pt x="561" y="127"/>
                  </a:lnTo>
                  <a:lnTo>
                    <a:pt x="561" y="128"/>
                  </a:lnTo>
                  <a:lnTo>
                    <a:pt x="561" y="128"/>
                  </a:lnTo>
                  <a:lnTo>
                    <a:pt x="560" y="132"/>
                  </a:lnTo>
                  <a:lnTo>
                    <a:pt x="558" y="138"/>
                  </a:lnTo>
                  <a:lnTo>
                    <a:pt x="558" y="138"/>
                  </a:lnTo>
                  <a:lnTo>
                    <a:pt x="561" y="143"/>
                  </a:lnTo>
                  <a:lnTo>
                    <a:pt x="564" y="152"/>
                  </a:lnTo>
                  <a:lnTo>
                    <a:pt x="567" y="174"/>
                  </a:lnTo>
                  <a:lnTo>
                    <a:pt x="568" y="174"/>
                  </a:lnTo>
                  <a:lnTo>
                    <a:pt x="567" y="176"/>
                  </a:lnTo>
                  <a:lnTo>
                    <a:pt x="567" y="181"/>
                  </a:lnTo>
                  <a:lnTo>
                    <a:pt x="565" y="186"/>
                  </a:lnTo>
                  <a:lnTo>
                    <a:pt x="570" y="193"/>
                  </a:lnTo>
                  <a:lnTo>
                    <a:pt x="571" y="193"/>
                  </a:lnTo>
                  <a:lnTo>
                    <a:pt x="571" y="194"/>
                  </a:lnTo>
                  <a:lnTo>
                    <a:pt x="571" y="195"/>
                  </a:lnTo>
                  <a:lnTo>
                    <a:pt x="571" y="197"/>
                  </a:lnTo>
                  <a:lnTo>
                    <a:pt x="571" y="198"/>
                  </a:lnTo>
                  <a:lnTo>
                    <a:pt x="571" y="200"/>
                  </a:lnTo>
                  <a:lnTo>
                    <a:pt x="571" y="201"/>
                  </a:lnTo>
                  <a:lnTo>
                    <a:pt x="571" y="202"/>
                  </a:lnTo>
                  <a:lnTo>
                    <a:pt x="571" y="202"/>
                  </a:lnTo>
                  <a:lnTo>
                    <a:pt x="571" y="202"/>
                  </a:lnTo>
                  <a:lnTo>
                    <a:pt x="571" y="204"/>
                  </a:lnTo>
                  <a:lnTo>
                    <a:pt x="572" y="204"/>
                  </a:lnTo>
                  <a:lnTo>
                    <a:pt x="574" y="204"/>
                  </a:lnTo>
                  <a:lnTo>
                    <a:pt x="575" y="204"/>
                  </a:lnTo>
                  <a:lnTo>
                    <a:pt x="577" y="205"/>
                  </a:lnTo>
                  <a:lnTo>
                    <a:pt x="577" y="205"/>
                  </a:lnTo>
                  <a:lnTo>
                    <a:pt x="578" y="211"/>
                  </a:lnTo>
                  <a:lnTo>
                    <a:pt x="578" y="211"/>
                  </a:lnTo>
                  <a:lnTo>
                    <a:pt x="581" y="219"/>
                  </a:lnTo>
                  <a:lnTo>
                    <a:pt x="581" y="219"/>
                  </a:lnTo>
                  <a:lnTo>
                    <a:pt x="585" y="225"/>
                  </a:lnTo>
                  <a:lnTo>
                    <a:pt x="591" y="230"/>
                  </a:lnTo>
                  <a:lnTo>
                    <a:pt x="596" y="240"/>
                  </a:lnTo>
                  <a:lnTo>
                    <a:pt x="599" y="246"/>
                  </a:lnTo>
                  <a:lnTo>
                    <a:pt x="602" y="247"/>
                  </a:lnTo>
                  <a:lnTo>
                    <a:pt x="579" y="247"/>
                  </a:lnTo>
                  <a:lnTo>
                    <a:pt x="340" y="247"/>
                  </a:lnTo>
                  <a:lnTo>
                    <a:pt x="164" y="247"/>
                  </a:lnTo>
                  <a:lnTo>
                    <a:pt x="139" y="247"/>
                  </a:lnTo>
                  <a:lnTo>
                    <a:pt x="139" y="243"/>
                  </a:lnTo>
                  <a:lnTo>
                    <a:pt x="139" y="240"/>
                  </a:lnTo>
                  <a:lnTo>
                    <a:pt x="139" y="197"/>
                  </a:lnTo>
                  <a:lnTo>
                    <a:pt x="139" y="164"/>
                  </a:lnTo>
                  <a:lnTo>
                    <a:pt x="135" y="164"/>
                  </a:lnTo>
                  <a:lnTo>
                    <a:pt x="108" y="164"/>
                  </a:lnTo>
                  <a:lnTo>
                    <a:pt x="2" y="164"/>
                  </a:lnTo>
                  <a:lnTo>
                    <a:pt x="2" y="160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59" name="Freeform 12"/>
            <p:cNvSpPr>
              <a:spLocks/>
            </p:cNvSpPr>
            <p:nvPr/>
          </p:nvSpPr>
          <p:spPr bwMode="auto">
            <a:xfrm>
              <a:off x="7365468" y="3268044"/>
              <a:ext cx="588010" cy="495829"/>
            </a:xfrm>
            <a:custGeom>
              <a:avLst/>
              <a:gdLst>
                <a:gd name="T0" fmla="*/ 35 w 338"/>
                <a:gd name="T1" fmla="*/ 252 h 285"/>
                <a:gd name="T2" fmla="*/ 22 w 338"/>
                <a:gd name="T3" fmla="*/ 240 h 285"/>
                <a:gd name="T4" fmla="*/ 15 w 338"/>
                <a:gd name="T5" fmla="*/ 227 h 285"/>
                <a:gd name="T6" fmla="*/ 0 w 338"/>
                <a:gd name="T7" fmla="*/ 205 h 285"/>
                <a:gd name="T8" fmla="*/ 4 w 338"/>
                <a:gd name="T9" fmla="*/ 199 h 285"/>
                <a:gd name="T10" fmla="*/ 3 w 338"/>
                <a:gd name="T11" fmla="*/ 188 h 285"/>
                <a:gd name="T12" fmla="*/ 22 w 338"/>
                <a:gd name="T13" fmla="*/ 182 h 285"/>
                <a:gd name="T14" fmla="*/ 24 w 338"/>
                <a:gd name="T15" fmla="*/ 175 h 285"/>
                <a:gd name="T16" fmla="*/ 29 w 338"/>
                <a:gd name="T17" fmla="*/ 170 h 285"/>
                <a:gd name="T18" fmla="*/ 32 w 338"/>
                <a:gd name="T19" fmla="*/ 158 h 285"/>
                <a:gd name="T20" fmla="*/ 42 w 338"/>
                <a:gd name="T21" fmla="*/ 136 h 285"/>
                <a:gd name="T22" fmla="*/ 49 w 338"/>
                <a:gd name="T23" fmla="*/ 137 h 285"/>
                <a:gd name="T24" fmla="*/ 50 w 338"/>
                <a:gd name="T25" fmla="*/ 144 h 285"/>
                <a:gd name="T26" fmla="*/ 50 w 338"/>
                <a:gd name="T27" fmla="*/ 146 h 285"/>
                <a:gd name="T28" fmla="*/ 61 w 338"/>
                <a:gd name="T29" fmla="*/ 122 h 285"/>
                <a:gd name="T30" fmla="*/ 81 w 338"/>
                <a:gd name="T31" fmla="*/ 102 h 285"/>
                <a:gd name="T32" fmla="*/ 85 w 338"/>
                <a:gd name="T33" fmla="*/ 105 h 285"/>
                <a:gd name="T34" fmla="*/ 88 w 338"/>
                <a:gd name="T35" fmla="*/ 108 h 285"/>
                <a:gd name="T36" fmla="*/ 106 w 338"/>
                <a:gd name="T37" fmla="*/ 97 h 285"/>
                <a:gd name="T38" fmla="*/ 119 w 338"/>
                <a:gd name="T39" fmla="*/ 85 h 285"/>
                <a:gd name="T40" fmla="*/ 125 w 338"/>
                <a:gd name="T41" fmla="*/ 74 h 285"/>
                <a:gd name="T42" fmla="*/ 132 w 338"/>
                <a:gd name="T43" fmla="*/ 52 h 285"/>
                <a:gd name="T44" fmla="*/ 141 w 338"/>
                <a:gd name="T45" fmla="*/ 27 h 285"/>
                <a:gd name="T46" fmla="*/ 141 w 338"/>
                <a:gd name="T47" fmla="*/ 3 h 285"/>
                <a:gd name="T48" fmla="*/ 217 w 338"/>
                <a:gd name="T49" fmla="*/ 119 h 285"/>
                <a:gd name="T50" fmla="*/ 244 w 338"/>
                <a:gd name="T51" fmla="*/ 99 h 285"/>
                <a:gd name="T52" fmla="*/ 248 w 338"/>
                <a:gd name="T53" fmla="*/ 95 h 285"/>
                <a:gd name="T54" fmla="*/ 254 w 338"/>
                <a:gd name="T55" fmla="*/ 99 h 285"/>
                <a:gd name="T56" fmla="*/ 269 w 338"/>
                <a:gd name="T57" fmla="*/ 88 h 285"/>
                <a:gd name="T58" fmla="*/ 289 w 338"/>
                <a:gd name="T59" fmla="*/ 92 h 285"/>
                <a:gd name="T60" fmla="*/ 289 w 338"/>
                <a:gd name="T61" fmla="*/ 88 h 285"/>
                <a:gd name="T62" fmla="*/ 310 w 338"/>
                <a:gd name="T63" fmla="*/ 78 h 285"/>
                <a:gd name="T64" fmla="*/ 336 w 338"/>
                <a:gd name="T65" fmla="*/ 115 h 285"/>
                <a:gd name="T66" fmla="*/ 297 w 338"/>
                <a:gd name="T67" fmla="*/ 98 h 285"/>
                <a:gd name="T68" fmla="*/ 291 w 338"/>
                <a:gd name="T69" fmla="*/ 121 h 285"/>
                <a:gd name="T70" fmla="*/ 273 w 338"/>
                <a:gd name="T71" fmla="*/ 143 h 285"/>
                <a:gd name="T72" fmla="*/ 268 w 338"/>
                <a:gd name="T73" fmla="*/ 144 h 285"/>
                <a:gd name="T74" fmla="*/ 254 w 338"/>
                <a:gd name="T75" fmla="*/ 150 h 285"/>
                <a:gd name="T76" fmla="*/ 241 w 338"/>
                <a:gd name="T77" fmla="*/ 167 h 285"/>
                <a:gd name="T78" fmla="*/ 238 w 338"/>
                <a:gd name="T79" fmla="*/ 174 h 285"/>
                <a:gd name="T80" fmla="*/ 216 w 338"/>
                <a:gd name="T81" fmla="*/ 179 h 285"/>
                <a:gd name="T82" fmla="*/ 216 w 338"/>
                <a:gd name="T83" fmla="*/ 175 h 285"/>
                <a:gd name="T84" fmla="*/ 207 w 338"/>
                <a:gd name="T85" fmla="*/ 170 h 285"/>
                <a:gd name="T86" fmla="*/ 203 w 338"/>
                <a:gd name="T87" fmla="*/ 182 h 285"/>
                <a:gd name="T88" fmla="*/ 188 w 338"/>
                <a:gd name="T89" fmla="*/ 205 h 285"/>
                <a:gd name="T90" fmla="*/ 176 w 338"/>
                <a:gd name="T91" fmla="*/ 224 h 285"/>
                <a:gd name="T92" fmla="*/ 162 w 338"/>
                <a:gd name="T93" fmla="*/ 245 h 285"/>
                <a:gd name="T94" fmla="*/ 167 w 338"/>
                <a:gd name="T95" fmla="*/ 250 h 285"/>
                <a:gd name="T96" fmla="*/ 151 w 338"/>
                <a:gd name="T97" fmla="*/ 265 h 285"/>
                <a:gd name="T98" fmla="*/ 148 w 338"/>
                <a:gd name="T99" fmla="*/ 264 h 285"/>
                <a:gd name="T100" fmla="*/ 146 w 338"/>
                <a:gd name="T101" fmla="*/ 262 h 285"/>
                <a:gd name="T102" fmla="*/ 110 w 338"/>
                <a:gd name="T103" fmla="*/ 278 h 285"/>
                <a:gd name="T104" fmla="*/ 99 w 338"/>
                <a:gd name="T105" fmla="*/ 280 h 285"/>
                <a:gd name="T106" fmla="*/ 88 w 338"/>
                <a:gd name="T107" fmla="*/ 273 h 285"/>
                <a:gd name="T108" fmla="*/ 68 w 338"/>
                <a:gd name="T109" fmla="*/ 283 h 285"/>
                <a:gd name="T110" fmla="*/ 49 w 338"/>
                <a:gd name="T111" fmla="*/ 269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8" h="285">
                  <a:moveTo>
                    <a:pt x="42" y="257"/>
                  </a:moveTo>
                  <a:lnTo>
                    <a:pt x="40" y="257"/>
                  </a:lnTo>
                  <a:lnTo>
                    <a:pt x="35" y="254"/>
                  </a:lnTo>
                  <a:lnTo>
                    <a:pt x="35" y="254"/>
                  </a:lnTo>
                  <a:lnTo>
                    <a:pt x="35" y="254"/>
                  </a:lnTo>
                  <a:lnTo>
                    <a:pt x="35" y="254"/>
                  </a:lnTo>
                  <a:lnTo>
                    <a:pt x="35" y="252"/>
                  </a:lnTo>
                  <a:lnTo>
                    <a:pt x="35" y="252"/>
                  </a:lnTo>
                  <a:lnTo>
                    <a:pt x="35" y="252"/>
                  </a:lnTo>
                  <a:lnTo>
                    <a:pt x="33" y="251"/>
                  </a:lnTo>
                  <a:lnTo>
                    <a:pt x="32" y="248"/>
                  </a:lnTo>
                  <a:lnTo>
                    <a:pt x="32" y="248"/>
                  </a:lnTo>
                  <a:lnTo>
                    <a:pt x="28" y="247"/>
                  </a:lnTo>
                  <a:lnTo>
                    <a:pt x="22" y="240"/>
                  </a:lnTo>
                  <a:lnTo>
                    <a:pt x="17" y="234"/>
                  </a:lnTo>
                  <a:lnTo>
                    <a:pt x="17" y="233"/>
                  </a:lnTo>
                  <a:lnTo>
                    <a:pt x="17" y="231"/>
                  </a:lnTo>
                  <a:lnTo>
                    <a:pt x="17" y="231"/>
                  </a:lnTo>
                  <a:lnTo>
                    <a:pt x="15" y="228"/>
                  </a:lnTo>
                  <a:lnTo>
                    <a:pt x="15" y="228"/>
                  </a:lnTo>
                  <a:lnTo>
                    <a:pt x="15" y="227"/>
                  </a:lnTo>
                  <a:lnTo>
                    <a:pt x="12" y="221"/>
                  </a:lnTo>
                  <a:lnTo>
                    <a:pt x="10" y="219"/>
                  </a:lnTo>
                  <a:lnTo>
                    <a:pt x="7" y="214"/>
                  </a:lnTo>
                  <a:lnTo>
                    <a:pt x="1" y="207"/>
                  </a:lnTo>
                  <a:lnTo>
                    <a:pt x="1" y="206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03"/>
                  </a:lnTo>
                  <a:lnTo>
                    <a:pt x="3" y="203"/>
                  </a:lnTo>
                  <a:lnTo>
                    <a:pt x="3" y="202"/>
                  </a:lnTo>
                  <a:lnTo>
                    <a:pt x="3" y="202"/>
                  </a:lnTo>
                  <a:lnTo>
                    <a:pt x="4" y="199"/>
                  </a:lnTo>
                  <a:lnTo>
                    <a:pt x="5" y="192"/>
                  </a:lnTo>
                  <a:lnTo>
                    <a:pt x="5" y="192"/>
                  </a:lnTo>
                  <a:lnTo>
                    <a:pt x="5" y="191"/>
                  </a:lnTo>
                  <a:lnTo>
                    <a:pt x="4" y="189"/>
                  </a:lnTo>
                  <a:lnTo>
                    <a:pt x="4" y="189"/>
                  </a:lnTo>
                  <a:lnTo>
                    <a:pt x="4" y="188"/>
                  </a:lnTo>
                  <a:lnTo>
                    <a:pt x="3" y="188"/>
                  </a:lnTo>
                  <a:lnTo>
                    <a:pt x="4" y="185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7" y="185"/>
                  </a:lnTo>
                  <a:lnTo>
                    <a:pt x="8" y="185"/>
                  </a:lnTo>
                  <a:lnTo>
                    <a:pt x="21" y="182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2" y="181"/>
                  </a:lnTo>
                  <a:lnTo>
                    <a:pt x="24" y="181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7"/>
                  </a:lnTo>
                  <a:lnTo>
                    <a:pt x="24" y="175"/>
                  </a:lnTo>
                  <a:lnTo>
                    <a:pt x="24" y="174"/>
                  </a:lnTo>
                  <a:lnTo>
                    <a:pt x="25" y="171"/>
                  </a:lnTo>
                  <a:lnTo>
                    <a:pt x="25" y="171"/>
                  </a:lnTo>
                  <a:lnTo>
                    <a:pt x="26" y="170"/>
                  </a:lnTo>
                  <a:lnTo>
                    <a:pt x="26" y="170"/>
                  </a:lnTo>
                  <a:lnTo>
                    <a:pt x="28" y="170"/>
                  </a:lnTo>
                  <a:lnTo>
                    <a:pt x="29" y="170"/>
                  </a:lnTo>
                  <a:lnTo>
                    <a:pt x="31" y="170"/>
                  </a:lnTo>
                  <a:lnTo>
                    <a:pt x="31" y="170"/>
                  </a:lnTo>
                  <a:lnTo>
                    <a:pt x="32" y="168"/>
                  </a:lnTo>
                  <a:lnTo>
                    <a:pt x="32" y="168"/>
                  </a:lnTo>
                  <a:lnTo>
                    <a:pt x="32" y="167"/>
                  </a:lnTo>
                  <a:lnTo>
                    <a:pt x="32" y="160"/>
                  </a:lnTo>
                  <a:lnTo>
                    <a:pt x="32" y="158"/>
                  </a:lnTo>
                  <a:lnTo>
                    <a:pt x="32" y="158"/>
                  </a:lnTo>
                  <a:lnTo>
                    <a:pt x="32" y="151"/>
                  </a:lnTo>
                  <a:lnTo>
                    <a:pt x="36" y="143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8" y="140"/>
                  </a:lnTo>
                  <a:lnTo>
                    <a:pt x="42" y="136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5" y="135"/>
                  </a:lnTo>
                  <a:lnTo>
                    <a:pt x="49" y="137"/>
                  </a:lnTo>
                  <a:lnTo>
                    <a:pt x="49" y="137"/>
                  </a:lnTo>
                  <a:lnTo>
                    <a:pt x="49" y="137"/>
                  </a:lnTo>
                  <a:lnTo>
                    <a:pt x="49" y="137"/>
                  </a:lnTo>
                  <a:lnTo>
                    <a:pt x="50" y="140"/>
                  </a:lnTo>
                  <a:lnTo>
                    <a:pt x="50" y="142"/>
                  </a:lnTo>
                  <a:lnTo>
                    <a:pt x="50" y="142"/>
                  </a:lnTo>
                  <a:lnTo>
                    <a:pt x="50" y="143"/>
                  </a:lnTo>
                  <a:lnTo>
                    <a:pt x="50" y="144"/>
                  </a:lnTo>
                  <a:lnTo>
                    <a:pt x="49" y="144"/>
                  </a:lnTo>
                  <a:lnTo>
                    <a:pt x="49" y="144"/>
                  </a:lnTo>
                  <a:lnTo>
                    <a:pt x="49" y="144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50" y="146"/>
                  </a:lnTo>
                  <a:lnTo>
                    <a:pt x="50" y="146"/>
                  </a:lnTo>
                  <a:lnTo>
                    <a:pt x="52" y="146"/>
                  </a:lnTo>
                  <a:lnTo>
                    <a:pt x="52" y="146"/>
                  </a:lnTo>
                  <a:lnTo>
                    <a:pt x="60" y="142"/>
                  </a:lnTo>
                  <a:lnTo>
                    <a:pt x="60" y="135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3" y="119"/>
                  </a:lnTo>
                  <a:lnTo>
                    <a:pt x="66" y="115"/>
                  </a:lnTo>
                  <a:lnTo>
                    <a:pt x="66" y="114"/>
                  </a:lnTo>
                  <a:lnTo>
                    <a:pt x="75" y="108"/>
                  </a:lnTo>
                  <a:lnTo>
                    <a:pt x="81" y="102"/>
                  </a:lnTo>
                  <a:lnTo>
                    <a:pt x="81" y="102"/>
                  </a:lnTo>
                  <a:lnTo>
                    <a:pt x="82" y="102"/>
                  </a:lnTo>
                  <a:lnTo>
                    <a:pt x="82" y="102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5" y="104"/>
                  </a:lnTo>
                  <a:lnTo>
                    <a:pt x="85" y="105"/>
                  </a:lnTo>
                  <a:lnTo>
                    <a:pt x="85" y="105"/>
                  </a:lnTo>
                  <a:lnTo>
                    <a:pt x="85" y="105"/>
                  </a:lnTo>
                  <a:lnTo>
                    <a:pt x="85" y="106"/>
                  </a:lnTo>
                  <a:lnTo>
                    <a:pt x="87" y="106"/>
                  </a:lnTo>
                  <a:lnTo>
                    <a:pt x="87" y="106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91" y="106"/>
                  </a:lnTo>
                  <a:lnTo>
                    <a:pt x="98" y="104"/>
                  </a:lnTo>
                  <a:lnTo>
                    <a:pt x="105" y="98"/>
                  </a:lnTo>
                  <a:lnTo>
                    <a:pt x="106" y="97"/>
                  </a:lnTo>
                  <a:lnTo>
                    <a:pt x="106" y="97"/>
                  </a:lnTo>
                  <a:lnTo>
                    <a:pt x="106" y="97"/>
                  </a:lnTo>
                  <a:lnTo>
                    <a:pt x="106" y="95"/>
                  </a:lnTo>
                  <a:lnTo>
                    <a:pt x="108" y="95"/>
                  </a:lnTo>
                  <a:lnTo>
                    <a:pt x="110" y="91"/>
                  </a:lnTo>
                  <a:lnTo>
                    <a:pt x="112" y="90"/>
                  </a:lnTo>
                  <a:lnTo>
                    <a:pt x="115" y="88"/>
                  </a:lnTo>
                  <a:lnTo>
                    <a:pt x="117" y="87"/>
                  </a:lnTo>
                  <a:lnTo>
                    <a:pt x="119" y="85"/>
                  </a:lnTo>
                  <a:lnTo>
                    <a:pt x="120" y="85"/>
                  </a:lnTo>
                  <a:lnTo>
                    <a:pt x="122" y="85"/>
                  </a:lnTo>
                  <a:lnTo>
                    <a:pt x="122" y="85"/>
                  </a:lnTo>
                  <a:lnTo>
                    <a:pt x="122" y="84"/>
                  </a:lnTo>
                  <a:lnTo>
                    <a:pt x="122" y="84"/>
                  </a:lnTo>
                  <a:lnTo>
                    <a:pt x="125" y="78"/>
                  </a:lnTo>
                  <a:lnTo>
                    <a:pt x="125" y="74"/>
                  </a:lnTo>
                  <a:lnTo>
                    <a:pt x="125" y="70"/>
                  </a:lnTo>
                  <a:lnTo>
                    <a:pt x="127" y="64"/>
                  </a:lnTo>
                  <a:lnTo>
                    <a:pt x="130" y="60"/>
                  </a:lnTo>
                  <a:lnTo>
                    <a:pt x="132" y="55"/>
                  </a:lnTo>
                  <a:lnTo>
                    <a:pt x="132" y="53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2" y="48"/>
                  </a:lnTo>
                  <a:lnTo>
                    <a:pt x="132" y="46"/>
                  </a:lnTo>
                  <a:lnTo>
                    <a:pt x="134" y="38"/>
                  </a:lnTo>
                  <a:lnTo>
                    <a:pt x="140" y="31"/>
                  </a:lnTo>
                  <a:lnTo>
                    <a:pt x="140" y="29"/>
                  </a:lnTo>
                  <a:lnTo>
                    <a:pt x="140" y="28"/>
                  </a:lnTo>
                  <a:lnTo>
                    <a:pt x="141" y="27"/>
                  </a:lnTo>
                  <a:lnTo>
                    <a:pt x="141" y="15"/>
                  </a:lnTo>
                  <a:lnTo>
                    <a:pt x="140" y="14"/>
                  </a:lnTo>
                  <a:lnTo>
                    <a:pt x="140" y="13"/>
                  </a:lnTo>
                  <a:lnTo>
                    <a:pt x="139" y="10"/>
                  </a:lnTo>
                  <a:lnTo>
                    <a:pt x="139" y="10"/>
                  </a:lnTo>
                  <a:lnTo>
                    <a:pt x="137" y="8"/>
                  </a:lnTo>
                  <a:lnTo>
                    <a:pt x="141" y="3"/>
                  </a:lnTo>
                  <a:lnTo>
                    <a:pt x="147" y="0"/>
                  </a:lnTo>
                  <a:lnTo>
                    <a:pt x="147" y="77"/>
                  </a:lnTo>
                  <a:lnTo>
                    <a:pt x="218" y="77"/>
                  </a:lnTo>
                  <a:lnTo>
                    <a:pt x="218" y="78"/>
                  </a:lnTo>
                  <a:lnTo>
                    <a:pt x="218" y="104"/>
                  </a:lnTo>
                  <a:lnTo>
                    <a:pt x="217" y="119"/>
                  </a:lnTo>
                  <a:lnTo>
                    <a:pt x="217" y="119"/>
                  </a:lnTo>
                  <a:lnTo>
                    <a:pt x="217" y="119"/>
                  </a:lnTo>
                  <a:lnTo>
                    <a:pt x="218" y="119"/>
                  </a:lnTo>
                  <a:lnTo>
                    <a:pt x="220" y="118"/>
                  </a:lnTo>
                  <a:lnTo>
                    <a:pt x="238" y="105"/>
                  </a:lnTo>
                  <a:lnTo>
                    <a:pt x="242" y="102"/>
                  </a:lnTo>
                  <a:lnTo>
                    <a:pt x="242" y="101"/>
                  </a:lnTo>
                  <a:lnTo>
                    <a:pt x="244" y="99"/>
                  </a:lnTo>
                  <a:lnTo>
                    <a:pt x="244" y="98"/>
                  </a:lnTo>
                  <a:lnTo>
                    <a:pt x="244" y="98"/>
                  </a:lnTo>
                  <a:lnTo>
                    <a:pt x="244" y="98"/>
                  </a:lnTo>
                  <a:lnTo>
                    <a:pt x="244" y="98"/>
                  </a:lnTo>
                  <a:lnTo>
                    <a:pt x="246" y="97"/>
                  </a:lnTo>
                  <a:lnTo>
                    <a:pt x="248" y="95"/>
                  </a:lnTo>
                  <a:lnTo>
                    <a:pt x="248" y="95"/>
                  </a:lnTo>
                  <a:lnTo>
                    <a:pt x="249" y="97"/>
                  </a:lnTo>
                  <a:lnTo>
                    <a:pt x="249" y="97"/>
                  </a:lnTo>
                  <a:lnTo>
                    <a:pt x="251" y="97"/>
                  </a:lnTo>
                  <a:lnTo>
                    <a:pt x="252" y="98"/>
                  </a:lnTo>
                  <a:lnTo>
                    <a:pt x="252" y="99"/>
                  </a:lnTo>
                  <a:lnTo>
                    <a:pt x="252" y="99"/>
                  </a:lnTo>
                  <a:lnTo>
                    <a:pt x="254" y="99"/>
                  </a:lnTo>
                  <a:lnTo>
                    <a:pt x="254" y="99"/>
                  </a:lnTo>
                  <a:lnTo>
                    <a:pt x="259" y="92"/>
                  </a:lnTo>
                  <a:lnTo>
                    <a:pt x="268" y="87"/>
                  </a:lnTo>
                  <a:lnTo>
                    <a:pt x="268" y="87"/>
                  </a:lnTo>
                  <a:lnTo>
                    <a:pt x="268" y="88"/>
                  </a:lnTo>
                  <a:lnTo>
                    <a:pt x="269" y="88"/>
                  </a:lnTo>
                  <a:lnTo>
                    <a:pt x="269" y="88"/>
                  </a:lnTo>
                  <a:lnTo>
                    <a:pt x="273" y="91"/>
                  </a:lnTo>
                  <a:lnTo>
                    <a:pt x="273" y="91"/>
                  </a:lnTo>
                  <a:lnTo>
                    <a:pt x="276" y="92"/>
                  </a:lnTo>
                  <a:lnTo>
                    <a:pt x="279" y="92"/>
                  </a:lnTo>
                  <a:lnTo>
                    <a:pt x="286" y="92"/>
                  </a:lnTo>
                  <a:lnTo>
                    <a:pt x="287" y="92"/>
                  </a:lnTo>
                  <a:lnTo>
                    <a:pt x="289" y="92"/>
                  </a:lnTo>
                  <a:lnTo>
                    <a:pt x="290" y="91"/>
                  </a:lnTo>
                  <a:lnTo>
                    <a:pt x="291" y="91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0" y="90"/>
                  </a:lnTo>
                  <a:lnTo>
                    <a:pt x="289" y="90"/>
                  </a:lnTo>
                  <a:lnTo>
                    <a:pt x="289" y="88"/>
                  </a:lnTo>
                  <a:lnTo>
                    <a:pt x="289" y="88"/>
                  </a:lnTo>
                  <a:lnTo>
                    <a:pt x="289" y="88"/>
                  </a:lnTo>
                  <a:lnTo>
                    <a:pt x="290" y="85"/>
                  </a:lnTo>
                  <a:lnTo>
                    <a:pt x="293" y="84"/>
                  </a:lnTo>
                  <a:lnTo>
                    <a:pt x="307" y="78"/>
                  </a:lnTo>
                  <a:lnTo>
                    <a:pt x="308" y="78"/>
                  </a:lnTo>
                  <a:lnTo>
                    <a:pt x="310" y="78"/>
                  </a:lnTo>
                  <a:lnTo>
                    <a:pt x="311" y="78"/>
                  </a:lnTo>
                  <a:lnTo>
                    <a:pt x="312" y="78"/>
                  </a:lnTo>
                  <a:lnTo>
                    <a:pt x="328" y="87"/>
                  </a:lnTo>
                  <a:lnTo>
                    <a:pt x="338" y="105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6" y="115"/>
                  </a:lnTo>
                  <a:lnTo>
                    <a:pt x="333" y="121"/>
                  </a:lnTo>
                  <a:lnTo>
                    <a:pt x="332" y="122"/>
                  </a:lnTo>
                  <a:lnTo>
                    <a:pt x="332" y="125"/>
                  </a:lnTo>
                  <a:lnTo>
                    <a:pt x="331" y="123"/>
                  </a:lnTo>
                  <a:lnTo>
                    <a:pt x="321" y="116"/>
                  </a:lnTo>
                  <a:lnTo>
                    <a:pt x="310" y="108"/>
                  </a:lnTo>
                  <a:lnTo>
                    <a:pt x="297" y="98"/>
                  </a:lnTo>
                  <a:lnTo>
                    <a:pt x="297" y="99"/>
                  </a:lnTo>
                  <a:lnTo>
                    <a:pt x="296" y="99"/>
                  </a:lnTo>
                  <a:lnTo>
                    <a:pt x="296" y="101"/>
                  </a:lnTo>
                  <a:lnTo>
                    <a:pt x="296" y="101"/>
                  </a:lnTo>
                  <a:lnTo>
                    <a:pt x="291" y="115"/>
                  </a:lnTo>
                  <a:lnTo>
                    <a:pt x="291" y="119"/>
                  </a:lnTo>
                  <a:lnTo>
                    <a:pt x="291" y="121"/>
                  </a:lnTo>
                  <a:lnTo>
                    <a:pt x="283" y="135"/>
                  </a:lnTo>
                  <a:lnTo>
                    <a:pt x="282" y="136"/>
                  </a:lnTo>
                  <a:lnTo>
                    <a:pt x="280" y="137"/>
                  </a:lnTo>
                  <a:lnTo>
                    <a:pt x="279" y="139"/>
                  </a:lnTo>
                  <a:lnTo>
                    <a:pt x="279" y="139"/>
                  </a:lnTo>
                  <a:lnTo>
                    <a:pt x="275" y="142"/>
                  </a:lnTo>
                  <a:lnTo>
                    <a:pt x="273" y="143"/>
                  </a:lnTo>
                  <a:lnTo>
                    <a:pt x="272" y="143"/>
                  </a:lnTo>
                  <a:lnTo>
                    <a:pt x="272" y="143"/>
                  </a:lnTo>
                  <a:lnTo>
                    <a:pt x="270" y="143"/>
                  </a:lnTo>
                  <a:lnTo>
                    <a:pt x="270" y="143"/>
                  </a:lnTo>
                  <a:lnTo>
                    <a:pt x="270" y="143"/>
                  </a:lnTo>
                  <a:lnTo>
                    <a:pt x="269" y="142"/>
                  </a:lnTo>
                  <a:lnTo>
                    <a:pt x="268" y="144"/>
                  </a:lnTo>
                  <a:lnTo>
                    <a:pt x="266" y="144"/>
                  </a:lnTo>
                  <a:lnTo>
                    <a:pt x="266" y="146"/>
                  </a:lnTo>
                  <a:lnTo>
                    <a:pt x="265" y="147"/>
                  </a:lnTo>
                  <a:lnTo>
                    <a:pt x="263" y="149"/>
                  </a:lnTo>
                  <a:lnTo>
                    <a:pt x="261" y="153"/>
                  </a:lnTo>
                  <a:lnTo>
                    <a:pt x="261" y="154"/>
                  </a:lnTo>
                  <a:lnTo>
                    <a:pt x="254" y="150"/>
                  </a:lnTo>
                  <a:lnTo>
                    <a:pt x="252" y="149"/>
                  </a:lnTo>
                  <a:lnTo>
                    <a:pt x="252" y="149"/>
                  </a:lnTo>
                  <a:lnTo>
                    <a:pt x="252" y="149"/>
                  </a:lnTo>
                  <a:lnTo>
                    <a:pt x="248" y="154"/>
                  </a:lnTo>
                  <a:lnTo>
                    <a:pt x="245" y="157"/>
                  </a:lnTo>
                  <a:lnTo>
                    <a:pt x="245" y="157"/>
                  </a:lnTo>
                  <a:lnTo>
                    <a:pt x="241" y="167"/>
                  </a:lnTo>
                  <a:lnTo>
                    <a:pt x="239" y="168"/>
                  </a:lnTo>
                  <a:lnTo>
                    <a:pt x="239" y="168"/>
                  </a:lnTo>
                  <a:lnTo>
                    <a:pt x="239" y="170"/>
                  </a:lnTo>
                  <a:lnTo>
                    <a:pt x="239" y="171"/>
                  </a:lnTo>
                  <a:lnTo>
                    <a:pt x="239" y="171"/>
                  </a:lnTo>
                  <a:lnTo>
                    <a:pt x="238" y="174"/>
                  </a:lnTo>
                  <a:lnTo>
                    <a:pt x="238" y="174"/>
                  </a:lnTo>
                  <a:lnTo>
                    <a:pt x="238" y="175"/>
                  </a:lnTo>
                  <a:lnTo>
                    <a:pt x="234" y="179"/>
                  </a:lnTo>
                  <a:lnTo>
                    <a:pt x="234" y="181"/>
                  </a:lnTo>
                  <a:lnTo>
                    <a:pt x="232" y="182"/>
                  </a:lnTo>
                  <a:lnTo>
                    <a:pt x="231" y="184"/>
                  </a:lnTo>
                  <a:lnTo>
                    <a:pt x="223" y="181"/>
                  </a:lnTo>
                  <a:lnTo>
                    <a:pt x="216" y="179"/>
                  </a:lnTo>
                  <a:lnTo>
                    <a:pt x="216" y="179"/>
                  </a:lnTo>
                  <a:lnTo>
                    <a:pt x="216" y="178"/>
                  </a:lnTo>
                  <a:lnTo>
                    <a:pt x="217" y="178"/>
                  </a:lnTo>
                  <a:lnTo>
                    <a:pt x="217" y="178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16" y="175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3" y="171"/>
                  </a:lnTo>
                  <a:lnTo>
                    <a:pt x="213" y="171"/>
                  </a:lnTo>
                  <a:lnTo>
                    <a:pt x="207" y="170"/>
                  </a:lnTo>
                  <a:lnTo>
                    <a:pt x="207" y="170"/>
                  </a:lnTo>
                  <a:lnTo>
                    <a:pt x="207" y="170"/>
                  </a:lnTo>
                  <a:lnTo>
                    <a:pt x="206" y="170"/>
                  </a:lnTo>
                  <a:lnTo>
                    <a:pt x="206" y="170"/>
                  </a:lnTo>
                  <a:lnTo>
                    <a:pt x="206" y="171"/>
                  </a:lnTo>
                  <a:lnTo>
                    <a:pt x="203" y="178"/>
                  </a:lnTo>
                  <a:lnTo>
                    <a:pt x="203" y="178"/>
                  </a:lnTo>
                  <a:lnTo>
                    <a:pt x="203" y="181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0" y="188"/>
                  </a:lnTo>
                  <a:lnTo>
                    <a:pt x="200" y="188"/>
                  </a:lnTo>
                  <a:lnTo>
                    <a:pt x="196" y="193"/>
                  </a:lnTo>
                  <a:lnTo>
                    <a:pt x="188" y="203"/>
                  </a:lnTo>
                  <a:lnTo>
                    <a:pt x="188" y="205"/>
                  </a:lnTo>
                  <a:lnTo>
                    <a:pt x="188" y="205"/>
                  </a:lnTo>
                  <a:lnTo>
                    <a:pt x="186" y="212"/>
                  </a:lnTo>
                  <a:lnTo>
                    <a:pt x="183" y="216"/>
                  </a:lnTo>
                  <a:lnTo>
                    <a:pt x="183" y="217"/>
                  </a:lnTo>
                  <a:lnTo>
                    <a:pt x="182" y="219"/>
                  </a:lnTo>
                  <a:lnTo>
                    <a:pt x="182" y="219"/>
                  </a:lnTo>
                  <a:lnTo>
                    <a:pt x="179" y="221"/>
                  </a:lnTo>
                  <a:lnTo>
                    <a:pt x="176" y="224"/>
                  </a:lnTo>
                  <a:lnTo>
                    <a:pt x="175" y="226"/>
                  </a:lnTo>
                  <a:lnTo>
                    <a:pt x="174" y="227"/>
                  </a:lnTo>
                  <a:lnTo>
                    <a:pt x="168" y="233"/>
                  </a:lnTo>
                  <a:lnTo>
                    <a:pt x="168" y="234"/>
                  </a:lnTo>
                  <a:lnTo>
                    <a:pt x="162" y="244"/>
                  </a:lnTo>
                  <a:lnTo>
                    <a:pt x="162" y="245"/>
                  </a:lnTo>
                  <a:lnTo>
                    <a:pt x="162" y="245"/>
                  </a:lnTo>
                  <a:lnTo>
                    <a:pt x="162" y="245"/>
                  </a:lnTo>
                  <a:lnTo>
                    <a:pt x="164" y="247"/>
                  </a:lnTo>
                  <a:lnTo>
                    <a:pt x="164" y="247"/>
                  </a:lnTo>
                  <a:lnTo>
                    <a:pt x="165" y="248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50"/>
                  </a:lnTo>
                  <a:lnTo>
                    <a:pt x="167" y="250"/>
                  </a:lnTo>
                  <a:lnTo>
                    <a:pt x="167" y="250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2" y="258"/>
                  </a:lnTo>
                  <a:lnTo>
                    <a:pt x="162" y="259"/>
                  </a:lnTo>
                  <a:lnTo>
                    <a:pt x="151" y="265"/>
                  </a:lnTo>
                  <a:lnTo>
                    <a:pt x="151" y="266"/>
                  </a:lnTo>
                  <a:lnTo>
                    <a:pt x="150" y="265"/>
                  </a:lnTo>
                  <a:lnTo>
                    <a:pt x="150" y="265"/>
                  </a:lnTo>
                  <a:lnTo>
                    <a:pt x="150" y="265"/>
                  </a:lnTo>
                  <a:lnTo>
                    <a:pt x="150" y="265"/>
                  </a:lnTo>
                  <a:lnTo>
                    <a:pt x="148" y="265"/>
                  </a:lnTo>
                  <a:lnTo>
                    <a:pt x="148" y="264"/>
                  </a:lnTo>
                  <a:lnTo>
                    <a:pt x="148" y="264"/>
                  </a:lnTo>
                  <a:lnTo>
                    <a:pt x="150" y="264"/>
                  </a:lnTo>
                  <a:lnTo>
                    <a:pt x="148" y="262"/>
                  </a:lnTo>
                  <a:lnTo>
                    <a:pt x="148" y="262"/>
                  </a:lnTo>
                  <a:lnTo>
                    <a:pt x="147" y="262"/>
                  </a:lnTo>
                  <a:lnTo>
                    <a:pt x="146" y="262"/>
                  </a:lnTo>
                  <a:lnTo>
                    <a:pt x="146" y="262"/>
                  </a:lnTo>
                  <a:lnTo>
                    <a:pt x="143" y="264"/>
                  </a:lnTo>
                  <a:lnTo>
                    <a:pt x="139" y="265"/>
                  </a:lnTo>
                  <a:lnTo>
                    <a:pt x="137" y="266"/>
                  </a:lnTo>
                  <a:lnTo>
                    <a:pt x="130" y="269"/>
                  </a:lnTo>
                  <a:lnTo>
                    <a:pt x="119" y="276"/>
                  </a:lnTo>
                  <a:lnTo>
                    <a:pt x="116" y="278"/>
                  </a:lnTo>
                  <a:lnTo>
                    <a:pt x="110" y="278"/>
                  </a:lnTo>
                  <a:lnTo>
                    <a:pt x="105" y="278"/>
                  </a:lnTo>
                  <a:lnTo>
                    <a:pt x="103" y="278"/>
                  </a:lnTo>
                  <a:lnTo>
                    <a:pt x="103" y="278"/>
                  </a:lnTo>
                  <a:lnTo>
                    <a:pt x="102" y="279"/>
                  </a:lnTo>
                  <a:lnTo>
                    <a:pt x="101" y="279"/>
                  </a:lnTo>
                  <a:lnTo>
                    <a:pt x="101" y="280"/>
                  </a:lnTo>
                  <a:lnTo>
                    <a:pt x="99" y="280"/>
                  </a:lnTo>
                  <a:lnTo>
                    <a:pt x="98" y="280"/>
                  </a:lnTo>
                  <a:lnTo>
                    <a:pt x="98" y="280"/>
                  </a:lnTo>
                  <a:lnTo>
                    <a:pt x="98" y="280"/>
                  </a:lnTo>
                  <a:lnTo>
                    <a:pt x="89" y="273"/>
                  </a:lnTo>
                  <a:lnTo>
                    <a:pt x="89" y="273"/>
                  </a:lnTo>
                  <a:lnTo>
                    <a:pt x="88" y="273"/>
                  </a:lnTo>
                  <a:lnTo>
                    <a:pt x="88" y="273"/>
                  </a:lnTo>
                  <a:lnTo>
                    <a:pt x="81" y="279"/>
                  </a:lnTo>
                  <a:lnTo>
                    <a:pt x="75" y="283"/>
                  </a:lnTo>
                  <a:lnTo>
                    <a:pt x="75" y="283"/>
                  </a:lnTo>
                  <a:lnTo>
                    <a:pt x="74" y="285"/>
                  </a:lnTo>
                  <a:lnTo>
                    <a:pt x="73" y="285"/>
                  </a:lnTo>
                  <a:lnTo>
                    <a:pt x="70" y="283"/>
                  </a:lnTo>
                  <a:lnTo>
                    <a:pt x="68" y="283"/>
                  </a:lnTo>
                  <a:lnTo>
                    <a:pt x="68" y="283"/>
                  </a:lnTo>
                  <a:lnTo>
                    <a:pt x="56" y="278"/>
                  </a:lnTo>
                  <a:lnTo>
                    <a:pt x="56" y="278"/>
                  </a:lnTo>
                  <a:lnTo>
                    <a:pt x="54" y="276"/>
                  </a:lnTo>
                  <a:lnTo>
                    <a:pt x="49" y="271"/>
                  </a:lnTo>
                  <a:lnTo>
                    <a:pt x="49" y="271"/>
                  </a:lnTo>
                  <a:lnTo>
                    <a:pt x="49" y="269"/>
                  </a:lnTo>
                  <a:lnTo>
                    <a:pt x="47" y="259"/>
                  </a:lnTo>
                  <a:lnTo>
                    <a:pt x="46" y="257"/>
                  </a:lnTo>
                  <a:lnTo>
                    <a:pt x="42" y="257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60" name="Freeform 13"/>
            <p:cNvSpPr>
              <a:spLocks/>
            </p:cNvSpPr>
            <p:nvPr/>
          </p:nvSpPr>
          <p:spPr bwMode="auto">
            <a:xfrm>
              <a:off x="5684941" y="2857463"/>
              <a:ext cx="779375" cy="448855"/>
            </a:xfrm>
            <a:custGeom>
              <a:avLst/>
              <a:gdLst>
                <a:gd name="T0" fmla="*/ 7 w 448"/>
                <a:gd name="T1" fmla="*/ 69 h 258"/>
                <a:gd name="T2" fmla="*/ 0 w 448"/>
                <a:gd name="T3" fmla="*/ 63 h 258"/>
                <a:gd name="T4" fmla="*/ 4 w 448"/>
                <a:gd name="T5" fmla="*/ 55 h 258"/>
                <a:gd name="T6" fmla="*/ 9 w 448"/>
                <a:gd name="T7" fmla="*/ 45 h 258"/>
                <a:gd name="T8" fmla="*/ 11 w 448"/>
                <a:gd name="T9" fmla="*/ 24 h 258"/>
                <a:gd name="T10" fmla="*/ 5 w 448"/>
                <a:gd name="T11" fmla="*/ 24 h 258"/>
                <a:gd name="T12" fmla="*/ 4 w 448"/>
                <a:gd name="T13" fmla="*/ 19 h 258"/>
                <a:gd name="T14" fmla="*/ 7 w 448"/>
                <a:gd name="T15" fmla="*/ 17 h 258"/>
                <a:gd name="T16" fmla="*/ 7 w 448"/>
                <a:gd name="T17" fmla="*/ 10 h 258"/>
                <a:gd name="T18" fmla="*/ 12 w 448"/>
                <a:gd name="T19" fmla="*/ 0 h 258"/>
                <a:gd name="T20" fmla="*/ 374 w 448"/>
                <a:gd name="T21" fmla="*/ 0 h 258"/>
                <a:gd name="T22" fmla="*/ 378 w 448"/>
                <a:gd name="T23" fmla="*/ 13 h 258"/>
                <a:gd name="T24" fmla="*/ 384 w 448"/>
                <a:gd name="T25" fmla="*/ 19 h 258"/>
                <a:gd name="T26" fmla="*/ 381 w 448"/>
                <a:gd name="T27" fmla="*/ 24 h 258"/>
                <a:gd name="T28" fmla="*/ 377 w 448"/>
                <a:gd name="T29" fmla="*/ 30 h 258"/>
                <a:gd name="T30" fmla="*/ 385 w 448"/>
                <a:gd name="T31" fmla="*/ 62 h 258"/>
                <a:gd name="T32" fmla="*/ 392 w 448"/>
                <a:gd name="T33" fmla="*/ 68 h 258"/>
                <a:gd name="T34" fmla="*/ 403 w 448"/>
                <a:gd name="T35" fmla="*/ 69 h 258"/>
                <a:gd name="T36" fmla="*/ 415 w 448"/>
                <a:gd name="T37" fmla="*/ 79 h 258"/>
                <a:gd name="T38" fmla="*/ 413 w 448"/>
                <a:gd name="T39" fmla="*/ 84 h 258"/>
                <a:gd name="T40" fmla="*/ 423 w 448"/>
                <a:gd name="T41" fmla="*/ 92 h 258"/>
                <a:gd name="T42" fmla="*/ 429 w 448"/>
                <a:gd name="T43" fmla="*/ 96 h 258"/>
                <a:gd name="T44" fmla="*/ 430 w 448"/>
                <a:gd name="T45" fmla="*/ 104 h 258"/>
                <a:gd name="T46" fmla="*/ 446 w 448"/>
                <a:gd name="T47" fmla="*/ 114 h 258"/>
                <a:gd name="T48" fmla="*/ 448 w 448"/>
                <a:gd name="T49" fmla="*/ 125 h 258"/>
                <a:gd name="T50" fmla="*/ 443 w 448"/>
                <a:gd name="T51" fmla="*/ 141 h 258"/>
                <a:gd name="T52" fmla="*/ 434 w 448"/>
                <a:gd name="T53" fmla="*/ 152 h 258"/>
                <a:gd name="T54" fmla="*/ 433 w 448"/>
                <a:gd name="T55" fmla="*/ 159 h 258"/>
                <a:gd name="T56" fmla="*/ 398 w 448"/>
                <a:gd name="T57" fmla="*/ 171 h 258"/>
                <a:gd name="T58" fmla="*/ 388 w 448"/>
                <a:gd name="T59" fmla="*/ 171 h 258"/>
                <a:gd name="T60" fmla="*/ 382 w 448"/>
                <a:gd name="T61" fmla="*/ 184 h 258"/>
                <a:gd name="T62" fmla="*/ 384 w 448"/>
                <a:gd name="T63" fmla="*/ 191 h 258"/>
                <a:gd name="T64" fmla="*/ 392 w 448"/>
                <a:gd name="T65" fmla="*/ 198 h 258"/>
                <a:gd name="T66" fmla="*/ 392 w 448"/>
                <a:gd name="T67" fmla="*/ 209 h 258"/>
                <a:gd name="T68" fmla="*/ 387 w 448"/>
                <a:gd name="T69" fmla="*/ 216 h 258"/>
                <a:gd name="T70" fmla="*/ 382 w 448"/>
                <a:gd name="T71" fmla="*/ 223 h 258"/>
                <a:gd name="T72" fmla="*/ 381 w 448"/>
                <a:gd name="T73" fmla="*/ 232 h 258"/>
                <a:gd name="T74" fmla="*/ 373 w 448"/>
                <a:gd name="T75" fmla="*/ 237 h 258"/>
                <a:gd name="T76" fmla="*/ 361 w 448"/>
                <a:gd name="T77" fmla="*/ 242 h 258"/>
                <a:gd name="T78" fmla="*/ 361 w 448"/>
                <a:gd name="T79" fmla="*/ 246 h 258"/>
                <a:gd name="T80" fmla="*/ 364 w 448"/>
                <a:gd name="T81" fmla="*/ 250 h 258"/>
                <a:gd name="T82" fmla="*/ 359 w 448"/>
                <a:gd name="T83" fmla="*/ 258 h 258"/>
                <a:gd name="T84" fmla="*/ 352 w 448"/>
                <a:gd name="T85" fmla="*/ 253 h 258"/>
                <a:gd name="T86" fmla="*/ 302 w 448"/>
                <a:gd name="T87" fmla="*/ 240 h 258"/>
                <a:gd name="T88" fmla="*/ 152 w 448"/>
                <a:gd name="T89" fmla="*/ 242 h 258"/>
                <a:gd name="T90" fmla="*/ 70 w 448"/>
                <a:gd name="T91" fmla="*/ 240 h 258"/>
                <a:gd name="T92" fmla="*/ 60 w 448"/>
                <a:gd name="T93" fmla="*/ 235 h 258"/>
                <a:gd name="T94" fmla="*/ 56 w 448"/>
                <a:gd name="T95" fmla="*/ 216 h 258"/>
                <a:gd name="T96" fmla="*/ 50 w 448"/>
                <a:gd name="T97" fmla="*/ 170 h 258"/>
                <a:gd name="T98" fmla="*/ 40 w 448"/>
                <a:gd name="T99" fmla="*/ 163 h 258"/>
                <a:gd name="T100" fmla="*/ 40 w 448"/>
                <a:gd name="T101" fmla="*/ 142 h 258"/>
                <a:gd name="T102" fmla="*/ 19 w 448"/>
                <a:gd name="T103" fmla="*/ 107 h 258"/>
                <a:gd name="T104" fmla="*/ 21 w 448"/>
                <a:gd name="T105" fmla="*/ 103 h 258"/>
                <a:gd name="T106" fmla="*/ 16 w 448"/>
                <a:gd name="T107" fmla="*/ 94 h 258"/>
                <a:gd name="T108" fmla="*/ 18 w 448"/>
                <a:gd name="T109" fmla="*/ 86 h 258"/>
                <a:gd name="T110" fmla="*/ 12 w 448"/>
                <a:gd name="T111" fmla="*/ 8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48" h="258">
                  <a:moveTo>
                    <a:pt x="11" y="80"/>
                  </a:moveTo>
                  <a:lnTo>
                    <a:pt x="11" y="77"/>
                  </a:lnTo>
                  <a:lnTo>
                    <a:pt x="9" y="76"/>
                  </a:lnTo>
                  <a:lnTo>
                    <a:pt x="8" y="70"/>
                  </a:lnTo>
                  <a:lnTo>
                    <a:pt x="7" y="70"/>
                  </a:lnTo>
                  <a:lnTo>
                    <a:pt x="7" y="69"/>
                  </a:lnTo>
                  <a:lnTo>
                    <a:pt x="4" y="68"/>
                  </a:lnTo>
                  <a:lnTo>
                    <a:pt x="1" y="66"/>
                  </a:lnTo>
                  <a:lnTo>
                    <a:pt x="1" y="65"/>
                  </a:lnTo>
                  <a:lnTo>
                    <a:pt x="1" y="65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2"/>
                  </a:lnTo>
                  <a:lnTo>
                    <a:pt x="1" y="61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5" y="54"/>
                  </a:lnTo>
                  <a:lnTo>
                    <a:pt x="7" y="51"/>
                  </a:lnTo>
                  <a:lnTo>
                    <a:pt x="9" y="45"/>
                  </a:lnTo>
                  <a:lnTo>
                    <a:pt x="12" y="35"/>
                  </a:lnTo>
                  <a:lnTo>
                    <a:pt x="12" y="33"/>
                  </a:lnTo>
                  <a:lnTo>
                    <a:pt x="12" y="31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4" y="23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2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5" y="7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89" y="0"/>
                  </a:lnTo>
                  <a:lnTo>
                    <a:pt x="192" y="0"/>
                  </a:lnTo>
                  <a:lnTo>
                    <a:pt x="300" y="0"/>
                  </a:lnTo>
                  <a:lnTo>
                    <a:pt x="356" y="0"/>
                  </a:lnTo>
                  <a:lnTo>
                    <a:pt x="374" y="0"/>
                  </a:lnTo>
                  <a:lnTo>
                    <a:pt x="373" y="3"/>
                  </a:lnTo>
                  <a:lnTo>
                    <a:pt x="373" y="5"/>
                  </a:lnTo>
                  <a:lnTo>
                    <a:pt x="374" y="12"/>
                  </a:lnTo>
                  <a:lnTo>
                    <a:pt x="374" y="12"/>
                  </a:lnTo>
                  <a:lnTo>
                    <a:pt x="375" y="13"/>
                  </a:lnTo>
                  <a:lnTo>
                    <a:pt x="378" y="13"/>
                  </a:lnTo>
                  <a:lnTo>
                    <a:pt x="381" y="14"/>
                  </a:lnTo>
                  <a:lnTo>
                    <a:pt x="382" y="16"/>
                  </a:lnTo>
                  <a:lnTo>
                    <a:pt x="382" y="17"/>
                  </a:lnTo>
                  <a:lnTo>
                    <a:pt x="384" y="17"/>
                  </a:lnTo>
                  <a:lnTo>
                    <a:pt x="384" y="19"/>
                  </a:lnTo>
                  <a:lnTo>
                    <a:pt x="384" y="19"/>
                  </a:lnTo>
                  <a:lnTo>
                    <a:pt x="384" y="20"/>
                  </a:lnTo>
                  <a:lnTo>
                    <a:pt x="384" y="20"/>
                  </a:lnTo>
                  <a:lnTo>
                    <a:pt x="382" y="23"/>
                  </a:lnTo>
                  <a:lnTo>
                    <a:pt x="381" y="23"/>
                  </a:lnTo>
                  <a:lnTo>
                    <a:pt x="381" y="24"/>
                  </a:lnTo>
                  <a:lnTo>
                    <a:pt x="381" y="24"/>
                  </a:lnTo>
                  <a:lnTo>
                    <a:pt x="380" y="26"/>
                  </a:lnTo>
                  <a:lnTo>
                    <a:pt x="380" y="26"/>
                  </a:lnTo>
                  <a:lnTo>
                    <a:pt x="378" y="27"/>
                  </a:lnTo>
                  <a:lnTo>
                    <a:pt x="378" y="27"/>
                  </a:lnTo>
                  <a:lnTo>
                    <a:pt x="377" y="28"/>
                  </a:lnTo>
                  <a:lnTo>
                    <a:pt x="377" y="30"/>
                  </a:lnTo>
                  <a:lnTo>
                    <a:pt x="377" y="33"/>
                  </a:lnTo>
                  <a:lnTo>
                    <a:pt x="377" y="34"/>
                  </a:lnTo>
                  <a:lnTo>
                    <a:pt x="380" y="47"/>
                  </a:lnTo>
                  <a:lnTo>
                    <a:pt x="380" y="48"/>
                  </a:lnTo>
                  <a:lnTo>
                    <a:pt x="380" y="49"/>
                  </a:lnTo>
                  <a:lnTo>
                    <a:pt x="385" y="62"/>
                  </a:lnTo>
                  <a:lnTo>
                    <a:pt x="385" y="63"/>
                  </a:lnTo>
                  <a:lnTo>
                    <a:pt x="387" y="65"/>
                  </a:lnTo>
                  <a:lnTo>
                    <a:pt x="387" y="65"/>
                  </a:lnTo>
                  <a:lnTo>
                    <a:pt x="388" y="65"/>
                  </a:lnTo>
                  <a:lnTo>
                    <a:pt x="391" y="66"/>
                  </a:lnTo>
                  <a:lnTo>
                    <a:pt x="392" y="68"/>
                  </a:lnTo>
                  <a:lnTo>
                    <a:pt x="394" y="68"/>
                  </a:lnTo>
                  <a:lnTo>
                    <a:pt x="396" y="68"/>
                  </a:lnTo>
                  <a:lnTo>
                    <a:pt x="399" y="69"/>
                  </a:lnTo>
                  <a:lnTo>
                    <a:pt x="402" y="69"/>
                  </a:lnTo>
                  <a:lnTo>
                    <a:pt x="403" y="69"/>
                  </a:lnTo>
                  <a:lnTo>
                    <a:pt x="403" y="69"/>
                  </a:lnTo>
                  <a:lnTo>
                    <a:pt x="409" y="70"/>
                  </a:lnTo>
                  <a:lnTo>
                    <a:pt x="409" y="70"/>
                  </a:lnTo>
                  <a:lnTo>
                    <a:pt x="410" y="72"/>
                  </a:lnTo>
                  <a:lnTo>
                    <a:pt x="410" y="72"/>
                  </a:lnTo>
                  <a:lnTo>
                    <a:pt x="412" y="73"/>
                  </a:lnTo>
                  <a:lnTo>
                    <a:pt x="415" y="79"/>
                  </a:lnTo>
                  <a:lnTo>
                    <a:pt x="415" y="80"/>
                  </a:lnTo>
                  <a:lnTo>
                    <a:pt x="415" y="80"/>
                  </a:lnTo>
                  <a:lnTo>
                    <a:pt x="415" y="82"/>
                  </a:lnTo>
                  <a:lnTo>
                    <a:pt x="413" y="82"/>
                  </a:lnTo>
                  <a:lnTo>
                    <a:pt x="413" y="83"/>
                  </a:lnTo>
                  <a:lnTo>
                    <a:pt x="413" y="84"/>
                  </a:lnTo>
                  <a:lnTo>
                    <a:pt x="413" y="84"/>
                  </a:lnTo>
                  <a:lnTo>
                    <a:pt x="413" y="86"/>
                  </a:lnTo>
                  <a:lnTo>
                    <a:pt x="415" y="86"/>
                  </a:lnTo>
                  <a:lnTo>
                    <a:pt x="420" y="90"/>
                  </a:lnTo>
                  <a:lnTo>
                    <a:pt x="422" y="92"/>
                  </a:lnTo>
                  <a:lnTo>
                    <a:pt x="423" y="92"/>
                  </a:lnTo>
                  <a:lnTo>
                    <a:pt x="424" y="93"/>
                  </a:lnTo>
                  <a:lnTo>
                    <a:pt x="426" y="93"/>
                  </a:lnTo>
                  <a:lnTo>
                    <a:pt x="426" y="94"/>
                  </a:lnTo>
                  <a:lnTo>
                    <a:pt x="427" y="94"/>
                  </a:lnTo>
                  <a:lnTo>
                    <a:pt x="429" y="96"/>
                  </a:lnTo>
                  <a:lnTo>
                    <a:pt x="429" y="96"/>
                  </a:lnTo>
                  <a:lnTo>
                    <a:pt x="429" y="97"/>
                  </a:lnTo>
                  <a:lnTo>
                    <a:pt x="430" y="99"/>
                  </a:lnTo>
                  <a:lnTo>
                    <a:pt x="430" y="101"/>
                  </a:lnTo>
                  <a:lnTo>
                    <a:pt x="430" y="103"/>
                  </a:lnTo>
                  <a:lnTo>
                    <a:pt x="430" y="104"/>
                  </a:lnTo>
                  <a:lnTo>
                    <a:pt x="430" y="104"/>
                  </a:lnTo>
                  <a:lnTo>
                    <a:pt x="433" y="107"/>
                  </a:lnTo>
                  <a:lnTo>
                    <a:pt x="434" y="108"/>
                  </a:lnTo>
                  <a:lnTo>
                    <a:pt x="437" y="108"/>
                  </a:lnTo>
                  <a:lnTo>
                    <a:pt x="438" y="110"/>
                  </a:lnTo>
                  <a:lnTo>
                    <a:pt x="443" y="113"/>
                  </a:lnTo>
                  <a:lnTo>
                    <a:pt x="446" y="114"/>
                  </a:lnTo>
                  <a:lnTo>
                    <a:pt x="447" y="115"/>
                  </a:lnTo>
                  <a:lnTo>
                    <a:pt x="447" y="115"/>
                  </a:lnTo>
                  <a:lnTo>
                    <a:pt x="447" y="115"/>
                  </a:lnTo>
                  <a:lnTo>
                    <a:pt x="448" y="121"/>
                  </a:lnTo>
                  <a:lnTo>
                    <a:pt x="448" y="124"/>
                  </a:lnTo>
                  <a:lnTo>
                    <a:pt x="448" y="125"/>
                  </a:lnTo>
                  <a:lnTo>
                    <a:pt x="446" y="136"/>
                  </a:lnTo>
                  <a:lnTo>
                    <a:pt x="444" y="139"/>
                  </a:lnTo>
                  <a:lnTo>
                    <a:pt x="444" y="139"/>
                  </a:lnTo>
                  <a:lnTo>
                    <a:pt x="444" y="141"/>
                  </a:lnTo>
                  <a:lnTo>
                    <a:pt x="444" y="141"/>
                  </a:lnTo>
                  <a:lnTo>
                    <a:pt x="443" y="141"/>
                  </a:lnTo>
                  <a:lnTo>
                    <a:pt x="441" y="142"/>
                  </a:lnTo>
                  <a:lnTo>
                    <a:pt x="438" y="143"/>
                  </a:lnTo>
                  <a:lnTo>
                    <a:pt x="437" y="145"/>
                  </a:lnTo>
                  <a:lnTo>
                    <a:pt x="437" y="146"/>
                  </a:lnTo>
                  <a:lnTo>
                    <a:pt x="436" y="146"/>
                  </a:lnTo>
                  <a:lnTo>
                    <a:pt x="434" y="152"/>
                  </a:lnTo>
                  <a:lnTo>
                    <a:pt x="434" y="152"/>
                  </a:lnTo>
                  <a:lnTo>
                    <a:pt x="434" y="153"/>
                  </a:lnTo>
                  <a:lnTo>
                    <a:pt x="434" y="155"/>
                  </a:lnTo>
                  <a:lnTo>
                    <a:pt x="434" y="156"/>
                  </a:lnTo>
                  <a:lnTo>
                    <a:pt x="434" y="159"/>
                  </a:lnTo>
                  <a:lnTo>
                    <a:pt x="433" y="159"/>
                  </a:lnTo>
                  <a:lnTo>
                    <a:pt x="427" y="163"/>
                  </a:lnTo>
                  <a:lnTo>
                    <a:pt x="427" y="163"/>
                  </a:lnTo>
                  <a:lnTo>
                    <a:pt x="426" y="163"/>
                  </a:lnTo>
                  <a:lnTo>
                    <a:pt x="413" y="169"/>
                  </a:lnTo>
                  <a:lnTo>
                    <a:pt x="406" y="170"/>
                  </a:lnTo>
                  <a:lnTo>
                    <a:pt x="398" y="171"/>
                  </a:lnTo>
                  <a:lnTo>
                    <a:pt x="395" y="171"/>
                  </a:lnTo>
                  <a:lnTo>
                    <a:pt x="392" y="171"/>
                  </a:lnTo>
                  <a:lnTo>
                    <a:pt x="391" y="171"/>
                  </a:lnTo>
                  <a:lnTo>
                    <a:pt x="389" y="171"/>
                  </a:lnTo>
                  <a:lnTo>
                    <a:pt x="388" y="171"/>
                  </a:lnTo>
                  <a:lnTo>
                    <a:pt x="388" y="171"/>
                  </a:lnTo>
                  <a:lnTo>
                    <a:pt x="387" y="173"/>
                  </a:lnTo>
                  <a:lnTo>
                    <a:pt x="387" y="174"/>
                  </a:lnTo>
                  <a:lnTo>
                    <a:pt x="385" y="174"/>
                  </a:lnTo>
                  <a:lnTo>
                    <a:pt x="385" y="176"/>
                  </a:lnTo>
                  <a:lnTo>
                    <a:pt x="382" y="183"/>
                  </a:lnTo>
                  <a:lnTo>
                    <a:pt x="382" y="184"/>
                  </a:lnTo>
                  <a:lnTo>
                    <a:pt x="382" y="184"/>
                  </a:lnTo>
                  <a:lnTo>
                    <a:pt x="382" y="187"/>
                  </a:lnTo>
                  <a:lnTo>
                    <a:pt x="382" y="188"/>
                  </a:lnTo>
                  <a:lnTo>
                    <a:pt x="382" y="190"/>
                  </a:lnTo>
                  <a:lnTo>
                    <a:pt x="382" y="191"/>
                  </a:lnTo>
                  <a:lnTo>
                    <a:pt x="384" y="191"/>
                  </a:lnTo>
                  <a:lnTo>
                    <a:pt x="385" y="192"/>
                  </a:lnTo>
                  <a:lnTo>
                    <a:pt x="387" y="194"/>
                  </a:lnTo>
                  <a:lnTo>
                    <a:pt x="389" y="195"/>
                  </a:lnTo>
                  <a:lnTo>
                    <a:pt x="389" y="197"/>
                  </a:lnTo>
                  <a:lnTo>
                    <a:pt x="391" y="197"/>
                  </a:lnTo>
                  <a:lnTo>
                    <a:pt x="392" y="198"/>
                  </a:lnTo>
                  <a:lnTo>
                    <a:pt x="392" y="199"/>
                  </a:lnTo>
                  <a:lnTo>
                    <a:pt x="392" y="201"/>
                  </a:lnTo>
                  <a:lnTo>
                    <a:pt x="392" y="202"/>
                  </a:lnTo>
                  <a:lnTo>
                    <a:pt x="392" y="205"/>
                  </a:lnTo>
                  <a:lnTo>
                    <a:pt x="392" y="206"/>
                  </a:lnTo>
                  <a:lnTo>
                    <a:pt x="392" y="209"/>
                  </a:lnTo>
                  <a:lnTo>
                    <a:pt x="392" y="209"/>
                  </a:lnTo>
                  <a:lnTo>
                    <a:pt x="392" y="211"/>
                  </a:lnTo>
                  <a:lnTo>
                    <a:pt x="391" y="212"/>
                  </a:lnTo>
                  <a:lnTo>
                    <a:pt x="391" y="212"/>
                  </a:lnTo>
                  <a:lnTo>
                    <a:pt x="388" y="215"/>
                  </a:lnTo>
                  <a:lnTo>
                    <a:pt x="387" y="216"/>
                  </a:lnTo>
                  <a:lnTo>
                    <a:pt x="384" y="219"/>
                  </a:lnTo>
                  <a:lnTo>
                    <a:pt x="384" y="221"/>
                  </a:lnTo>
                  <a:lnTo>
                    <a:pt x="382" y="221"/>
                  </a:lnTo>
                  <a:lnTo>
                    <a:pt x="382" y="222"/>
                  </a:lnTo>
                  <a:lnTo>
                    <a:pt x="382" y="223"/>
                  </a:lnTo>
                  <a:lnTo>
                    <a:pt x="382" y="223"/>
                  </a:lnTo>
                  <a:lnTo>
                    <a:pt x="382" y="225"/>
                  </a:lnTo>
                  <a:lnTo>
                    <a:pt x="382" y="225"/>
                  </a:lnTo>
                  <a:lnTo>
                    <a:pt x="382" y="226"/>
                  </a:lnTo>
                  <a:lnTo>
                    <a:pt x="381" y="229"/>
                  </a:lnTo>
                  <a:lnTo>
                    <a:pt x="381" y="232"/>
                  </a:lnTo>
                  <a:lnTo>
                    <a:pt x="381" y="232"/>
                  </a:lnTo>
                  <a:lnTo>
                    <a:pt x="380" y="233"/>
                  </a:lnTo>
                  <a:lnTo>
                    <a:pt x="380" y="235"/>
                  </a:lnTo>
                  <a:lnTo>
                    <a:pt x="378" y="235"/>
                  </a:lnTo>
                  <a:lnTo>
                    <a:pt x="377" y="236"/>
                  </a:lnTo>
                  <a:lnTo>
                    <a:pt x="377" y="236"/>
                  </a:lnTo>
                  <a:lnTo>
                    <a:pt x="373" y="237"/>
                  </a:lnTo>
                  <a:lnTo>
                    <a:pt x="371" y="237"/>
                  </a:lnTo>
                  <a:lnTo>
                    <a:pt x="370" y="237"/>
                  </a:lnTo>
                  <a:lnTo>
                    <a:pt x="367" y="237"/>
                  </a:lnTo>
                  <a:lnTo>
                    <a:pt x="367" y="239"/>
                  </a:lnTo>
                  <a:lnTo>
                    <a:pt x="364" y="240"/>
                  </a:lnTo>
                  <a:lnTo>
                    <a:pt x="361" y="242"/>
                  </a:lnTo>
                  <a:lnTo>
                    <a:pt x="361" y="243"/>
                  </a:lnTo>
                  <a:lnTo>
                    <a:pt x="361" y="243"/>
                  </a:lnTo>
                  <a:lnTo>
                    <a:pt x="360" y="243"/>
                  </a:lnTo>
                  <a:lnTo>
                    <a:pt x="360" y="244"/>
                  </a:lnTo>
                  <a:lnTo>
                    <a:pt x="360" y="244"/>
                  </a:lnTo>
                  <a:lnTo>
                    <a:pt x="361" y="246"/>
                  </a:lnTo>
                  <a:lnTo>
                    <a:pt x="363" y="246"/>
                  </a:lnTo>
                  <a:lnTo>
                    <a:pt x="363" y="246"/>
                  </a:lnTo>
                  <a:lnTo>
                    <a:pt x="363" y="247"/>
                  </a:lnTo>
                  <a:lnTo>
                    <a:pt x="363" y="249"/>
                  </a:lnTo>
                  <a:lnTo>
                    <a:pt x="364" y="249"/>
                  </a:lnTo>
                  <a:lnTo>
                    <a:pt x="364" y="250"/>
                  </a:lnTo>
                  <a:lnTo>
                    <a:pt x="363" y="257"/>
                  </a:lnTo>
                  <a:lnTo>
                    <a:pt x="363" y="257"/>
                  </a:lnTo>
                  <a:lnTo>
                    <a:pt x="363" y="257"/>
                  </a:lnTo>
                  <a:lnTo>
                    <a:pt x="363" y="257"/>
                  </a:lnTo>
                  <a:lnTo>
                    <a:pt x="361" y="257"/>
                  </a:lnTo>
                  <a:lnTo>
                    <a:pt x="359" y="258"/>
                  </a:lnTo>
                  <a:lnTo>
                    <a:pt x="354" y="257"/>
                  </a:lnTo>
                  <a:lnTo>
                    <a:pt x="354" y="256"/>
                  </a:lnTo>
                  <a:lnTo>
                    <a:pt x="353" y="256"/>
                  </a:lnTo>
                  <a:lnTo>
                    <a:pt x="353" y="254"/>
                  </a:lnTo>
                  <a:lnTo>
                    <a:pt x="353" y="254"/>
                  </a:lnTo>
                  <a:lnTo>
                    <a:pt x="352" y="253"/>
                  </a:lnTo>
                  <a:lnTo>
                    <a:pt x="340" y="243"/>
                  </a:lnTo>
                  <a:lnTo>
                    <a:pt x="336" y="239"/>
                  </a:lnTo>
                  <a:lnTo>
                    <a:pt x="319" y="239"/>
                  </a:lnTo>
                  <a:lnTo>
                    <a:pt x="315" y="239"/>
                  </a:lnTo>
                  <a:lnTo>
                    <a:pt x="309" y="239"/>
                  </a:lnTo>
                  <a:lnTo>
                    <a:pt x="302" y="240"/>
                  </a:lnTo>
                  <a:lnTo>
                    <a:pt x="277" y="240"/>
                  </a:lnTo>
                  <a:lnTo>
                    <a:pt x="251" y="240"/>
                  </a:lnTo>
                  <a:lnTo>
                    <a:pt x="238" y="240"/>
                  </a:lnTo>
                  <a:lnTo>
                    <a:pt x="197" y="242"/>
                  </a:lnTo>
                  <a:lnTo>
                    <a:pt x="175" y="242"/>
                  </a:lnTo>
                  <a:lnTo>
                    <a:pt x="152" y="242"/>
                  </a:lnTo>
                  <a:lnTo>
                    <a:pt x="145" y="242"/>
                  </a:lnTo>
                  <a:lnTo>
                    <a:pt x="124" y="242"/>
                  </a:lnTo>
                  <a:lnTo>
                    <a:pt x="119" y="242"/>
                  </a:lnTo>
                  <a:lnTo>
                    <a:pt x="91" y="242"/>
                  </a:lnTo>
                  <a:lnTo>
                    <a:pt x="88" y="240"/>
                  </a:lnTo>
                  <a:lnTo>
                    <a:pt x="70" y="240"/>
                  </a:lnTo>
                  <a:lnTo>
                    <a:pt x="61" y="240"/>
                  </a:lnTo>
                  <a:lnTo>
                    <a:pt x="60" y="240"/>
                  </a:lnTo>
                  <a:lnTo>
                    <a:pt x="60" y="239"/>
                  </a:lnTo>
                  <a:lnTo>
                    <a:pt x="60" y="237"/>
                  </a:lnTo>
                  <a:lnTo>
                    <a:pt x="60" y="236"/>
                  </a:lnTo>
                  <a:lnTo>
                    <a:pt x="60" y="235"/>
                  </a:lnTo>
                  <a:lnTo>
                    <a:pt x="59" y="235"/>
                  </a:lnTo>
                  <a:lnTo>
                    <a:pt x="54" y="228"/>
                  </a:lnTo>
                  <a:lnTo>
                    <a:pt x="56" y="223"/>
                  </a:lnTo>
                  <a:lnTo>
                    <a:pt x="56" y="218"/>
                  </a:lnTo>
                  <a:lnTo>
                    <a:pt x="57" y="216"/>
                  </a:lnTo>
                  <a:lnTo>
                    <a:pt x="56" y="216"/>
                  </a:lnTo>
                  <a:lnTo>
                    <a:pt x="53" y="194"/>
                  </a:lnTo>
                  <a:lnTo>
                    <a:pt x="50" y="185"/>
                  </a:lnTo>
                  <a:lnTo>
                    <a:pt x="47" y="180"/>
                  </a:lnTo>
                  <a:lnTo>
                    <a:pt x="47" y="180"/>
                  </a:lnTo>
                  <a:lnTo>
                    <a:pt x="49" y="174"/>
                  </a:lnTo>
                  <a:lnTo>
                    <a:pt x="50" y="170"/>
                  </a:lnTo>
                  <a:lnTo>
                    <a:pt x="50" y="170"/>
                  </a:lnTo>
                  <a:lnTo>
                    <a:pt x="50" y="169"/>
                  </a:lnTo>
                  <a:lnTo>
                    <a:pt x="49" y="169"/>
                  </a:lnTo>
                  <a:lnTo>
                    <a:pt x="49" y="169"/>
                  </a:lnTo>
                  <a:lnTo>
                    <a:pt x="44" y="167"/>
                  </a:lnTo>
                  <a:lnTo>
                    <a:pt x="40" y="163"/>
                  </a:lnTo>
                  <a:lnTo>
                    <a:pt x="37" y="155"/>
                  </a:lnTo>
                  <a:lnTo>
                    <a:pt x="36" y="150"/>
                  </a:lnTo>
                  <a:lnTo>
                    <a:pt x="36" y="150"/>
                  </a:lnTo>
                  <a:lnTo>
                    <a:pt x="39" y="146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0" y="141"/>
                  </a:lnTo>
                  <a:lnTo>
                    <a:pt x="33" y="131"/>
                  </a:lnTo>
                  <a:lnTo>
                    <a:pt x="26" y="120"/>
                  </a:lnTo>
                  <a:lnTo>
                    <a:pt x="21" y="110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21" y="106"/>
                  </a:lnTo>
                  <a:lnTo>
                    <a:pt x="21" y="104"/>
                  </a:lnTo>
                  <a:lnTo>
                    <a:pt x="21" y="103"/>
                  </a:lnTo>
                  <a:lnTo>
                    <a:pt x="21" y="103"/>
                  </a:lnTo>
                  <a:lnTo>
                    <a:pt x="21" y="101"/>
                  </a:lnTo>
                  <a:lnTo>
                    <a:pt x="21" y="100"/>
                  </a:lnTo>
                  <a:lnTo>
                    <a:pt x="19" y="97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4"/>
                  </a:lnTo>
                  <a:lnTo>
                    <a:pt x="15" y="94"/>
                  </a:lnTo>
                  <a:lnTo>
                    <a:pt x="16" y="93"/>
                  </a:lnTo>
                  <a:lnTo>
                    <a:pt x="16" y="89"/>
                  </a:lnTo>
                  <a:lnTo>
                    <a:pt x="18" y="87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6" y="84"/>
                  </a:lnTo>
                  <a:lnTo>
                    <a:pt x="16" y="83"/>
                  </a:lnTo>
                  <a:lnTo>
                    <a:pt x="15" y="83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1" y="82"/>
                  </a:lnTo>
                  <a:lnTo>
                    <a:pt x="11" y="80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61" name="Freeform 14"/>
            <p:cNvSpPr>
              <a:spLocks/>
            </p:cNvSpPr>
            <p:nvPr/>
          </p:nvSpPr>
          <p:spPr bwMode="auto">
            <a:xfrm>
              <a:off x="5996342" y="4364085"/>
              <a:ext cx="605408" cy="586295"/>
            </a:xfrm>
            <a:custGeom>
              <a:avLst/>
              <a:gdLst>
                <a:gd name="T0" fmla="*/ 281 w 348"/>
                <a:gd name="T1" fmla="*/ 224 h 337"/>
                <a:gd name="T2" fmla="*/ 264 w 348"/>
                <a:gd name="T3" fmla="*/ 217 h 337"/>
                <a:gd name="T4" fmla="*/ 250 w 348"/>
                <a:gd name="T5" fmla="*/ 239 h 337"/>
                <a:gd name="T6" fmla="*/ 299 w 348"/>
                <a:gd name="T7" fmla="*/ 236 h 337"/>
                <a:gd name="T8" fmla="*/ 304 w 348"/>
                <a:gd name="T9" fmla="*/ 236 h 337"/>
                <a:gd name="T10" fmla="*/ 290 w 348"/>
                <a:gd name="T11" fmla="*/ 248 h 337"/>
                <a:gd name="T12" fmla="*/ 304 w 348"/>
                <a:gd name="T13" fmla="*/ 259 h 337"/>
                <a:gd name="T14" fmla="*/ 316 w 348"/>
                <a:gd name="T15" fmla="*/ 242 h 337"/>
                <a:gd name="T16" fmla="*/ 316 w 348"/>
                <a:gd name="T17" fmla="*/ 262 h 337"/>
                <a:gd name="T18" fmla="*/ 316 w 348"/>
                <a:gd name="T19" fmla="*/ 298 h 337"/>
                <a:gd name="T20" fmla="*/ 345 w 348"/>
                <a:gd name="T21" fmla="*/ 322 h 337"/>
                <a:gd name="T22" fmla="*/ 323 w 348"/>
                <a:gd name="T23" fmla="*/ 336 h 337"/>
                <a:gd name="T24" fmla="*/ 323 w 348"/>
                <a:gd name="T25" fmla="*/ 330 h 337"/>
                <a:gd name="T26" fmla="*/ 325 w 348"/>
                <a:gd name="T27" fmla="*/ 316 h 337"/>
                <a:gd name="T28" fmla="*/ 323 w 348"/>
                <a:gd name="T29" fmla="*/ 323 h 337"/>
                <a:gd name="T30" fmla="*/ 295 w 348"/>
                <a:gd name="T31" fmla="*/ 302 h 337"/>
                <a:gd name="T32" fmla="*/ 271 w 348"/>
                <a:gd name="T33" fmla="*/ 286 h 337"/>
                <a:gd name="T34" fmla="*/ 271 w 348"/>
                <a:gd name="T35" fmla="*/ 293 h 337"/>
                <a:gd name="T36" fmla="*/ 275 w 348"/>
                <a:gd name="T37" fmla="*/ 312 h 337"/>
                <a:gd name="T38" fmla="*/ 262 w 348"/>
                <a:gd name="T39" fmla="*/ 323 h 337"/>
                <a:gd name="T40" fmla="*/ 243 w 348"/>
                <a:gd name="T41" fmla="*/ 307 h 337"/>
                <a:gd name="T42" fmla="*/ 216 w 348"/>
                <a:gd name="T43" fmla="*/ 318 h 337"/>
                <a:gd name="T44" fmla="*/ 208 w 348"/>
                <a:gd name="T45" fmla="*/ 315 h 337"/>
                <a:gd name="T46" fmla="*/ 192 w 348"/>
                <a:gd name="T47" fmla="*/ 311 h 337"/>
                <a:gd name="T48" fmla="*/ 199 w 348"/>
                <a:gd name="T49" fmla="*/ 304 h 337"/>
                <a:gd name="T50" fmla="*/ 201 w 348"/>
                <a:gd name="T51" fmla="*/ 311 h 337"/>
                <a:gd name="T52" fmla="*/ 181 w 348"/>
                <a:gd name="T53" fmla="*/ 286 h 337"/>
                <a:gd name="T54" fmla="*/ 164 w 348"/>
                <a:gd name="T55" fmla="*/ 269 h 337"/>
                <a:gd name="T56" fmla="*/ 132 w 348"/>
                <a:gd name="T57" fmla="*/ 283 h 337"/>
                <a:gd name="T58" fmla="*/ 79 w 348"/>
                <a:gd name="T59" fmla="*/ 274 h 337"/>
                <a:gd name="T60" fmla="*/ 23 w 348"/>
                <a:gd name="T61" fmla="*/ 269 h 337"/>
                <a:gd name="T62" fmla="*/ 14 w 348"/>
                <a:gd name="T63" fmla="*/ 273 h 337"/>
                <a:gd name="T64" fmla="*/ 13 w 348"/>
                <a:gd name="T65" fmla="*/ 262 h 337"/>
                <a:gd name="T66" fmla="*/ 18 w 348"/>
                <a:gd name="T67" fmla="*/ 250 h 337"/>
                <a:gd name="T68" fmla="*/ 24 w 348"/>
                <a:gd name="T69" fmla="*/ 235 h 337"/>
                <a:gd name="T70" fmla="*/ 23 w 348"/>
                <a:gd name="T71" fmla="*/ 200 h 337"/>
                <a:gd name="T72" fmla="*/ 35 w 348"/>
                <a:gd name="T73" fmla="*/ 150 h 337"/>
                <a:gd name="T74" fmla="*/ 16 w 348"/>
                <a:gd name="T75" fmla="*/ 117 h 337"/>
                <a:gd name="T76" fmla="*/ 11 w 348"/>
                <a:gd name="T77" fmla="*/ 95 h 337"/>
                <a:gd name="T78" fmla="*/ 0 w 348"/>
                <a:gd name="T79" fmla="*/ 84 h 337"/>
                <a:gd name="T80" fmla="*/ 198 w 348"/>
                <a:gd name="T81" fmla="*/ 0 h 337"/>
                <a:gd name="T82" fmla="*/ 196 w 348"/>
                <a:gd name="T83" fmla="*/ 8 h 337"/>
                <a:gd name="T84" fmla="*/ 201 w 348"/>
                <a:gd name="T85" fmla="*/ 2 h 337"/>
                <a:gd name="T86" fmla="*/ 203 w 348"/>
                <a:gd name="T87" fmla="*/ 9 h 337"/>
                <a:gd name="T88" fmla="*/ 198 w 348"/>
                <a:gd name="T89" fmla="*/ 19 h 337"/>
                <a:gd name="T90" fmla="*/ 205 w 348"/>
                <a:gd name="T91" fmla="*/ 23 h 337"/>
                <a:gd name="T92" fmla="*/ 202 w 348"/>
                <a:gd name="T93" fmla="*/ 44 h 337"/>
                <a:gd name="T94" fmla="*/ 199 w 348"/>
                <a:gd name="T95" fmla="*/ 65 h 337"/>
                <a:gd name="T96" fmla="*/ 201 w 348"/>
                <a:gd name="T97" fmla="*/ 71 h 337"/>
                <a:gd name="T98" fmla="*/ 209 w 348"/>
                <a:gd name="T99" fmla="*/ 70 h 337"/>
                <a:gd name="T100" fmla="*/ 188 w 348"/>
                <a:gd name="T101" fmla="*/ 95 h 337"/>
                <a:gd name="T102" fmla="*/ 182 w 348"/>
                <a:gd name="T103" fmla="*/ 109 h 337"/>
                <a:gd name="T104" fmla="*/ 171 w 348"/>
                <a:gd name="T105" fmla="*/ 137 h 337"/>
                <a:gd name="T106" fmla="*/ 173 w 348"/>
                <a:gd name="T107" fmla="*/ 143 h 337"/>
                <a:gd name="T108" fmla="*/ 170 w 348"/>
                <a:gd name="T109" fmla="*/ 159 h 337"/>
                <a:gd name="T110" fmla="*/ 293 w 348"/>
                <a:gd name="T111" fmla="*/ 182 h 337"/>
                <a:gd name="T112" fmla="*/ 293 w 348"/>
                <a:gd name="T113" fmla="*/ 203 h 337"/>
                <a:gd name="T114" fmla="*/ 307 w 348"/>
                <a:gd name="T115" fmla="*/ 229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8" h="337">
                  <a:moveTo>
                    <a:pt x="309" y="235"/>
                  </a:moveTo>
                  <a:lnTo>
                    <a:pt x="309" y="236"/>
                  </a:lnTo>
                  <a:lnTo>
                    <a:pt x="307" y="236"/>
                  </a:lnTo>
                  <a:lnTo>
                    <a:pt x="307" y="235"/>
                  </a:lnTo>
                  <a:lnTo>
                    <a:pt x="306" y="235"/>
                  </a:lnTo>
                  <a:lnTo>
                    <a:pt x="300" y="234"/>
                  </a:lnTo>
                  <a:lnTo>
                    <a:pt x="292" y="229"/>
                  </a:lnTo>
                  <a:lnTo>
                    <a:pt x="281" y="227"/>
                  </a:lnTo>
                  <a:lnTo>
                    <a:pt x="281" y="227"/>
                  </a:lnTo>
                  <a:lnTo>
                    <a:pt x="281" y="224"/>
                  </a:lnTo>
                  <a:lnTo>
                    <a:pt x="279" y="222"/>
                  </a:lnTo>
                  <a:lnTo>
                    <a:pt x="279" y="222"/>
                  </a:lnTo>
                  <a:lnTo>
                    <a:pt x="279" y="221"/>
                  </a:lnTo>
                  <a:lnTo>
                    <a:pt x="275" y="218"/>
                  </a:lnTo>
                  <a:lnTo>
                    <a:pt x="274" y="218"/>
                  </a:lnTo>
                  <a:lnTo>
                    <a:pt x="274" y="218"/>
                  </a:lnTo>
                  <a:lnTo>
                    <a:pt x="267" y="217"/>
                  </a:lnTo>
                  <a:lnTo>
                    <a:pt x="265" y="217"/>
                  </a:lnTo>
                  <a:lnTo>
                    <a:pt x="265" y="217"/>
                  </a:lnTo>
                  <a:lnTo>
                    <a:pt x="264" y="217"/>
                  </a:lnTo>
                  <a:lnTo>
                    <a:pt x="264" y="217"/>
                  </a:lnTo>
                  <a:lnTo>
                    <a:pt x="262" y="218"/>
                  </a:lnTo>
                  <a:lnTo>
                    <a:pt x="251" y="231"/>
                  </a:lnTo>
                  <a:lnTo>
                    <a:pt x="250" y="232"/>
                  </a:lnTo>
                  <a:lnTo>
                    <a:pt x="250" y="232"/>
                  </a:lnTo>
                  <a:lnTo>
                    <a:pt x="250" y="234"/>
                  </a:lnTo>
                  <a:lnTo>
                    <a:pt x="250" y="235"/>
                  </a:lnTo>
                  <a:lnTo>
                    <a:pt x="250" y="236"/>
                  </a:lnTo>
                  <a:lnTo>
                    <a:pt x="250" y="238"/>
                  </a:lnTo>
                  <a:lnTo>
                    <a:pt x="250" y="239"/>
                  </a:lnTo>
                  <a:lnTo>
                    <a:pt x="250" y="239"/>
                  </a:lnTo>
                  <a:lnTo>
                    <a:pt x="251" y="241"/>
                  </a:lnTo>
                  <a:lnTo>
                    <a:pt x="255" y="243"/>
                  </a:lnTo>
                  <a:lnTo>
                    <a:pt x="267" y="246"/>
                  </a:lnTo>
                  <a:lnTo>
                    <a:pt x="268" y="246"/>
                  </a:lnTo>
                  <a:lnTo>
                    <a:pt x="269" y="246"/>
                  </a:lnTo>
                  <a:lnTo>
                    <a:pt x="276" y="245"/>
                  </a:lnTo>
                  <a:lnTo>
                    <a:pt x="278" y="245"/>
                  </a:lnTo>
                  <a:lnTo>
                    <a:pt x="292" y="241"/>
                  </a:lnTo>
                  <a:lnTo>
                    <a:pt x="299" y="236"/>
                  </a:lnTo>
                  <a:lnTo>
                    <a:pt x="299" y="236"/>
                  </a:lnTo>
                  <a:lnTo>
                    <a:pt x="299" y="236"/>
                  </a:lnTo>
                  <a:lnTo>
                    <a:pt x="297" y="236"/>
                  </a:lnTo>
                  <a:lnTo>
                    <a:pt x="297" y="236"/>
                  </a:lnTo>
                  <a:lnTo>
                    <a:pt x="299" y="236"/>
                  </a:lnTo>
                  <a:lnTo>
                    <a:pt x="299" y="236"/>
                  </a:lnTo>
                  <a:lnTo>
                    <a:pt x="300" y="235"/>
                  </a:lnTo>
                  <a:lnTo>
                    <a:pt x="302" y="235"/>
                  </a:lnTo>
                  <a:lnTo>
                    <a:pt x="302" y="235"/>
                  </a:lnTo>
                  <a:lnTo>
                    <a:pt x="304" y="236"/>
                  </a:lnTo>
                  <a:lnTo>
                    <a:pt x="303" y="238"/>
                  </a:lnTo>
                  <a:lnTo>
                    <a:pt x="299" y="243"/>
                  </a:lnTo>
                  <a:lnTo>
                    <a:pt x="296" y="245"/>
                  </a:lnTo>
                  <a:lnTo>
                    <a:pt x="295" y="245"/>
                  </a:lnTo>
                  <a:lnTo>
                    <a:pt x="295" y="245"/>
                  </a:lnTo>
                  <a:lnTo>
                    <a:pt x="293" y="245"/>
                  </a:lnTo>
                  <a:lnTo>
                    <a:pt x="292" y="245"/>
                  </a:lnTo>
                  <a:lnTo>
                    <a:pt x="290" y="245"/>
                  </a:lnTo>
                  <a:lnTo>
                    <a:pt x="290" y="246"/>
                  </a:lnTo>
                  <a:lnTo>
                    <a:pt x="290" y="248"/>
                  </a:lnTo>
                  <a:lnTo>
                    <a:pt x="290" y="248"/>
                  </a:lnTo>
                  <a:lnTo>
                    <a:pt x="290" y="250"/>
                  </a:lnTo>
                  <a:lnTo>
                    <a:pt x="292" y="252"/>
                  </a:lnTo>
                  <a:lnTo>
                    <a:pt x="292" y="253"/>
                  </a:lnTo>
                  <a:lnTo>
                    <a:pt x="292" y="253"/>
                  </a:lnTo>
                  <a:lnTo>
                    <a:pt x="300" y="259"/>
                  </a:lnTo>
                  <a:lnTo>
                    <a:pt x="302" y="259"/>
                  </a:lnTo>
                  <a:lnTo>
                    <a:pt x="303" y="259"/>
                  </a:lnTo>
                  <a:lnTo>
                    <a:pt x="304" y="259"/>
                  </a:lnTo>
                  <a:lnTo>
                    <a:pt x="304" y="259"/>
                  </a:lnTo>
                  <a:lnTo>
                    <a:pt x="306" y="259"/>
                  </a:lnTo>
                  <a:lnTo>
                    <a:pt x="307" y="258"/>
                  </a:lnTo>
                  <a:lnTo>
                    <a:pt x="307" y="256"/>
                  </a:lnTo>
                  <a:lnTo>
                    <a:pt x="307" y="256"/>
                  </a:lnTo>
                  <a:lnTo>
                    <a:pt x="309" y="252"/>
                  </a:lnTo>
                  <a:lnTo>
                    <a:pt x="314" y="242"/>
                  </a:lnTo>
                  <a:lnTo>
                    <a:pt x="314" y="242"/>
                  </a:lnTo>
                  <a:lnTo>
                    <a:pt x="316" y="242"/>
                  </a:lnTo>
                  <a:lnTo>
                    <a:pt x="316" y="242"/>
                  </a:lnTo>
                  <a:lnTo>
                    <a:pt x="316" y="242"/>
                  </a:lnTo>
                  <a:lnTo>
                    <a:pt x="321" y="243"/>
                  </a:lnTo>
                  <a:lnTo>
                    <a:pt x="325" y="259"/>
                  </a:lnTo>
                  <a:lnTo>
                    <a:pt x="325" y="259"/>
                  </a:lnTo>
                  <a:lnTo>
                    <a:pt x="320" y="267"/>
                  </a:lnTo>
                  <a:lnTo>
                    <a:pt x="320" y="266"/>
                  </a:lnTo>
                  <a:lnTo>
                    <a:pt x="318" y="265"/>
                  </a:lnTo>
                  <a:lnTo>
                    <a:pt x="317" y="263"/>
                  </a:lnTo>
                  <a:lnTo>
                    <a:pt x="316" y="262"/>
                  </a:lnTo>
                  <a:lnTo>
                    <a:pt x="316" y="262"/>
                  </a:lnTo>
                  <a:lnTo>
                    <a:pt x="316" y="262"/>
                  </a:lnTo>
                  <a:lnTo>
                    <a:pt x="307" y="270"/>
                  </a:lnTo>
                  <a:lnTo>
                    <a:pt x="307" y="270"/>
                  </a:lnTo>
                  <a:lnTo>
                    <a:pt x="303" y="276"/>
                  </a:lnTo>
                  <a:lnTo>
                    <a:pt x="296" y="279"/>
                  </a:lnTo>
                  <a:lnTo>
                    <a:pt x="296" y="279"/>
                  </a:lnTo>
                  <a:lnTo>
                    <a:pt x="296" y="279"/>
                  </a:lnTo>
                  <a:lnTo>
                    <a:pt x="302" y="287"/>
                  </a:lnTo>
                  <a:lnTo>
                    <a:pt x="302" y="287"/>
                  </a:lnTo>
                  <a:lnTo>
                    <a:pt x="313" y="293"/>
                  </a:lnTo>
                  <a:lnTo>
                    <a:pt x="316" y="298"/>
                  </a:lnTo>
                  <a:lnTo>
                    <a:pt x="327" y="302"/>
                  </a:lnTo>
                  <a:lnTo>
                    <a:pt x="331" y="304"/>
                  </a:lnTo>
                  <a:lnTo>
                    <a:pt x="335" y="302"/>
                  </a:lnTo>
                  <a:lnTo>
                    <a:pt x="346" y="314"/>
                  </a:lnTo>
                  <a:lnTo>
                    <a:pt x="348" y="315"/>
                  </a:lnTo>
                  <a:lnTo>
                    <a:pt x="348" y="315"/>
                  </a:lnTo>
                  <a:lnTo>
                    <a:pt x="348" y="316"/>
                  </a:lnTo>
                  <a:lnTo>
                    <a:pt x="346" y="319"/>
                  </a:lnTo>
                  <a:lnTo>
                    <a:pt x="345" y="321"/>
                  </a:lnTo>
                  <a:lnTo>
                    <a:pt x="345" y="322"/>
                  </a:lnTo>
                  <a:lnTo>
                    <a:pt x="338" y="328"/>
                  </a:lnTo>
                  <a:lnTo>
                    <a:pt x="331" y="323"/>
                  </a:lnTo>
                  <a:lnTo>
                    <a:pt x="327" y="328"/>
                  </a:lnTo>
                  <a:lnTo>
                    <a:pt x="325" y="329"/>
                  </a:lnTo>
                  <a:lnTo>
                    <a:pt x="325" y="329"/>
                  </a:lnTo>
                  <a:lnTo>
                    <a:pt x="325" y="329"/>
                  </a:lnTo>
                  <a:lnTo>
                    <a:pt x="325" y="332"/>
                  </a:lnTo>
                  <a:lnTo>
                    <a:pt x="324" y="332"/>
                  </a:lnTo>
                  <a:lnTo>
                    <a:pt x="323" y="335"/>
                  </a:lnTo>
                  <a:lnTo>
                    <a:pt x="323" y="336"/>
                  </a:lnTo>
                  <a:lnTo>
                    <a:pt x="321" y="336"/>
                  </a:lnTo>
                  <a:lnTo>
                    <a:pt x="321" y="336"/>
                  </a:lnTo>
                  <a:lnTo>
                    <a:pt x="320" y="337"/>
                  </a:lnTo>
                  <a:lnTo>
                    <a:pt x="320" y="337"/>
                  </a:lnTo>
                  <a:lnTo>
                    <a:pt x="320" y="336"/>
                  </a:lnTo>
                  <a:lnTo>
                    <a:pt x="320" y="333"/>
                  </a:lnTo>
                  <a:lnTo>
                    <a:pt x="321" y="332"/>
                  </a:lnTo>
                  <a:lnTo>
                    <a:pt x="321" y="332"/>
                  </a:lnTo>
                  <a:lnTo>
                    <a:pt x="323" y="332"/>
                  </a:lnTo>
                  <a:lnTo>
                    <a:pt x="323" y="330"/>
                  </a:lnTo>
                  <a:lnTo>
                    <a:pt x="327" y="325"/>
                  </a:lnTo>
                  <a:lnTo>
                    <a:pt x="327" y="323"/>
                  </a:lnTo>
                  <a:lnTo>
                    <a:pt x="330" y="319"/>
                  </a:lnTo>
                  <a:lnTo>
                    <a:pt x="330" y="318"/>
                  </a:lnTo>
                  <a:lnTo>
                    <a:pt x="330" y="318"/>
                  </a:lnTo>
                  <a:lnTo>
                    <a:pt x="325" y="316"/>
                  </a:lnTo>
                  <a:lnTo>
                    <a:pt x="325" y="316"/>
                  </a:lnTo>
                  <a:lnTo>
                    <a:pt x="325" y="316"/>
                  </a:lnTo>
                  <a:lnTo>
                    <a:pt x="325" y="316"/>
                  </a:lnTo>
                  <a:lnTo>
                    <a:pt x="325" y="316"/>
                  </a:lnTo>
                  <a:lnTo>
                    <a:pt x="325" y="318"/>
                  </a:lnTo>
                  <a:lnTo>
                    <a:pt x="325" y="318"/>
                  </a:lnTo>
                  <a:lnTo>
                    <a:pt x="325" y="319"/>
                  </a:lnTo>
                  <a:lnTo>
                    <a:pt x="325" y="321"/>
                  </a:lnTo>
                  <a:lnTo>
                    <a:pt x="325" y="321"/>
                  </a:lnTo>
                  <a:lnTo>
                    <a:pt x="325" y="322"/>
                  </a:lnTo>
                  <a:lnTo>
                    <a:pt x="325" y="323"/>
                  </a:lnTo>
                  <a:lnTo>
                    <a:pt x="324" y="323"/>
                  </a:lnTo>
                  <a:lnTo>
                    <a:pt x="324" y="323"/>
                  </a:lnTo>
                  <a:lnTo>
                    <a:pt x="323" y="323"/>
                  </a:lnTo>
                  <a:lnTo>
                    <a:pt x="323" y="323"/>
                  </a:lnTo>
                  <a:lnTo>
                    <a:pt x="321" y="323"/>
                  </a:lnTo>
                  <a:lnTo>
                    <a:pt x="321" y="323"/>
                  </a:lnTo>
                  <a:lnTo>
                    <a:pt x="321" y="323"/>
                  </a:lnTo>
                  <a:lnTo>
                    <a:pt x="316" y="312"/>
                  </a:lnTo>
                  <a:lnTo>
                    <a:pt x="307" y="311"/>
                  </a:lnTo>
                  <a:lnTo>
                    <a:pt x="306" y="309"/>
                  </a:lnTo>
                  <a:lnTo>
                    <a:pt x="306" y="309"/>
                  </a:lnTo>
                  <a:lnTo>
                    <a:pt x="299" y="307"/>
                  </a:lnTo>
                  <a:lnTo>
                    <a:pt x="295" y="302"/>
                  </a:lnTo>
                  <a:lnTo>
                    <a:pt x="295" y="302"/>
                  </a:lnTo>
                  <a:lnTo>
                    <a:pt x="296" y="301"/>
                  </a:lnTo>
                  <a:lnTo>
                    <a:pt x="296" y="301"/>
                  </a:lnTo>
                  <a:lnTo>
                    <a:pt x="296" y="301"/>
                  </a:lnTo>
                  <a:lnTo>
                    <a:pt x="296" y="301"/>
                  </a:lnTo>
                  <a:lnTo>
                    <a:pt x="295" y="297"/>
                  </a:lnTo>
                  <a:lnTo>
                    <a:pt x="295" y="297"/>
                  </a:lnTo>
                  <a:lnTo>
                    <a:pt x="290" y="294"/>
                  </a:lnTo>
                  <a:lnTo>
                    <a:pt x="281" y="291"/>
                  </a:lnTo>
                  <a:lnTo>
                    <a:pt x="271" y="286"/>
                  </a:lnTo>
                  <a:lnTo>
                    <a:pt x="267" y="284"/>
                  </a:lnTo>
                  <a:lnTo>
                    <a:pt x="267" y="284"/>
                  </a:lnTo>
                  <a:lnTo>
                    <a:pt x="265" y="286"/>
                  </a:lnTo>
                  <a:lnTo>
                    <a:pt x="265" y="286"/>
                  </a:lnTo>
                  <a:lnTo>
                    <a:pt x="265" y="286"/>
                  </a:lnTo>
                  <a:lnTo>
                    <a:pt x="267" y="288"/>
                  </a:lnTo>
                  <a:lnTo>
                    <a:pt x="267" y="290"/>
                  </a:lnTo>
                  <a:lnTo>
                    <a:pt x="268" y="291"/>
                  </a:lnTo>
                  <a:lnTo>
                    <a:pt x="269" y="293"/>
                  </a:lnTo>
                  <a:lnTo>
                    <a:pt x="271" y="293"/>
                  </a:lnTo>
                  <a:lnTo>
                    <a:pt x="272" y="293"/>
                  </a:lnTo>
                  <a:lnTo>
                    <a:pt x="275" y="293"/>
                  </a:lnTo>
                  <a:lnTo>
                    <a:pt x="275" y="293"/>
                  </a:lnTo>
                  <a:lnTo>
                    <a:pt x="275" y="293"/>
                  </a:lnTo>
                  <a:lnTo>
                    <a:pt x="275" y="294"/>
                  </a:lnTo>
                  <a:lnTo>
                    <a:pt x="278" y="295"/>
                  </a:lnTo>
                  <a:lnTo>
                    <a:pt x="278" y="295"/>
                  </a:lnTo>
                  <a:lnTo>
                    <a:pt x="278" y="295"/>
                  </a:lnTo>
                  <a:lnTo>
                    <a:pt x="275" y="305"/>
                  </a:lnTo>
                  <a:lnTo>
                    <a:pt x="275" y="312"/>
                  </a:lnTo>
                  <a:lnTo>
                    <a:pt x="275" y="312"/>
                  </a:lnTo>
                  <a:lnTo>
                    <a:pt x="276" y="312"/>
                  </a:lnTo>
                  <a:lnTo>
                    <a:pt x="275" y="314"/>
                  </a:lnTo>
                  <a:lnTo>
                    <a:pt x="275" y="315"/>
                  </a:lnTo>
                  <a:lnTo>
                    <a:pt x="272" y="319"/>
                  </a:lnTo>
                  <a:lnTo>
                    <a:pt x="271" y="319"/>
                  </a:lnTo>
                  <a:lnTo>
                    <a:pt x="269" y="321"/>
                  </a:lnTo>
                  <a:lnTo>
                    <a:pt x="265" y="323"/>
                  </a:lnTo>
                  <a:lnTo>
                    <a:pt x="264" y="323"/>
                  </a:lnTo>
                  <a:lnTo>
                    <a:pt x="262" y="323"/>
                  </a:lnTo>
                  <a:lnTo>
                    <a:pt x="262" y="323"/>
                  </a:lnTo>
                  <a:lnTo>
                    <a:pt x="262" y="323"/>
                  </a:lnTo>
                  <a:lnTo>
                    <a:pt x="262" y="323"/>
                  </a:lnTo>
                  <a:lnTo>
                    <a:pt x="262" y="321"/>
                  </a:lnTo>
                  <a:lnTo>
                    <a:pt x="261" y="315"/>
                  </a:lnTo>
                  <a:lnTo>
                    <a:pt x="261" y="309"/>
                  </a:lnTo>
                  <a:lnTo>
                    <a:pt x="255" y="305"/>
                  </a:lnTo>
                  <a:lnTo>
                    <a:pt x="252" y="305"/>
                  </a:lnTo>
                  <a:lnTo>
                    <a:pt x="248" y="304"/>
                  </a:lnTo>
                  <a:lnTo>
                    <a:pt x="243" y="307"/>
                  </a:lnTo>
                  <a:lnTo>
                    <a:pt x="238" y="312"/>
                  </a:lnTo>
                  <a:lnTo>
                    <a:pt x="234" y="318"/>
                  </a:lnTo>
                  <a:lnTo>
                    <a:pt x="233" y="321"/>
                  </a:lnTo>
                  <a:lnTo>
                    <a:pt x="231" y="321"/>
                  </a:lnTo>
                  <a:lnTo>
                    <a:pt x="230" y="321"/>
                  </a:lnTo>
                  <a:lnTo>
                    <a:pt x="230" y="322"/>
                  </a:lnTo>
                  <a:lnTo>
                    <a:pt x="226" y="322"/>
                  </a:lnTo>
                  <a:lnTo>
                    <a:pt x="219" y="321"/>
                  </a:lnTo>
                  <a:lnTo>
                    <a:pt x="219" y="321"/>
                  </a:lnTo>
                  <a:lnTo>
                    <a:pt x="216" y="318"/>
                  </a:lnTo>
                  <a:lnTo>
                    <a:pt x="215" y="318"/>
                  </a:lnTo>
                  <a:lnTo>
                    <a:pt x="215" y="318"/>
                  </a:lnTo>
                  <a:lnTo>
                    <a:pt x="210" y="314"/>
                  </a:lnTo>
                  <a:lnTo>
                    <a:pt x="210" y="312"/>
                  </a:lnTo>
                  <a:lnTo>
                    <a:pt x="210" y="312"/>
                  </a:lnTo>
                  <a:lnTo>
                    <a:pt x="208" y="312"/>
                  </a:lnTo>
                  <a:lnTo>
                    <a:pt x="208" y="312"/>
                  </a:lnTo>
                  <a:lnTo>
                    <a:pt x="208" y="314"/>
                  </a:lnTo>
                  <a:lnTo>
                    <a:pt x="208" y="314"/>
                  </a:lnTo>
                  <a:lnTo>
                    <a:pt x="208" y="315"/>
                  </a:lnTo>
                  <a:lnTo>
                    <a:pt x="206" y="315"/>
                  </a:lnTo>
                  <a:lnTo>
                    <a:pt x="206" y="315"/>
                  </a:lnTo>
                  <a:lnTo>
                    <a:pt x="206" y="315"/>
                  </a:lnTo>
                  <a:lnTo>
                    <a:pt x="205" y="315"/>
                  </a:lnTo>
                  <a:lnTo>
                    <a:pt x="203" y="315"/>
                  </a:lnTo>
                  <a:lnTo>
                    <a:pt x="203" y="314"/>
                  </a:lnTo>
                  <a:lnTo>
                    <a:pt x="196" y="312"/>
                  </a:lnTo>
                  <a:lnTo>
                    <a:pt x="195" y="312"/>
                  </a:lnTo>
                  <a:lnTo>
                    <a:pt x="194" y="311"/>
                  </a:lnTo>
                  <a:lnTo>
                    <a:pt x="192" y="311"/>
                  </a:lnTo>
                  <a:lnTo>
                    <a:pt x="191" y="309"/>
                  </a:lnTo>
                  <a:lnTo>
                    <a:pt x="191" y="309"/>
                  </a:lnTo>
                  <a:lnTo>
                    <a:pt x="189" y="308"/>
                  </a:lnTo>
                  <a:lnTo>
                    <a:pt x="188" y="307"/>
                  </a:lnTo>
                  <a:lnTo>
                    <a:pt x="187" y="305"/>
                  </a:lnTo>
                  <a:lnTo>
                    <a:pt x="187" y="304"/>
                  </a:lnTo>
                  <a:lnTo>
                    <a:pt x="187" y="304"/>
                  </a:lnTo>
                  <a:lnTo>
                    <a:pt x="187" y="304"/>
                  </a:lnTo>
                  <a:lnTo>
                    <a:pt x="195" y="301"/>
                  </a:lnTo>
                  <a:lnTo>
                    <a:pt x="199" y="304"/>
                  </a:lnTo>
                  <a:lnTo>
                    <a:pt x="199" y="304"/>
                  </a:lnTo>
                  <a:lnTo>
                    <a:pt x="199" y="304"/>
                  </a:lnTo>
                  <a:lnTo>
                    <a:pt x="199" y="304"/>
                  </a:lnTo>
                  <a:lnTo>
                    <a:pt x="199" y="307"/>
                  </a:lnTo>
                  <a:lnTo>
                    <a:pt x="199" y="307"/>
                  </a:lnTo>
                  <a:lnTo>
                    <a:pt x="198" y="308"/>
                  </a:lnTo>
                  <a:lnTo>
                    <a:pt x="198" y="308"/>
                  </a:lnTo>
                  <a:lnTo>
                    <a:pt x="199" y="311"/>
                  </a:lnTo>
                  <a:lnTo>
                    <a:pt x="199" y="311"/>
                  </a:lnTo>
                  <a:lnTo>
                    <a:pt x="201" y="311"/>
                  </a:lnTo>
                  <a:lnTo>
                    <a:pt x="202" y="309"/>
                  </a:lnTo>
                  <a:lnTo>
                    <a:pt x="202" y="309"/>
                  </a:lnTo>
                  <a:lnTo>
                    <a:pt x="202" y="309"/>
                  </a:lnTo>
                  <a:lnTo>
                    <a:pt x="202" y="309"/>
                  </a:lnTo>
                  <a:lnTo>
                    <a:pt x="202" y="304"/>
                  </a:lnTo>
                  <a:lnTo>
                    <a:pt x="202" y="304"/>
                  </a:lnTo>
                  <a:lnTo>
                    <a:pt x="202" y="302"/>
                  </a:lnTo>
                  <a:lnTo>
                    <a:pt x="201" y="302"/>
                  </a:lnTo>
                  <a:lnTo>
                    <a:pt x="192" y="293"/>
                  </a:lnTo>
                  <a:lnTo>
                    <a:pt x="181" y="286"/>
                  </a:lnTo>
                  <a:lnTo>
                    <a:pt x="174" y="287"/>
                  </a:lnTo>
                  <a:lnTo>
                    <a:pt x="173" y="286"/>
                  </a:lnTo>
                  <a:lnTo>
                    <a:pt x="173" y="283"/>
                  </a:lnTo>
                  <a:lnTo>
                    <a:pt x="171" y="280"/>
                  </a:lnTo>
                  <a:lnTo>
                    <a:pt x="171" y="279"/>
                  </a:lnTo>
                  <a:lnTo>
                    <a:pt x="171" y="279"/>
                  </a:lnTo>
                  <a:lnTo>
                    <a:pt x="167" y="270"/>
                  </a:lnTo>
                  <a:lnTo>
                    <a:pt x="167" y="270"/>
                  </a:lnTo>
                  <a:lnTo>
                    <a:pt x="166" y="270"/>
                  </a:lnTo>
                  <a:lnTo>
                    <a:pt x="164" y="269"/>
                  </a:lnTo>
                  <a:lnTo>
                    <a:pt x="153" y="266"/>
                  </a:lnTo>
                  <a:lnTo>
                    <a:pt x="153" y="265"/>
                  </a:lnTo>
                  <a:lnTo>
                    <a:pt x="153" y="263"/>
                  </a:lnTo>
                  <a:lnTo>
                    <a:pt x="152" y="263"/>
                  </a:lnTo>
                  <a:lnTo>
                    <a:pt x="152" y="262"/>
                  </a:lnTo>
                  <a:lnTo>
                    <a:pt x="147" y="262"/>
                  </a:lnTo>
                  <a:lnTo>
                    <a:pt x="130" y="267"/>
                  </a:lnTo>
                  <a:lnTo>
                    <a:pt x="129" y="274"/>
                  </a:lnTo>
                  <a:lnTo>
                    <a:pt x="135" y="280"/>
                  </a:lnTo>
                  <a:lnTo>
                    <a:pt x="132" y="283"/>
                  </a:lnTo>
                  <a:lnTo>
                    <a:pt x="122" y="286"/>
                  </a:lnTo>
                  <a:lnTo>
                    <a:pt x="122" y="287"/>
                  </a:lnTo>
                  <a:lnTo>
                    <a:pt x="118" y="286"/>
                  </a:lnTo>
                  <a:lnTo>
                    <a:pt x="101" y="283"/>
                  </a:lnTo>
                  <a:lnTo>
                    <a:pt x="94" y="281"/>
                  </a:lnTo>
                  <a:lnTo>
                    <a:pt x="90" y="280"/>
                  </a:lnTo>
                  <a:lnTo>
                    <a:pt x="88" y="280"/>
                  </a:lnTo>
                  <a:lnTo>
                    <a:pt x="84" y="277"/>
                  </a:lnTo>
                  <a:lnTo>
                    <a:pt x="81" y="276"/>
                  </a:lnTo>
                  <a:lnTo>
                    <a:pt x="79" y="274"/>
                  </a:lnTo>
                  <a:lnTo>
                    <a:pt x="79" y="273"/>
                  </a:lnTo>
                  <a:lnTo>
                    <a:pt x="69" y="270"/>
                  </a:lnTo>
                  <a:lnTo>
                    <a:pt x="63" y="267"/>
                  </a:lnTo>
                  <a:lnTo>
                    <a:pt x="62" y="267"/>
                  </a:lnTo>
                  <a:lnTo>
                    <a:pt x="55" y="266"/>
                  </a:lnTo>
                  <a:lnTo>
                    <a:pt x="53" y="266"/>
                  </a:lnTo>
                  <a:lnTo>
                    <a:pt x="52" y="266"/>
                  </a:lnTo>
                  <a:lnTo>
                    <a:pt x="25" y="267"/>
                  </a:lnTo>
                  <a:lnTo>
                    <a:pt x="23" y="269"/>
                  </a:lnTo>
                  <a:lnTo>
                    <a:pt x="23" y="269"/>
                  </a:lnTo>
                  <a:lnTo>
                    <a:pt x="21" y="269"/>
                  </a:lnTo>
                  <a:lnTo>
                    <a:pt x="20" y="269"/>
                  </a:lnTo>
                  <a:lnTo>
                    <a:pt x="17" y="270"/>
                  </a:lnTo>
                  <a:lnTo>
                    <a:pt x="17" y="272"/>
                  </a:lnTo>
                  <a:lnTo>
                    <a:pt x="16" y="272"/>
                  </a:lnTo>
                  <a:lnTo>
                    <a:pt x="16" y="273"/>
                  </a:lnTo>
                  <a:lnTo>
                    <a:pt x="16" y="273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3" y="273"/>
                  </a:lnTo>
                  <a:lnTo>
                    <a:pt x="13" y="272"/>
                  </a:lnTo>
                  <a:lnTo>
                    <a:pt x="11" y="269"/>
                  </a:lnTo>
                  <a:lnTo>
                    <a:pt x="10" y="266"/>
                  </a:lnTo>
                  <a:lnTo>
                    <a:pt x="10" y="265"/>
                  </a:lnTo>
                  <a:lnTo>
                    <a:pt x="10" y="265"/>
                  </a:lnTo>
                  <a:lnTo>
                    <a:pt x="10" y="263"/>
                  </a:lnTo>
                  <a:lnTo>
                    <a:pt x="10" y="263"/>
                  </a:lnTo>
                  <a:lnTo>
                    <a:pt x="11" y="263"/>
                  </a:lnTo>
                  <a:lnTo>
                    <a:pt x="13" y="262"/>
                  </a:lnTo>
                  <a:lnTo>
                    <a:pt x="13" y="262"/>
                  </a:lnTo>
                  <a:lnTo>
                    <a:pt x="16" y="262"/>
                  </a:lnTo>
                  <a:lnTo>
                    <a:pt x="16" y="262"/>
                  </a:lnTo>
                  <a:lnTo>
                    <a:pt x="17" y="262"/>
                  </a:lnTo>
                  <a:lnTo>
                    <a:pt x="18" y="256"/>
                  </a:lnTo>
                  <a:lnTo>
                    <a:pt x="18" y="256"/>
                  </a:lnTo>
                  <a:lnTo>
                    <a:pt x="20" y="252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18" y="250"/>
                  </a:lnTo>
                  <a:lnTo>
                    <a:pt x="18" y="249"/>
                  </a:lnTo>
                  <a:lnTo>
                    <a:pt x="17" y="249"/>
                  </a:lnTo>
                  <a:lnTo>
                    <a:pt x="17" y="249"/>
                  </a:lnTo>
                  <a:lnTo>
                    <a:pt x="17" y="249"/>
                  </a:lnTo>
                  <a:lnTo>
                    <a:pt x="20" y="246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2"/>
                  </a:lnTo>
                  <a:lnTo>
                    <a:pt x="24" y="236"/>
                  </a:lnTo>
                  <a:lnTo>
                    <a:pt x="24" y="235"/>
                  </a:lnTo>
                  <a:lnTo>
                    <a:pt x="23" y="228"/>
                  </a:lnTo>
                  <a:lnTo>
                    <a:pt x="21" y="222"/>
                  </a:lnTo>
                  <a:lnTo>
                    <a:pt x="20" y="221"/>
                  </a:lnTo>
                  <a:lnTo>
                    <a:pt x="20" y="221"/>
                  </a:lnTo>
                  <a:lnTo>
                    <a:pt x="20" y="220"/>
                  </a:lnTo>
                  <a:lnTo>
                    <a:pt x="20" y="218"/>
                  </a:lnTo>
                  <a:lnTo>
                    <a:pt x="21" y="203"/>
                  </a:lnTo>
                  <a:lnTo>
                    <a:pt x="21" y="203"/>
                  </a:lnTo>
                  <a:lnTo>
                    <a:pt x="23" y="200"/>
                  </a:lnTo>
                  <a:lnTo>
                    <a:pt x="23" y="200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27" y="193"/>
                  </a:lnTo>
                  <a:lnTo>
                    <a:pt x="28" y="192"/>
                  </a:lnTo>
                  <a:lnTo>
                    <a:pt x="30" y="190"/>
                  </a:lnTo>
                  <a:lnTo>
                    <a:pt x="34" y="180"/>
                  </a:lnTo>
                  <a:lnTo>
                    <a:pt x="34" y="179"/>
                  </a:lnTo>
                  <a:lnTo>
                    <a:pt x="35" y="159"/>
                  </a:lnTo>
                  <a:lnTo>
                    <a:pt x="35" y="151"/>
                  </a:lnTo>
                  <a:lnTo>
                    <a:pt x="35" y="150"/>
                  </a:lnTo>
                  <a:lnTo>
                    <a:pt x="34" y="150"/>
                  </a:lnTo>
                  <a:lnTo>
                    <a:pt x="30" y="147"/>
                  </a:lnTo>
                  <a:lnTo>
                    <a:pt x="30" y="144"/>
                  </a:lnTo>
                  <a:lnTo>
                    <a:pt x="27" y="136"/>
                  </a:lnTo>
                  <a:lnTo>
                    <a:pt x="25" y="134"/>
                  </a:lnTo>
                  <a:lnTo>
                    <a:pt x="20" y="126"/>
                  </a:lnTo>
                  <a:lnTo>
                    <a:pt x="17" y="121"/>
                  </a:lnTo>
                  <a:lnTo>
                    <a:pt x="16" y="119"/>
                  </a:lnTo>
                  <a:lnTo>
                    <a:pt x="16" y="119"/>
                  </a:lnTo>
                  <a:lnTo>
                    <a:pt x="16" y="117"/>
                  </a:lnTo>
                  <a:lnTo>
                    <a:pt x="14" y="116"/>
                  </a:lnTo>
                  <a:lnTo>
                    <a:pt x="14" y="116"/>
                  </a:lnTo>
                  <a:lnTo>
                    <a:pt x="14" y="114"/>
                  </a:lnTo>
                  <a:lnTo>
                    <a:pt x="16" y="110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4" y="102"/>
                  </a:lnTo>
                  <a:lnTo>
                    <a:pt x="14" y="100"/>
                  </a:lnTo>
                  <a:lnTo>
                    <a:pt x="11" y="95"/>
                  </a:lnTo>
                  <a:lnTo>
                    <a:pt x="10" y="95"/>
                  </a:lnTo>
                  <a:lnTo>
                    <a:pt x="10" y="92"/>
                  </a:lnTo>
                  <a:lnTo>
                    <a:pt x="9" y="92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6" y="89"/>
                  </a:lnTo>
                  <a:lnTo>
                    <a:pt x="4" y="89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2"/>
                  </a:lnTo>
                  <a:lnTo>
                    <a:pt x="0" y="57"/>
                  </a:lnTo>
                  <a:lnTo>
                    <a:pt x="0" y="0"/>
                  </a:lnTo>
                  <a:lnTo>
                    <a:pt x="3" y="0"/>
                  </a:lnTo>
                  <a:lnTo>
                    <a:pt x="13" y="0"/>
                  </a:lnTo>
                  <a:lnTo>
                    <a:pt x="111" y="0"/>
                  </a:lnTo>
                  <a:lnTo>
                    <a:pt x="182" y="0"/>
                  </a:lnTo>
                  <a:lnTo>
                    <a:pt x="196" y="0"/>
                  </a:lnTo>
                  <a:lnTo>
                    <a:pt x="198" y="0"/>
                  </a:lnTo>
                  <a:lnTo>
                    <a:pt x="195" y="2"/>
                  </a:lnTo>
                  <a:lnTo>
                    <a:pt x="195" y="2"/>
                  </a:lnTo>
                  <a:lnTo>
                    <a:pt x="194" y="5"/>
                  </a:lnTo>
                  <a:lnTo>
                    <a:pt x="194" y="5"/>
                  </a:lnTo>
                  <a:lnTo>
                    <a:pt x="194" y="7"/>
                  </a:lnTo>
                  <a:lnTo>
                    <a:pt x="195" y="8"/>
                  </a:lnTo>
                  <a:lnTo>
                    <a:pt x="195" y="8"/>
                  </a:lnTo>
                  <a:lnTo>
                    <a:pt x="195" y="8"/>
                  </a:lnTo>
                  <a:lnTo>
                    <a:pt x="196" y="8"/>
                  </a:lnTo>
                  <a:lnTo>
                    <a:pt x="196" y="8"/>
                  </a:lnTo>
                  <a:lnTo>
                    <a:pt x="198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201" y="7"/>
                  </a:lnTo>
                  <a:lnTo>
                    <a:pt x="201" y="7"/>
                  </a:lnTo>
                  <a:lnTo>
                    <a:pt x="201" y="7"/>
                  </a:lnTo>
                  <a:lnTo>
                    <a:pt x="201" y="5"/>
                  </a:lnTo>
                  <a:lnTo>
                    <a:pt x="201" y="5"/>
                  </a:lnTo>
                  <a:lnTo>
                    <a:pt x="199" y="4"/>
                  </a:lnTo>
                  <a:lnTo>
                    <a:pt x="201" y="2"/>
                  </a:lnTo>
                  <a:lnTo>
                    <a:pt x="201" y="2"/>
                  </a:lnTo>
                  <a:lnTo>
                    <a:pt x="201" y="2"/>
                  </a:lnTo>
                  <a:lnTo>
                    <a:pt x="202" y="1"/>
                  </a:lnTo>
                  <a:lnTo>
                    <a:pt x="202" y="2"/>
                  </a:lnTo>
                  <a:lnTo>
                    <a:pt x="202" y="2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3" y="4"/>
                  </a:lnTo>
                  <a:lnTo>
                    <a:pt x="203" y="4"/>
                  </a:lnTo>
                  <a:lnTo>
                    <a:pt x="203" y="9"/>
                  </a:lnTo>
                  <a:lnTo>
                    <a:pt x="203" y="11"/>
                  </a:lnTo>
                  <a:lnTo>
                    <a:pt x="203" y="11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1" y="12"/>
                  </a:lnTo>
                  <a:lnTo>
                    <a:pt x="199" y="14"/>
                  </a:lnTo>
                  <a:lnTo>
                    <a:pt x="198" y="16"/>
                  </a:lnTo>
                  <a:lnTo>
                    <a:pt x="198" y="18"/>
                  </a:lnTo>
                  <a:lnTo>
                    <a:pt x="198" y="18"/>
                  </a:lnTo>
                  <a:lnTo>
                    <a:pt x="198" y="19"/>
                  </a:lnTo>
                  <a:lnTo>
                    <a:pt x="198" y="19"/>
                  </a:lnTo>
                  <a:lnTo>
                    <a:pt x="199" y="21"/>
                  </a:lnTo>
                  <a:lnTo>
                    <a:pt x="199" y="21"/>
                  </a:lnTo>
                  <a:lnTo>
                    <a:pt x="201" y="21"/>
                  </a:lnTo>
                  <a:lnTo>
                    <a:pt x="203" y="21"/>
                  </a:lnTo>
                  <a:lnTo>
                    <a:pt x="203" y="21"/>
                  </a:lnTo>
                  <a:lnTo>
                    <a:pt x="205" y="21"/>
                  </a:lnTo>
                  <a:lnTo>
                    <a:pt x="205" y="22"/>
                  </a:lnTo>
                  <a:lnTo>
                    <a:pt x="205" y="22"/>
                  </a:lnTo>
                  <a:lnTo>
                    <a:pt x="205" y="23"/>
                  </a:lnTo>
                  <a:lnTo>
                    <a:pt x="205" y="25"/>
                  </a:lnTo>
                  <a:lnTo>
                    <a:pt x="202" y="26"/>
                  </a:lnTo>
                  <a:lnTo>
                    <a:pt x="201" y="28"/>
                  </a:lnTo>
                  <a:lnTo>
                    <a:pt x="199" y="28"/>
                  </a:lnTo>
                  <a:lnTo>
                    <a:pt x="199" y="28"/>
                  </a:lnTo>
                  <a:lnTo>
                    <a:pt x="198" y="29"/>
                  </a:lnTo>
                  <a:lnTo>
                    <a:pt x="198" y="29"/>
                  </a:lnTo>
                  <a:lnTo>
                    <a:pt x="198" y="30"/>
                  </a:lnTo>
                  <a:lnTo>
                    <a:pt x="199" y="32"/>
                  </a:lnTo>
                  <a:lnTo>
                    <a:pt x="202" y="44"/>
                  </a:lnTo>
                  <a:lnTo>
                    <a:pt x="203" y="44"/>
                  </a:lnTo>
                  <a:lnTo>
                    <a:pt x="203" y="46"/>
                  </a:lnTo>
                  <a:lnTo>
                    <a:pt x="205" y="46"/>
                  </a:lnTo>
                  <a:lnTo>
                    <a:pt x="205" y="47"/>
                  </a:lnTo>
                  <a:lnTo>
                    <a:pt x="209" y="50"/>
                  </a:lnTo>
                  <a:lnTo>
                    <a:pt x="215" y="58"/>
                  </a:lnTo>
                  <a:lnTo>
                    <a:pt x="205" y="64"/>
                  </a:lnTo>
                  <a:lnTo>
                    <a:pt x="199" y="65"/>
                  </a:lnTo>
                  <a:lnTo>
                    <a:pt x="199" y="65"/>
                  </a:lnTo>
                  <a:lnTo>
                    <a:pt x="199" y="65"/>
                  </a:lnTo>
                  <a:lnTo>
                    <a:pt x="199" y="67"/>
                  </a:lnTo>
                  <a:lnTo>
                    <a:pt x="198" y="67"/>
                  </a:lnTo>
                  <a:lnTo>
                    <a:pt x="198" y="68"/>
                  </a:lnTo>
                  <a:lnTo>
                    <a:pt x="198" y="70"/>
                  </a:lnTo>
                  <a:lnTo>
                    <a:pt x="199" y="70"/>
                  </a:lnTo>
                  <a:lnTo>
                    <a:pt x="199" y="70"/>
                  </a:lnTo>
                  <a:lnTo>
                    <a:pt x="199" y="71"/>
                  </a:lnTo>
                  <a:lnTo>
                    <a:pt x="199" y="71"/>
                  </a:lnTo>
                  <a:lnTo>
                    <a:pt x="201" y="71"/>
                  </a:lnTo>
                  <a:lnTo>
                    <a:pt x="201" y="71"/>
                  </a:lnTo>
                  <a:lnTo>
                    <a:pt x="201" y="71"/>
                  </a:lnTo>
                  <a:lnTo>
                    <a:pt x="203" y="71"/>
                  </a:lnTo>
                  <a:lnTo>
                    <a:pt x="205" y="68"/>
                  </a:lnTo>
                  <a:lnTo>
                    <a:pt x="205" y="68"/>
                  </a:lnTo>
                  <a:lnTo>
                    <a:pt x="206" y="68"/>
                  </a:lnTo>
                  <a:lnTo>
                    <a:pt x="206" y="68"/>
                  </a:lnTo>
                  <a:lnTo>
                    <a:pt x="206" y="68"/>
                  </a:lnTo>
                  <a:lnTo>
                    <a:pt x="206" y="68"/>
                  </a:lnTo>
                  <a:lnTo>
                    <a:pt x="208" y="68"/>
                  </a:lnTo>
                  <a:lnTo>
                    <a:pt x="209" y="70"/>
                  </a:lnTo>
                  <a:lnTo>
                    <a:pt x="209" y="70"/>
                  </a:lnTo>
                  <a:lnTo>
                    <a:pt x="209" y="71"/>
                  </a:lnTo>
                  <a:lnTo>
                    <a:pt x="209" y="71"/>
                  </a:lnTo>
                  <a:lnTo>
                    <a:pt x="209" y="72"/>
                  </a:lnTo>
                  <a:lnTo>
                    <a:pt x="209" y="72"/>
                  </a:lnTo>
                  <a:lnTo>
                    <a:pt x="205" y="77"/>
                  </a:lnTo>
                  <a:lnTo>
                    <a:pt x="202" y="79"/>
                  </a:lnTo>
                  <a:lnTo>
                    <a:pt x="201" y="85"/>
                  </a:lnTo>
                  <a:lnTo>
                    <a:pt x="192" y="93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7" y="95"/>
                  </a:lnTo>
                  <a:lnTo>
                    <a:pt x="187" y="96"/>
                  </a:lnTo>
                  <a:lnTo>
                    <a:pt x="185" y="98"/>
                  </a:lnTo>
                  <a:lnTo>
                    <a:pt x="185" y="99"/>
                  </a:lnTo>
                  <a:lnTo>
                    <a:pt x="182" y="106"/>
                  </a:lnTo>
                  <a:lnTo>
                    <a:pt x="182" y="107"/>
                  </a:lnTo>
                  <a:lnTo>
                    <a:pt x="182" y="107"/>
                  </a:lnTo>
                  <a:lnTo>
                    <a:pt x="182" y="109"/>
                  </a:lnTo>
                  <a:lnTo>
                    <a:pt x="182" y="109"/>
                  </a:lnTo>
                  <a:lnTo>
                    <a:pt x="182" y="110"/>
                  </a:lnTo>
                  <a:lnTo>
                    <a:pt x="181" y="117"/>
                  </a:lnTo>
                  <a:lnTo>
                    <a:pt x="177" y="120"/>
                  </a:lnTo>
                  <a:lnTo>
                    <a:pt x="171" y="131"/>
                  </a:lnTo>
                  <a:lnTo>
                    <a:pt x="170" y="131"/>
                  </a:lnTo>
                  <a:lnTo>
                    <a:pt x="170" y="133"/>
                  </a:lnTo>
                  <a:lnTo>
                    <a:pt x="171" y="134"/>
                  </a:lnTo>
                  <a:lnTo>
                    <a:pt x="171" y="134"/>
                  </a:lnTo>
                  <a:lnTo>
                    <a:pt x="171" y="136"/>
                  </a:lnTo>
                  <a:lnTo>
                    <a:pt x="171" y="137"/>
                  </a:lnTo>
                  <a:lnTo>
                    <a:pt x="173" y="137"/>
                  </a:lnTo>
                  <a:lnTo>
                    <a:pt x="174" y="138"/>
                  </a:lnTo>
                  <a:lnTo>
                    <a:pt x="174" y="140"/>
                  </a:lnTo>
                  <a:lnTo>
                    <a:pt x="174" y="140"/>
                  </a:lnTo>
                  <a:lnTo>
                    <a:pt x="175" y="140"/>
                  </a:lnTo>
                  <a:lnTo>
                    <a:pt x="175" y="141"/>
                  </a:lnTo>
                  <a:lnTo>
                    <a:pt x="174" y="141"/>
                  </a:lnTo>
                  <a:lnTo>
                    <a:pt x="174" y="143"/>
                  </a:lnTo>
                  <a:lnTo>
                    <a:pt x="173" y="143"/>
                  </a:lnTo>
                  <a:lnTo>
                    <a:pt x="173" y="143"/>
                  </a:lnTo>
                  <a:lnTo>
                    <a:pt x="171" y="143"/>
                  </a:lnTo>
                  <a:lnTo>
                    <a:pt x="167" y="143"/>
                  </a:lnTo>
                  <a:lnTo>
                    <a:pt x="167" y="143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7" y="152"/>
                  </a:lnTo>
                  <a:lnTo>
                    <a:pt x="170" y="159"/>
                  </a:lnTo>
                  <a:lnTo>
                    <a:pt x="166" y="165"/>
                  </a:lnTo>
                  <a:lnTo>
                    <a:pt x="166" y="165"/>
                  </a:lnTo>
                  <a:lnTo>
                    <a:pt x="166" y="165"/>
                  </a:lnTo>
                  <a:lnTo>
                    <a:pt x="166" y="166"/>
                  </a:lnTo>
                  <a:lnTo>
                    <a:pt x="241" y="166"/>
                  </a:lnTo>
                  <a:lnTo>
                    <a:pt x="297" y="168"/>
                  </a:lnTo>
                  <a:lnTo>
                    <a:pt x="296" y="173"/>
                  </a:lnTo>
                  <a:lnTo>
                    <a:pt x="295" y="180"/>
                  </a:lnTo>
                  <a:lnTo>
                    <a:pt x="293" y="180"/>
                  </a:lnTo>
                  <a:lnTo>
                    <a:pt x="293" y="182"/>
                  </a:lnTo>
                  <a:lnTo>
                    <a:pt x="292" y="182"/>
                  </a:lnTo>
                  <a:lnTo>
                    <a:pt x="292" y="183"/>
                  </a:lnTo>
                  <a:lnTo>
                    <a:pt x="292" y="185"/>
                  </a:lnTo>
                  <a:lnTo>
                    <a:pt x="292" y="185"/>
                  </a:lnTo>
                  <a:lnTo>
                    <a:pt x="290" y="192"/>
                  </a:lnTo>
                  <a:lnTo>
                    <a:pt x="290" y="193"/>
                  </a:lnTo>
                  <a:lnTo>
                    <a:pt x="292" y="199"/>
                  </a:lnTo>
                  <a:lnTo>
                    <a:pt x="292" y="200"/>
                  </a:lnTo>
                  <a:lnTo>
                    <a:pt x="293" y="201"/>
                  </a:lnTo>
                  <a:lnTo>
                    <a:pt x="293" y="203"/>
                  </a:lnTo>
                  <a:lnTo>
                    <a:pt x="295" y="203"/>
                  </a:lnTo>
                  <a:lnTo>
                    <a:pt x="295" y="203"/>
                  </a:lnTo>
                  <a:lnTo>
                    <a:pt x="296" y="204"/>
                  </a:lnTo>
                  <a:lnTo>
                    <a:pt x="296" y="204"/>
                  </a:lnTo>
                  <a:lnTo>
                    <a:pt x="302" y="210"/>
                  </a:lnTo>
                  <a:lnTo>
                    <a:pt x="302" y="210"/>
                  </a:lnTo>
                  <a:lnTo>
                    <a:pt x="302" y="211"/>
                  </a:lnTo>
                  <a:lnTo>
                    <a:pt x="302" y="215"/>
                  </a:lnTo>
                  <a:lnTo>
                    <a:pt x="306" y="227"/>
                  </a:lnTo>
                  <a:lnTo>
                    <a:pt x="307" y="229"/>
                  </a:lnTo>
                  <a:lnTo>
                    <a:pt x="307" y="232"/>
                  </a:lnTo>
                  <a:lnTo>
                    <a:pt x="309" y="232"/>
                  </a:lnTo>
                  <a:lnTo>
                    <a:pt x="309" y="232"/>
                  </a:lnTo>
                  <a:lnTo>
                    <a:pt x="309" y="232"/>
                  </a:lnTo>
                  <a:lnTo>
                    <a:pt x="311" y="232"/>
                  </a:lnTo>
                  <a:lnTo>
                    <a:pt x="309" y="235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62" name="Freeform 30"/>
            <p:cNvSpPr>
              <a:spLocks/>
            </p:cNvSpPr>
            <p:nvPr/>
          </p:nvSpPr>
          <p:spPr bwMode="auto">
            <a:xfrm>
              <a:off x="3953961" y="2643476"/>
              <a:ext cx="845483" cy="572377"/>
            </a:xfrm>
            <a:custGeom>
              <a:avLst/>
              <a:gdLst>
                <a:gd name="T0" fmla="*/ 0 w 486"/>
                <a:gd name="T1" fmla="*/ 240 h 329"/>
                <a:gd name="T2" fmla="*/ 0 w 486"/>
                <a:gd name="T3" fmla="*/ 174 h 329"/>
                <a:gd name="T4" fmla="*/ 0 w 486"/>
                <a:gd name="T5" fmla="*/ 125 h 329"/>
                <a:gd name="T6" fmla="*/ 0 w 486"/>
                <a:gd name="T7" fmla="*/ 111 h 329"/>
                <a:gd name="T8" fmla="*/ 0 w 486"/>
                <a:gd name="T9" fmla="*/ 94 h 329"/>
                <a:gd name="T10" fmla="*/ 0 w 486"/>
                <a:gd name="T11" fmla="*/ 62 h 329"/>
                <a:gd name="T12" fmla="*/ 0 w 486"/>
                <a:gd name="T13" fmla="*/ 45 h 329"/>
                <a:gd name="T14" fmla="*/ 0 w 486"/>
                <a:gd name="T15" fmla="*/ 42 h 329"/>
                <a:gd name="T16" fmla="*/ 0 w 486"/>
                <a:gd name="T17" fmla="*/ 42 h 329"/>
                <a:gd name="T18" fmla="*/ 0 w 486"/>
                <a:gd name="T19" fmla="*/ 39 h 329"/>
                <a:gd name="T20" fmla="*/ 0 w 486"/>
                <a:gd name="T21" fmla="*/ 15 h 329"/>
                <a:gd name="T22" fmla="*/ 0 w 486"/>
                <a:gd name="T23" fmla="*/ 0 h 329"/>
                <a:gd name="T24" fmla="*/ 129 w 486"/>
                <a:gd name="T25" fmla="*/ 0 h 329"/>
                <a:gd name="T26" fmla="*/ 270 w 486"/>
                <a:gd name="T27" fmla="*/ 0 h 329"/>
                <a:gd name="T28" fmla="*/ 409 w 486"/>
                <a:gd name="T29" fmla="*/ 0 h 329"/>
                <a:gd name="T30" fmla="*/ 481 w 486"/>
                <a:gd name="T31" fmla="*/ 0 h 329"/>
                <a:gd name="T32" fmla="*/ 484 w 486"/>
                <a:gd name="T33" fmla="*/ 0 h 329"/>
                <a:gd name="T34" fmla="*/ 484 w 486"/>
                <a:gd name="T35" fmla="*/ 11 h 329"/>
                <a:gd name="T36" fmla="*/ 484 w 486"/>
                <a:gd name="T37" fmla="*/ 66 h 329"/>
                <a:gd name="T38" fmla="*/ 484 w 486"/>
                <a:gd name="T39" fmla="*/ 80 h 329"/>
                <a:gd name="T40" fmla="*/ 484 w 486"/>
                <a:gd name="T41" fmla="*/ 95 h 329"/>
                <a:gd name="T42" fmla="*/ 484 w 486"/>
                <a:gd name="T43" fmla="*/ 109 h 329"/>
                <a:gd name="T44" fmla="*/ 484 w 486"/>
                <a:gd name="T45" fmla="*/ 122 h 329"/>
                <a:gd name="T46" fmla="*/ 484 w 486"/>
                <a:gd name="T47" fmla="*/ 133 h 329"/>
                <a:gd name="T48" fmla="*/ 484 w 486"/>
                <a:gd name="T49" fmla="*/ 140 h 329"/>
                <a:gd name="T50" fmla="*/ 484 w 486"/>
                <a:gd name="T51" fmla="*/ 146 h 329"/>
                <a:gd name="T52" fmla="*/ 484 w 486"/>
                <a:gd name="T53" fmla="*/ 153 h 329"/>
                <a:gd name="T54" fmla="*/ 484 w 486"/>
                <a:gd name="T55" fmla="*/ 165 h 329"/>
                <a:gd name="T56" fmla="*/ 484 w 486"/>
                <a:gd name="T57" fmla="*/ 172 h 329"/>
                <a:gd name="T58" fmla="*/ 486 w 486"/>
                <a:gd name="T59" fmla="*/ 200 h 329"/>
                <a:gd name="T60" fmla="*/ 486 w 486"/>
                <a:gd name="T61" fmla="*/ 224 h 329"/>
                <a:gd name="T62" fmla="*/ 486 w 486"/>
                <a:gd name="T63" fmla="*/ 237 h 329"/>
                <a:gd name="T64" fmla="*/ 486 w 486"/>
                <a:gd name="T65" fmla="*/ 250 h 329"/>
                <a:gd name="T66" fmla="*/ 486 w 486"/>
                <a:gd name="T67" fmla="*/ 285 h 329"/>
                <a:gd name="T68" fmla="*/ 486 w 486"/>
                <a:gd name="T69" fmla="*/ 292 h 329"/>
                <a:gd name="T70" fmla="*/ 486 w 486"/>
                <a:gd name="T71" fmla="*/ 294 h 329"/>
                <a:gd name="T72" fmla="*/ 486 w 486"/>
                <a:gd name="T73" fmla="*/ 307 h 329"/>
                <a:gd name="T74" fmla="*/ 486 w 486"/>
                <a:gd name="T75" fmla="*/ 325 h 329"/>
                <a:gd name="T76" fmla="*/ 486 w 486"/>
                <a:gd name="T77" fmla="*/ 329 h 329"/>
                <a:gd name="T78" fmla="*/ 107 w 486"/>
                <a:gd name="T79" fmla="*/ 329 h 329"/>
                <a:gd name="T80" fmla="*/ 101 w 486"/>
                <a:gd name="T81" fmla="*/ 329 h 329"/>
                <a:gd name="T82" fmla="*/ 0 w 486"/>
                <a:gd name="T83" fmla="*/ 327 h 329"/>
                <a:gd name="T84" fmla="*/ 0 w 486"/>
                <a:gd name="T85" fmla="*/ 304 h 329"/>
                <a:gd name="T86" fmla="*/ 0 w 486"/>
                <a:gd name="T87" fmla="*/ 248 h 329"/>
                <a:gd name="T88" fmla="*/ 0 w 486"/>
                <a:gd name="T89" fmla="*/ 24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86" h="329">
                  <a:moveTo>
                    <a:pt x="0" y="240"/>
                  </a:moveTo>
                  <a:lnTo>
                    <a:pt x="0" y="174"/>
                  </a:lnTo>
                  <a:lnTo>
                    <a:pt x="0" y="125"/>
                  </a:lnTo>
                  <a:lnTo>
                    <a:pt x="0" y="111"/>
                  </a:lnTo>
                  <a:lnTo>
                    <a:pt x="0" y="94"/>
                  </a:lnTo>
                  <a:lnTo>
                    <a:pt x="0" y="62"/>
                  </a:lnTo>
                  <a:lnTo>
                    <a:pt x="0" y="45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9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29" y="0"/>
                  </a:lnTo>
                  <a:lnTo>
                    <a:pt x="270" y="0"/>
                  </a:lnTo>
                  <a:lnTo>
                    <a:pt x="409" y="0"/>
                  </a:lnTo>
                  <a:lnTo>
                    <a:pt x="481" y="0"/>
                  </a:lnTo>
                  <a:lnTo>
                    <a:pt x="484" y="0"/>
                  </a:lnTo>
                  <a:lnTo>
                    <a:pt x="484" y="11"/>
                  </a:lnTo>
                  <a:lnTo>
                    <a:pt x="484" y="66"/>
                  </a:lnTo>
                  <a:lnTo>
                    <a:pt x="484" y="80"/>
                  </a:lnTo>
                  <a:lnTo>
                    <a:pt x="484" y="95"/>
                  </a:lnTo>
                  <a:lnTo>
                    <a:pt x="484" y="109"/>
                  </a:lnTo>
                  <a:lnTo>
                    <a:pt x="484" y="122"/>
                  </a:lnTo>
                  <a:lnTo>
                    <a:pt x="484" y="133"/>
                  </a:lnTo>
                  <a:lnTo>
                    <a:pt x="484" y="140"/>
                  </a:lnTo>
                  <a:lnTo>
                    <a:pt x="484" y="146"/>
                  </a:lnTo>
                  <a:lnTo>
                    <a:pt x="484" y="153"/>
                  </a:lnTo>
                  <a:lnTo>
                    <a:pt x="484" y="165"/>
                  </a:lnTo>
                  <a:lnTo>
                    <a:pt x="484" y="172"/>
                  </a:lnTo>
                  <a:lnTo>
                    <a:pt x="486" y="200"/>
                  </a:lnTo>
                  <a:lnTo>
                    <a:pt x="486" y="224"/>
                  </a:lnTo>
                  <a:lnTo>
                    <a:pt x="486" y="237"/>
                  </a:lnTo>
                  <a:lnTo>
                    <a:pt x="486" y="250"/>
                  </a:lnTo>
                  <a:lnTo>
                    <a:pt x="486" y="285"/>
                  </a:lnTo>
                  <a:lnTo>
                    <a:pt x="486" y="292"/>
                  </a:lnTo>
                  <a:lnTo>
                    <a:pt x="486" y="294"/>
                  </a:lnTo>
                  <a:lnTo>
                    <a:pt x="486" y="307"/>
                  </a:lnTo>
                  <a:lnTo>
                    <a:pt x="486" y="325"/>
                  </a:lnTo>
                  <a:lnTo>
                    <a:pt x="486" y="329"/>
                  </a:lnTo>
                  <a:lnTo>
                    <a:pt x="107" y="329"/>
                  </a:lnTo>
                  <a:lnTo>
                    <a:pt x="101" y="329"/>
                  </a:lnTo>
                  <a:lnTo>
                    <a:pt x="0" y="327"/>
                  </a:lnTo>
                  <a:lnTo>
                    <a:pt x="0" y="304"/>
                  </a:lnTo>
                  <a:lnTo>
                    <a:pt x="0" y="248"/>
                  </a:lnTo>
                  <a:lnTo>
                    <a:pt x="0" y="240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63" name="Freeform 55"/>
            <p:cNvSpPr>
              <a:spLocks/>
            </p:cNvSpPr>
            <p:nvPr/>
          </p:nvSpPr>
          <p:spPr bwMode="auto">
            <a:xfrm>
              <a:off x="5037781" y="3360250"/>
              <a:ext cx="890715" cy="431456"/>
            </a:xfrm>
            <a:custGeom>
              <a:avLst/>
              <a:gdLst>
                <a:gd name="T0" fmla="*/ 431 w 512"/>
                <a:gd name="T1" fmla="*/ 248 h 248"/>
                <a:gd name="T2" fmla="*/ 338 w 512"/>
                <a:gd name="T3" fmla="*/ 248 h 248"/>
                <a:gd name="T4" fmla="*/ 209 w 512"/>
                <a:gd name="T5" fmla="*/ 248 h 248"/>
                <a:gd name="T6" fmla="*/ 25 w 512"/>
                <a:gd name="T7" fmla="*/ 248 h 248"/>
                <a:gd name="T8" fmla="*/ 1 w 512"/>
                <a:gd name="T9" fmla="*/ 247 h 248"/>
                <a:gd name="T10" fmla="*/ 0 w 512"/>
                <a:gd name="T11" fmla="*/ 146 h 248"/>
                <a:gd name="T12" fmla="*/ 0 w 512"/>
                <a:gd name="T13" fmla="*/ 55 h 248"/>
                <a:gd name="T14" fmla="*/ 0 w 512"/>
                <a:gd name="T15" fmla="*/ 41 h 248"/>
                <a:gd name="T16" fmla="*/ 0 w 512"/>
                <a:gd name="T17" fmla="*/ 23 h 248"/>
                <a:gd name="T18" fmla="*/ 0 w 512"/>
                <a:gd name="T19" fmla="*/ 0 h 248"/>
                <a:gd name="T20" fmla="*/ 27 w 512"/>
                <a:gd name="T21" fmla="*/ 0 h 248"/>
                <a:gd name="T22" fmla="*/ 463 w 512"/>
                <a:gd name="T23" fmla="*/ 0 h 248"/>
                <a:gd name="T24" fmla="*/ 464 w 512"/>
                <a:gd name="T25" fmla="*/ 2 h 248"/>
                <a:gd name="T26" fmla="*/ 466 w 512"/>
                <a:gd name="T27" fmla="*/ 3 h 248"/>
                <a:gd name="T28" fmla="*/ 478 w 512"/>
                <a:gd name="T29" fmla="*/ 11 h 248"/>
                <a:gd name="T30" fmla="*/ 480 w 512"/>
                <a:gd name="T31" fmla="*/ 11 h 248"/>
                <a:gd name="T32" fmla="*/ 482 w 512"/>
                <a:gd name="T33" fmla="*/ 11 h 248"/>
                <a:gd name="T34" fmla="*/ 482 w 512"/>
                <a:gd name="T35" fmla="*/ 11 h 248"/>
                <a:gd name="T36" fmla="*/ 482 w 512"/>
                <a:gd name="T37" fmla="*/ 10 h 248"/>
                <a:gd name="T38" fmla="*/ 484 w 512"/>
                <a:gd name="T39" fmla="*/ 9 h 248"/>
                <a:gd name="T40" fmla="*/ 488 w 512"/>
                <a:gd name="T41" fmla="*/ 9 h 248"/>
                <a:gd name="T42" fmla="*/ 488 w 512"/>
                <a:gd name="T43" fmla="*/ 9 h 248"/>
                <a:gd name="T44" fmla="*/ 494 w 512"/>
                <a:gd name="T45" fmla="*/ 21 h 248"/>
                <a:gd name="T46" fmla="*/ 494 w 512"/>
                <a:gd name="T47" fmla="*/ 21 h 248"/>
                <a:gd name="T48" fmla="*/ 494 w 512"/>
                <a:gd name="T49" fmla="*/ 23 h 248"/>
                <a:gd name="T50" fmla="*/ 492 w 512"/>
                <a:gd name="T51" fmla="*/ 23 h 248"/>
                <a:gd name="T52" fmla="*/ 491 w 512"/>
                <a:gd name="T53" fmla="*/ 23 h 248"/>
                <a:gd name="T54" fmla="*/ 489 w 512"/>
                <a:gd name="T55" fmla="*/ 23 h 248"/>
                <a:gd name="T56" fmla="*/ 488 w 512"/>
                <a:gd name="T57" fmla="*/ 23 h 248"/>
                <a:gd name="T58" fmla="*/ 487 w 512"/>
                <a:gd name="T59" fmla="*/ 23 h 248"/>
                <a:gd name="T60" fmla="*/ 477 w 512"/>
                <a:gd name="T61" fmla="*/ 37 h 248"/>
                <a:gd name="T62" fmla="*/ 478 w 512"/>
                <a:gd name="T63" fmla="*/ 38 h 248"/>
                <a:gd name="T64" fmla="*/ 478 w 512"/>
                <a:gd name="T65" fmla="*/ 41 h 248"/>
                <a:gd name="T66" fmla="*/ 482 w 512"/>
                <a:gd name="T67" fmla="*/ 45 h 248"/>
                <a:gd name="T68" fmla="*/ 491 w 512"/>
                <a:gd name="T69" fmla="*/ 55 h 248"/>
                <a:gd name="T70" fmla="*/ 492 w 512"/>
                <a:gd name="T71" fmla="*/ 58 h 248"/>
                <a:gd name="T72" fmla="*/ 496 w 512"/>
                <a:gd name="T73" fmla="*/ 65 h 248"/>
                <a:gd name="T74" fmla="*/ 501 w 512"/>
                <a:gd name="T75" fmla="*/ 68 h 248"/>
                <a:gd name="T76" fmla="*/ 503 w 512"/>
                <a:gd name="T77" fmla="*/ 69 h 248"/>
                <a:gd name="T78" fmla="*/ 512 w 512"/>
                <a:gd name="T79" fmla="*/ 73 h 248"/>
                <a:gd name="T80" fmla="*/ 512 w 512"/>
                <a:gd name="T81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2" h="248">
                  <a:moveTo>
                    <a:pt x="454" y="248"/>
                  </a:moveTo>
                  <a:lnTo>
                    <a:pt x="431" y="248"/>
                  </a:lnTo>
                  <a:lnTo>
                    <a:pt x="359" y="248"/>
                  </a:lnTo>
                  <a:lnTo>
                    <a:pt x="338" y="248"/>
                  </a:lnTo>
                  <a:lnTo>
                    <a:pt x="282" y="248"/>
                  </a:lnTo>
                  <a:lnTo>
                    <a:pt x="209" y="248"/>
                  </a:lnTo>
                  <a:lnTo>
                    <a:pt x="111" y="248"/>
                  </a:lnTo>
                  <a:lnTo>
                    <a:pt x="25" y="248"/>
                  </a:lnTo>
                  <a:lnTo>
                    <a:pt x="1" y="248"/>
                  </a:lnTo>
                  <a:lnTo>
                    <a:pt x="1" y="247"/>
                  </a:lnTo>
                  <a:lnTo>
                    <a:pt x="0" y="170"/>
                  </a:lnTo>
                  <a:lnTo>
                    <a:pt x="0" y="146"/>
                  </a:lnTo>
                  <a:lnTo>
                    <a:pt x="0" y="115"/>
                  </a:lnTo>
                  <a:lnTo>
                    <a:pt x="0" y="55"/>
                  </a:lnTo>
                  <a:lnTo>
                    <a:pt x="0" y="49"/>
                  </a:lnTo>
                  <a:lnTo>
                    <a:pt x="0" y="41"/>
                  </a:lnTo>
                  <a:lnTo>
                    <a:pt x="0" y="30"/>
                  </a:lnTo>
                  <a:lnTo>
                    <a:pt x="0" y="23"/>
                  </a:lnTo>
                  <a:lnTo>
                    <a:pt x="0" y="6"/>
                  </a:lnTo>
                  <a:lnTo>
                    <a:pt x="0" y="0"/>
                  </a:lnTo>
                  <a:lnTo>
                    <a:pt x="1" y="0"/>
                  </a:lnTo>
                  <a:lnTo>
                    <a:pt x="27" y="0"/>
                  </a:lnTo>
                  <a:lnTo>
                    <a:pt x="205" y="0"/>
                  </a:lnTo>
                  <a:lnTo>
                    <a:pt x="463" y="0"/>
                  </a:lnTo>
                  <a:lnTo>
                    <a:pt x="463" y="0"/>
                  </a:lnTo>
                  <a:lnTo>
                    <a:pt x="464" y="2"/>
                  </a:lnTo>
                  <a:lnTo>
                    <a:pt x="464" y="3"/>
                  </a:lnTo>
                  <a:lnTo>
                    <a:pt x="466" y="3"/>
                  </a:lnTo>
                  <a:lnTo>
                    <a:pt x="477" y="11"/>
                  </a:lnTo>
                  <a:lnTo>
                    <a:pt x="478" y="11"/>
                  </a:lnTo>
                  <a:lnTo>
                    <a:pt x="480" y="11"/>
                  </a:lnTo>
                  <a:lnTo>
                    <a:pt x="480" y="11"/>
                  </a:lnTo>
                  <a:lnTo>
                    <a:pt x="481" y="11"/>
                  </a:lnTo>
                  <a:lnTo>
                    <a:pt x="482" y="11"/>
                  </a:lnTo>
                  <a:lnTo>
                    <a:pt x="482" y="11"/>
                  </a:lnTo>
                  <a:lnTo>
                    <a:pt x="482" y="11"/>
                  </a:lnTo>
                  <a:lnTo>
                    <a:pt x="482" y="10"/>
                  </a:lnTo>
                  <a:lnTo>
                    <a:pt x="482" y="10"/>
                  </a:lnTo>
                  <a:lnTo>
                    <a:pt x="484" y="9"/>
                  </a:lnTo>
                  <a:lnTo>
                    <a:pt x="484" y="9"/>
                  </a:lnTo>
                  <a:lnTo>
                    <a:pt x="484" y="9"/>
                  </a:lnTo>
                  <a:lnTo>
                    <a:pt x="488" y="9"/>
                  </a:lnTo>
                  <a:lnTo>
                    <a:pt x="488" y="9"/>
                  </a:lnTo>
                  <a:lnTo>
                    <a:pt x="488" y="9"/>
                  </a:lnTo>
                  <a:lnTo>
                    <a:pt x="494" y="16"/>
                  </a:lnTo>
                  <a:lnTo>
                    <a:pt x="494" y="21"/>
                  </a:lnTo>
                  <a:lnTo>
                    <a:pt x="494" y="21"/>
                  </a:lnTo>
                  <a:lnTo>
                    <a:pt x="494" y="21"/>
                  </a:lnTo>
                  <a:lnTo>
                    <a:pt x="494" y="23"/>
                  </a:lnTo>
                  <a:lnTo>
                    <a:pt x="494" y="23"/>
                  </a:lnTo>
                  <a:lnTo>
                    <a:pt x="492" y="23"/>
                  </a:lnTo>
                  <a:lnTo>
                    <a:pt x="492" y="23"/>
                  </a:lnTo>
                  <a:lnTo>
                    <a:pt x="492" y="23"/>
                  </a:lnTo>
                  <a:lnTo>
                    <a:pt x="491" y="23"/>
                  </a:lnTo>
                  <a:lnTo>
                    <a:pt x="491" y="23"/>
                  </a:lnTo>
                  <a:lnTo>
                    <a:pt x="489" y="23"/>
                  </a:lnTo>
                  <a:lnTo>
                    <a:pt x="488" y="23"/>
                  </a:lnTo>
                  <a:lnTo>
                    <a:pt x="488" y="23"/>
                  </a:lnTo>
                  <a:lnTo>
                    <a:pt x="488" y="23"/>
                  </a:lnTo>
                  <a:lnTo>
                    <a:pt x="487" y="23"/>
                  </a:lnTo>
                  <a:lnTo>
                    <a:pt x="477" y="37"/>
                  </a:lnTo>
                  <a:lnTo>
                    <a:pt x="477" y="37"/>
                  </a:lnTo>
                  <a:lnTo>
                    <a:pt x="477" y="37"/>
                  </a:lnTo>
                  <a:lnTo>
                    <a:pt x="478" y="38"/>
                  </a:lnTo>
                  <a:lnTo>
                    <a:pt x="478" y="39"/>
                  </a:lnTo>
                  <a:lnTo>
                    <a:pt x="478" y="41"/>
                  </a:lnTo>
                  <a:lnTo>
                    <a:pt x="482" y="45"/>
                  </a:lnTo>
                  <a:lnTo>
                    <a:pt x="482" y="45"/>
                  </a:lnTo>
                  <a:lnTo>
                    <a:pt x="489" y="51"/>
                  </a:lnTo>
                  <a:lnTo>
                    <a:pt x="491" y="55"/>
                  </a:lnTo>
                  <a:lnTo>
                    <a:pt x="491" y="55"/>
                  </a:lnTo>
                  <a:lnTo>
                    <a:pt x="492" y="58"/>
                  </a:lnTo>
                  <a:lnTo>
                    <a:pt x="492" y="59"/>
                  </a:lnTo>
                  <a:lnTo>
                    <a:pt x="496" y="65"/>
                  </a:lnTo>
                  <a:lnTo>
                    <a:pt x="498" y="66"/>
                  </a:lnTo>
                  <a:lnTo>
                    <a:pt x="501" y="68"/>
                  </a:lnTo>
                  <a:lnTo>
                    <a:pt x="502" y="69"/>
                  </a:lnTo>
                  <a:lnTo>
                    <a:pt x="503" y="69"/>
                  </a:lnTo>
                  <a:lnTo>
                    <a:pt x="505" y="69"/>
                  </a:lnTo>
                  <a:lnTo>
                    <a:pt x="512" y="73"/>
                  </a:lnTo>
                  <a:lnTo>
                    <a:pt x="512" y="73"/>
                  </a:lnTo>
                  <a:lnTo>
                    <a:pt x="512" y="248"/>
                  </a:lnTo>
                  <a:lnTo>
                    <a:pt x="454" y="248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64" name="Freeform 56"/>
            <p:cNvSpPr>
              <a:spLocks/>
            </p:cNvSpPr>
            <p:nvPr/>
          </p:nvSpPr>
          <p:spPr bwMode="auto">
            <a:xfrm>
              <a:off x="7742979" y="3402003"/>
              <a:ext cx="528863" cy="255743"/>
            </a:xfrm>
            <a:custGeom>
              <a:avLst/>
              <a:gdLst>
                <a:gd name="T0" fmla="*/ 258 w 304"/>
                <a:gd name="T1" fmla="*/ 143 h 147"/>
                <a:gd name="T2" fmla="*/ 252 w 304"/>
                <a:gd name="T3" fmla="*/ 147 h 147"/>
                <a:gd name="T4" fmla="*/ 250 w 304"/>
                <a:gd name="T5" fmla="*/ 143 h 147"/>
                <a:gd name="T6" fmla="*/ 252 w 304"/>
                <a:gd name="T7" fmla="*/ 108 h 147"/>
                <a:gd name="T8" fmla="*/ 227 w 304"/>
                <a:gd name="T9" fmla="*/ 109 h 147"/>
                <a:gd name="T10" fmla="*/ 219 w 304"/>
                <a:gd name="T11" fmla="*/ 101 h 147"/>
                <a:gd name="T12" fmla="*/ 230 w 304"/>
                <a:gd name="T13" fmla="*/ 94 h 147"/>
                <a:gd name="T14" fmla="*/ 226 w 304"/>
                <a:gd name="T15" fmla="*/ 95 h 147"/>
                <a:gd name="T16" fmla="*/ 222 w 304"/>
                <a:gd name="T17" fmla="*/ 95 h 147"/>
                <a:gd name="T18" fmla="*/ 234 w 304"/>
                <a:gd name="T19" fmla="*/ 93 h 147"/>
                <a:gd name="T20" fmla="*/ 243 w 304"/>
                <a:gd name="T21" fmla="*/ 93 h 147"/>
                <a:gd name="T22" fmla="*/ 244 w 304"/>
                <a:gd name="T23" fmla="*/ 87 h 147"/>
                <a:gd name="T24" fmla="*/ 240 w 304"/>
                <a:gd name="T25" fmla="*/ 91 h 147"/>
                <a:gd name="T26" fmla="*/ 220 w 304"/>
                <a:gd name="T27" fmla="*/ 86 h 147"/>
                <a:gd name="T28" fmla="*/ 219 w 304"/>
                <a:gd name="T29" fmla="*/ 79 h 147"/>
                <a:gd name="T30" fmla="*/ 224 w 304"/>
                <a:gd name="T31" fmla="*/ 72 h 147"/>
                <a:gd name="T32" fmla="*/ 230 w 304"/>
                <a:gd name="T33" fmla="*/ 79 h 147"/>
                <a:gd name="T34" fmla="*/ 231 w 304"/>
                <a:gd name="T35" fmla="*/ 69 h 147"/>
                <a:gd name="T36" fmla="*/ 216 w 304"/>
                <a:gd name="T37" fmla="*/ 72 h 147"/>
                <a:gd name="T38" fmla="*/ 220 w 304"/>
                <a:gd name="T39" fmla="*/ 56 h 147"/>
                <a:gd name="T40" fmla="*/ 224 w 304"/>
                <a:gd name="T41" fmla="*/ 60 h 147"/>
                <a:gd name="T42" fmla="*/ 237 w 304"/>
                <a:gd name="T43" fmla="*/ 48 h 147"/>
                <a:gd name="T44" fmla="*/ 223 w 304"/>
                <a:gd name="T45" fmla="*/ 46 h 147"/>
                <a:gd name="T46" fmla="*/ 252 w 304"/>
                <a:gd name="T47" fmla="*/ 14 h 147"/>
                <a:gd name="T48" fmla="*/ 236 w 304"/>
                <a:gd name="T49" fmla="*/ 13 h 147"/>
                <a:gd name="T50" fmla="*/ 234 w 304"/>
                <a:gd name="T51" fmla="*/ 20 h 147"/>
                <a:gd name="T52" fmla="*/ 229 w 304"/>
                <a:gd name="T53" fmla="*/ 28 h 147"/>
                <a:gd name="T54" fmla="*/ 226 w 304"/>
                <a:gd name="T55" fmla="*/ 27 h 147"/>
                <a:gd name="T56" fmla="*/ 208 w 304"/>
                <a:gd name="T57" fmla="*/ 34 h 147"/>
                <a:gd name="T58" fmla="*/ 213 w 304"/>
                <a:gd name="T59" fmla="*/ 42 h 147"/>
                <a:gd name="T60" fmla="*/ 206 w 304"/>
                <a:gd name="T61" fmla="*/ 38 h 147"/>
                <a:gd name="T62" fmla="*/ 199 w 304"/>
                <a:gd name="T63" fmla="*/ 39 h 147"/>
                <a:gd name="T64" fmla="*/ 210 w 304"/>
                <a:gd name="T65" fmla="*/ 48 h 147"/>
                <a:gd name="T66" fmla="*/ 210 w 304"/>
                <a:gd name="T67" fmla="*/ 66 h 147"/>
                <a:gd name="T68" fmla="*/ 208 w 304"/>
                <a:gd name="T69" fmla="*/ 100 h 147"/>
                <a:gd name="T70" fmla="*/ 216 w 304"/>
                <a:gd name="T71" fmla="*/ 111 h 147"/>
                <a:gd name="T72" fmla="*/ 210 w 304"/>
                <a:gd name="T73" fmla="*/ 114 h 147"/>
                <a:gd name="T74" fmla="*/ 195 w 304"/>
                <a:gd name="T75" fmla="*/ 90 h 147"/>
                <a:gd name="T76" fmla="*/ 195 w 304"/>
                <a:gd name="T77" fmla="*/ 102 h 147"/>
                <a:gd name="T78" fmla="*/ 215 w 304"/>
                <a:gd name="T79" fmla="*/ 119 h 147"/>
                <a:gd name="T80" fmla="*/ 219 w 304"/>
                <a:gd name="T81" fmla="*/ 126 h 147"/>
                <a:gd name="T82" fmla="*/ 217 w 304"/>
                <a:gd name="T83" fmla="*/ 136 h 147"/>
                <a:gd name="T84" fmla="*/ 196 w 304"/>
                <a:gd name="T85" fmla="*/ 122 h 147"/>
                <a:gd name="T86" fmla="*/ 178 w 304"/>
                <a:gd name="T87" fmla="*/ 116 h 147"/>
                <a:gd name="T88" fmla="*/ 160 w 304"/>
                <a:gd name="T89" fmla="*/ 111 h 147"/>
                <a:gd name="T90" fmla="*/ 154 w 304"/>
                <a:gd name="T91" fmla="*/ 101 h 147"/>
                <a:gd name="T92" fmla="*/ 168 w 304"/>
                <a:gd name="T93" fmla="*/ 84 h 147"/>
                <a:gd name="T94" fmla="*/ 178 w 304"/>
                <a:gd name="T95" fmla="*/ 67 h 147"/>
                <a:gd name="T96" fmla="*/ 146 w 304"/>
                <a:gd name="T97" fmla="*/ 53 h 147"/>
                <a:gd name="T98" fmla="*/ 137 w 304"/>
                <a:gd name="T99" fmla="*/ 48 h 147"/>
                <a:gd name="T100" fmla="*/ 140 w 304"/>
                <a:gd name="T101" fmla="*/ 42 h 147"/>
                <a:gd name="T102" fmla="*/ 121 w 304"/>
                <a:gd name="T103" fmla="*/ 28 h 147"/>
                <a:gd name="T104" fmla="*/ 73 w 304"/>
                <a:gd name="T105" fmla="*/ 8 h 147"/>
                <a:gd name="T106" fmla="*/ 74 w 304"/>
                <a:gd name="T107" fmla="*/ 14 h 147"/>
                <a:gd name="T108" fmla="*/ 56 w 304"/>
                <a:gd name="T109" fmla="*/ 14 h 147"/>
                <a:gd name="T110" fmla="*/ 37 w 304"/>
                <a:gd name="T111" fmla="*/ 22 h 147"/>
                <a:gd name="T112" fmla="*/ 31 w 304"/>
                <a:gd name="T113" fmla="*/ 18 h 147"/>
                <a:gd name="T114" fmla="*/ 25 w 304"/>
                <a:gd name="T115" fmla="*/ 25 h 147"/>
                <a:gd name="T116" fmla="*/ 1 w 304"/>
                <a:gd name="T117" fmla="*/ 1 h 147"/>
                <a:gd name="T118" fmla="*/ 259 w 304"/>
                <a:gd name="T119" fmla="*/ 49 h 147"/>
                <a:gd name="T120" fmla="*/ 293 w 304"/>
                <a:gd name="T121" fmla="*/ 104 h 147"/>
                <a:gd name="T122" fmla="*/ 299 w 304"/>
                <a:gd name="T123" fmla="*/ 122 h 147"/>
                <a:gd name="T124" fmla="*/ 285 w 304"/>
                <a:gd name="T125" fmla="*/ 139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4" h="147">
                  <a:moveTo>
                    <a:pt x="278" y="140"/>
                  </a:moveTo>
                  <a:lnTo>
                    <a:pt x="268" y="142"/>
                  </a:lnTo>
                  <a:lnTo>
                    <a:pt x="266" y="143"/>
                  </a:lnTo>
                  <a:lnTo>
                    <a:pt x="266" y="144"/>
                  </a:lnTo>
                  <a:lnTo>
                    <a:pt x="264" y="143"/>
                  </a:lnTo>
                  <a:lnTo>
                    <a:pt x="262" y="143"/>
                  </a:lnTo>
                  <a:lnTo>
                    <a:pt x="262" y="143"/>
                  </a:lnTo>
                  <a:lnTo>
                    <a:pt x="258" y="143"/>
                  </a:lnTo>
                  <a:lnTo>
                    <a:pt x="258" y="143"/>
                  </a:lnTo>
                  <a:lnTo>
                    <a:pt x="258" y="143"/>
                  </a:lnTo>
                  <a:lnTo>
                    <a:pt x="257" y="144"/>
                  </a:lnTo>
                  <a:lnTo>
                    <a:pt x="255" y="144"/>
                  </a:lnTo>
                  <a:lnTo>
                    <a:pt x="254" y="146"/>
                  </a:lnTo>
                  <a:lnTo>
                    <a:pt x="254" y="146"/>
                  </a:lnTo>
                  <a:lnTo>
                    <a:pt x="252" y="147"/>
                  </a:lnTo>
                  <a:lnTo>
                    <a:pt x="252" y="147"/>
                  </a:lnTo>
                  <a:lnTo>
                    <a:pt x="251" y="147"/>
                  </a:lnTo>
                  <a:lnTo>
                    <a:pt x="251" y="147"/>
                  </a:lnTo>
                  <a:lnTo>
                    <a:pt x="251" y="147"/>
                  </a:lnTo>
                  <a:lnTo>
                    <a:pt x="250" y="146"/>
                  </a:lnTo>
                  <a:lnTo>
                    <a:pt x="250" y="146"/>
                  </a:lnTo>
                  <a:lnTo>
                    <a:pt x="250" y="146"/>
                  </a:lnTo>
                  <a:lnTo>
                    <a:pt x="250" y="146"/>
                  </a:lnTo>
                  <a:lnTo>
                    <a:pt x="250" y="143"/>
                  </a:lnTo>
                  <a:lnTo>
                    <a:pt x="250" y="143"/>
                  </a:lnTo>
                  <a:lnTo>
                    <a:pt x="251" y="135"/>
                  </a:lnTo>
                  <a:lnTo>
                    <a:pt x="247" y="129"/>
                  </a:lnTo>
                  <a:lnTo>
                    <a:pt x="248" y="121"/>
                  </a:lnTo>
                  <a:lnTo>
                    <a:pt x="252" y="109"/>
                  </a:lnTo>
                  <a:lnTo>
                    <a:pt x="252" y="108"/>
                  </a:lnTo>
                  <a:lnTo>
                    <a:pt x="252" y="108"/>
                  </a:lnTo>
                  <a:lnTo>
                    <a:pt x="252" y="108"/>
                  </a:lnTo>
                  <a:lnTo>
                    <a:pt x="251" y="108"/>
                  </a:lnTo>
                  <a:lnTo>
                    <a:pt x="251" y="108"/>
                  </a:lnTo>
                  <a:lnTo>
                    <a:pt x="251" y="108"/>
                  </a:lnTo>
                  <a:lnTo>
                    <a:pt x="240" y="121"/>
                  </a:lnTo>
                  <a:lnTo>
                    <a:pt x="238" y="123"/>
                  </a:lnTo>
                  <a:lnTo>
                    <a:pt x="236" y="118"/>
                  </a:lnTo>
                  <a:lnTo>
                    <a:pt x="230" y="112"/>
                  </a:lnTo>
                  <a:lnTo>
                    <a:pt x="227" y="109"/>
                  </a:lnTo>
                  <a:lnTo>
                    <a:pt x="226" y="109"/>
                  </a:lnTo>
                  <a:lnTo>
                    <a:pt x="226" y="109"/>
                  </a:lnTo>
                  <a:lnTo>
                    <a:pt x="226" y="109"/>
                  </a:lnTo>
                  <a:lnTo>
                    <a:pt x="226" y="114"/>
                  </a:lnTo>
                  <a:lnTo>
                    <a:pt x="224" y="111"/>
                  </a:lnTo>
                  <a:lnTo>
                    <a:pt x="219" y="102"/>
                  </a:lnTo>
                  <a:lnTo>
                    <a:pt x="219" y="101"/>
                  </a:lnTo>
                  <a:lnTo>
                    <a:pt x="219" y="101"/>
                  </a:lnTo>
                  <a:lnTo>
                    <a:pt x="220" y="101"/>
                  </a:lnTo>
                  <a:lnTo>
                    <a:pt x="220" y="100"/>
                  </a:lnTo>
                  <a:lnTo>
                    <a:pt x="224" y="100"/>
                  </a:lnTo>
                  <a:lnTo>
                    <a:pt x="227" y="98"/>
                  </a:lnTo>
                  <a:lnTo>
                    <a:pt x="229" y="97"/>
                  </a:lnTo>
                  <a:lnTo>
                    <a:pt x="230" y="95"/>
                  </a:lnTo>
                  <a:lnTo>
                    <a:pt x="230" y="94"/>
                  </a:lnTo>
                  <a:lnTo>
                    <a:pt x="230" y="94"/>
                  </a:lnTo>
                  <a:lnTo>
                    <a:pt x="230" y="94"/>
                  </a:lnTo>
                  <a:lnTo>
                    <a:pt x="229" y="94"/>
                  </a:lnTo>
                  <a:lnTo>
                    <a:pt x="227" y="94"/>
                  </a:lnTo>
                  <a:lnTo>
                    <a:pt x="227" y="94"/>
                  </a:lnTo>
                  <a:lnTo>
                    <a:pt x="227" y="94"/>
                  </a:lnTo>
                  <a:lnTo>
                    <a:pt x="226" y="94"/>
                  </a:lnTo>
                  <a:lnTo>
                    <a:pt x="226" y="94"/>
                  </a:lnTo>
                  <a:lnTo>
                    <a:pt x="226" y="95"/>
                  </a:lnTo>
                  <a:lnTo>
                    <a:pt x="226" y="95"/>
                  </a:lnTo>
                  <a:lnTo>
                    <a:pt x="226" y="95"/>
                  </a:lnTo>
                  <a:lnTo>
                    <a:pt x="224" y="95"/>
                  </a:lnTo>
                  <a:lnTo>
                    <a:pt x="224" y="97"/>
                  </a:lnTo>
                  <a:lnTo>
                    <a:pt x="223" y="95"/>
                  </a:lnTo>
                  <a:lnTo>
                    <a:pt x="223" y="95"/>
                  </a:lnTo>
                  <a:lnTo>
                    <a:pt x="223" y="95"/>
                  </a:lnTo>
                  <a:lnTo>
                    <a:pt x="222" y="95"/>
                  </a:lnTo>
                  <a:lnTo>
                    <a:pt x="222" y="94"/>
                  </a:lnTo>
                  <a:lnTo>
                    <a:pt x="223" y="90"/>
                  </a:lnTo>
                  <a:lnTo>
                    <a:pt x="229" y="91"/>
                  </a:lnTo>
                  <a:lnTo>
                    <a:pt x="231" y="91"/>
                  </a:lnTo>
                  <a:lnTo>
                    <a:pt x="231" y="91"/>
                  </a:lnTo>
                  <a:lnTo>
                    <a:pt x="233" y="93"/>
                  </a:lnTo>
                  <a:lnTo>
                    <a:pt x="233" y="93"/>
                  </a:lnTo>
                  <a:lnTo>
                    <a:pt x="234" y="93"/>
                  </a:lnTo>
                  <a:lnTo>
                    <a:pt x="234" y="93"/>
                  </a:lnTo>
                  <a:lnTo>
                    <a:pt x="237" y="94"/>
                  </a:lnTo>
                  <a:lnTo>
                    <a:pt x="238" y="94"/>
                  </a:lnTo>
                  <a:lnTo>
                    <a:pt x="238" y="94"/>
                  </a:lnTo>
                  <a:lnTo>
                    <a:pt x="240" y="94"/>
                  </a:lnTo>
                  <a:lnTo>
                    <a:pt x="240" y="94"/>
                  </a:lnTo>
                  <a:lnTo>
                    <a:pt x="241" y="94"/>
                  </a:lnTo>
                  <a:lnTo>
                    <a:pt x="243" y="93"/>
                  </a:lnTo>
                  <a:lnTo>
                    <a:pt x="243" y="93"/>
                  </a:lnTo>
                  <a:lnTo>
                    <a:pt x="243" y="93"/>
                  </a:lnTo>
                  <a:lnTo>
                    <a:pt x="244" y="91"/>
                  </a:lnTo>
                  <a:lnTo>
                    <a:pt x="244" y="91"/>
                  </a:lnTo>
                  <a:lnTo>
                    <a:pt x="244" y="88"/>
                  </a:lnTo>
                  <a:lnTo>
                    <a:pt x="244" y="87"/>
                  </a:lnTo>
                  <a:lnTo>
                    <a:pt x="244" y="87"/>
                  </a:lnTo>
                  <a:lnTo>
                    <a:pt x="244" y="87"/>
                  </a:lnTo>
                  <a:lnTo>
                    <a:pt x="243" y="88"/>
                  </a:lnTo>
                  <a:lnTo>
                    <a:pt x="243" y="88"/>
                  </a:lnTo>
                  <a:lnTo>
                    <a:pt x="243" y="90"/>
                  </a:lnTo>
                  <a:lnTo>
                    <a:pt x="243" y="90"/>
                  </a:lnTo>
                  <a:lnTo>
                    <a:pt x="241" y="91"/>
                  </a:lnTo>
                  <a:lnTo>
                    <a:pt x="241" y="91"/>
                  </a:lnTo>
                  <a:lnTo>
                    <a:pt x="241" y="91"/>
                  </a:lnTo>
                  <a:lnTo>
                    <a:pt x="240" y="91"/>
                  </a:lnTo>
                  <a:lnTo>
                    <a:pt x="238" y="91"/>
                  </a:lnTo>
                  <a:lnTo>
                    <a:pt x="237" y="91"/>
                  </a:lnTo>
                  <a:lnTo>
                    <a:pt x="237" y="91"/>
                  </a:lnTo>
                  <a:lnTo>
                    <a:pt x="236" y="91"/>
                  </a:lnTo>
                  <a:lnTo>
                    <a:pt x="229" y="86"/>
                  </a:lnTo>
                  <a:lnTo>
                    <a:pt x="227" y="80"/>
                  </a:lnTo>
                  <a:lnTo>
                    <a:pt x="220" y="86"/>
                  </a:lnTo>
                  <a:lnTo>
                    <a:pt x="220" y="86"/>
                  </a:lnTo>
                  <a:lnTo>
                    <a:pt x="219" y="86"/>
                  </a:lnTo>
                  <a:lnTo>
                    <a:pt x="219" y="86"/>
                  </a:lnTo>
                  <a:lnTo>
                    <a:pt x="217" y="86"/>
                  </a:lnTo>
                  <a:lnTo>
                    <a:pt x="217" y="86"/>
                  </a:lnTo>
                  <a:lnTo>
                    <a:pt x="217" y="84"/>
                  </a:lnTo>
                  <a:lnTo>
                    <a:pt x="217" y="84"/>
                  </a:lnTo>
                  <a:lnTo>
                    <a:pt x="219" y="79"/>
                  </a:lnTo>
                  <a:lnTo>
                    <a:pt x="219" y="79"/>
                  </a:lnTo>
                  <a:lnTo>
                    <a:pt x="220" y="74"/>
                  </a:lnTo>
                  <a:lnTo>
                    <a:pt x="220" y="74"/>
                  </a:lnTo>
                  <a:lnTo>
                    <a:pt x="220" y="73"/>
                  </a:lnTo>
                  <a:lnTo>
                    <a:pt x="223" y="73"/>
                  </a:lnTo>
                  <a:lnTo>
                    <a:pt x="223" y="72"/>
                  </a:lnTo>
                  <a:lnTo>
                    <a:pt x="223" y="72"/>
                  </a:lnTo>
                  <a:lnTo>
                    <a:pt x="224" y="72"/>
                  </a:lnTo>
                  <a:lnTo>
                    <a:pt x="224" y="72"/>
                  </a:lnTo>
                  <a:lnTo>
                    <a:pt x="226" y="74"/>
                  </a:lnTo>
                  <a:lnTo>
                    <a:pt x="226" y="74"/>
                  </a:lnTo>
                  <a:lnTo>
                    <a:pt x="227" y="74"/>
                  </a:lnTo>
                  <a:lnTo>
                    <a:pt x="227" y="76"/>
                  </a:lnTo>
                  <a:lnTo>
                    <a:pt x="227" y="76"/>
                  </a:lnTo>
                  <a:lnTo>
                    <a:pt x="229" y="77"/>
                  </a:lnTo>
                  <a:lnTo>
                    <a:pt x="229" y="77"/>
                  </a:lnTo>
                  <a:lnTo>
                    <a:pt x="230" y="79"/>
                  </a:lnTo>
                  <a:lnTo>
                    <a:pt x="230" y="79"/>
                  </a:lnTo>
                  <a:lnTo>
                    <a:pt x="231" y="79"/>
                  </a:lnTo>
                  <a:lnTo>
                    <a:pt x="233" y="77"/>
                  </a:lnTo>
                  <a:lnTo>
                    <a:pt x="234" y="76"/>
                  </a:lnTo>
                  <a:lnTo>
                    <a:pt x="234" y="76"/>
                  </a:lnTo>
                  <a:lnTo>
                    <a:pt x="234" y="76"/>
                  </a:lnTo>
                  <a:lnTo>
                    <a:pt x="234" y="74"/>
                  </a:lnTo>
                  <a:lnTo>
                    <a:pt x="231" y="69"/>
                  </a:lnTo>
                  <a:lnTo>
                    <a:pt x="226" y="62"/>
                  </a:lnTo>
                  <a:lnTo>
                    <a:pt x="226" y="62"/>
                  </a:lnTo>
                  <a:lnTo>
                    <a:pt x="226" y="62"/>
                  </a:lnTo>
                  <a:lnTo>
                    <a:pt x="226" y="62"/>
                  </a:lnTo>
                  <a:lnTo>
                    <a:pt x="220" y="66"/>
                  </a:lnTo>
                  <a:lnTo>
                    <a:pt x="219" y="69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0"/>
                  </a:lnTo>
                  <a:lnTo>
                    <a:pt x="216" y="67"/>
                  </a:lnTo>
                  <a:lnTo>
                    <a:pt x="217" y="65"/>
                  </a:lnTo>
                  <a:lnTo>
                    <a:pt x="217" y="63"/>
                  </a:lnTo>
                  <a:lnTo>
                    <a:pt x="217" y="62"/>
                  </a:lnTo>
                  <a:lnTo>
                    <a:pt x="219" y="60"/>
                  </a:lnTo>
                  <a:lnTo>
                    <a:pt x="220" y="58"/>
                  </a:lnTo>
                  <a:lnTo>
                    <a:pt x="220" y="56"/>
                  </a:lnTo>
                  <a:lnTo>
                    <a:pt x="220" y="56"/>
                  </a:lnTo>
                  <a:lnTo>
                    <a:pt x="220" y="56"/>
                  </a:lnTo>
                  <a:lnTo>
                    <a:pt x="222" y="56"/>
                  </a:lnTo>
                  <a:lnTo>
                    <a:pt x="222" y="58"/>
                  </a:lnTo>
                  <a:lnTo>
                    <a:pt x="223" y="59"/>
                  </a:lnTo>
                  <a:lnTo>
                    <a:pt x="223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6" y="60"/>
                  </a:lnTo>
                  <a:lnTo>
                    <a:pt x="227" y="60"/>
                  </a:lnTo>
                  <a:lnTo>
                    <a:pt x="229" y="60"/>
                  </a:lnTo>
                  <a:lnTo>
                    <a:pt x="230" y="59"/>
                  </a:lnTo>
                  <a:lnTo>
                    <a:pt x="230" y="59"/>
                  </a:lnTo>
                  <a:lnTo>
                    <a:pt x="231" y="59"/>
                  </a:lnTo>
                  <a:lnTo>
                    <a:pt x="231" y="58"/>
                  </a:lnTo>
                  <a:lnTo>
                    <a:pt x="237" y="48"/>
                  </a:lnTo>
                  <a:lnTo>
                    <a:pt x="237" y="48"/>
                  </a:lnTo>
                  <a:lnTo>
                    <a:pt x="237" y="48"/>
                  </a:lnTo>
                  <a:lnTo>
                    <a:pt x="236" y="48"/>
                  </a:lnTo>
                  <a:lnTo>
                    <a:pt x="231" y="49"/>
                  </a:lnTo>
                  <a:lnTo>
                    <a:pt x="226" y="53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30" y="34"/>
                  </a:lnTo>
                  <a:lnTo>
                    <a:pt x="230" y="32"/>
                  </a:lnTo>
                  <a:lnTo>
                    <a:pt x="234" y="29"/>
                  </a:lnTo>
                  <a:lnTo>
                    <a:pt x="236" y="29"/>
                  </a:lnTo>
                  <a:lnTo>
                    <a:pt x="243" y="27"/>
                  </a:lnTo>
                  <a:lnTo>
                    <a:pt x="251" y="15"/>
                  </a:lnTo>
                  <a:lnTo>
                    <a:pt x="252" y="14"/>
                  </a:lnTo>
                  <a:lnTo>
                    <a:pt x="252" y="13"/>
                  </a:lnTo>
                  <a:lnTo>
                    <a:pt x="252" y="11"/>
                  </a:lnTo>
                  <a:lnTo>
                    <a:pt x="252" y="11"/>
                  </a:lnTo>
                  <a:lnTo>
                    <a:pt x="252" y="11"/>
                  </a:lnTo>
                  <a:lnTo>
                    <a:pt x="245" y="8"/>
                  </a:lnTo>
                  <a:lnTo>
                    <a:pt x="245" y="10"/>
                  </a:lnTo>
                  <a:lnTo>
                    <a:pt x="236" y="13"/>
                  </a:lnTo>
                  <a:lnTo>
                    <a:pt x="236" y="13"/>
                  </a:lnTo>
                  <a:lnTo>
                    <a:pt x="236" y="14"/>
                  </a:lnTo>
                  <a:lnTo>
                    <a:pt x="234" y="15"/>
                  </a:lnTo>
                  <a:lnTo>
                    <a:pt x="233" y="18"/>
                  </a:lnTo>
                  <a:lnTo>
                    <a:pt x="233" y="18"/>
                  </a:lnTo>
                  <a:lnTo>
                    <a:pt x="233" y="18"/>
                  </a:lnTo>
                  <a:lnTo>
                    <a:pt x="233" y="20"/>
                  </a:lnTo>
                  <a:lnTo>
                    <a:pt x="234" y="20"/>
                  </a:lnTo>
                  <a:lnTo>
                    <a:pt x="234" y="20"/>
                  </a:lnTo>
                  <a:lnTo>
                    <a:pt x="237" y="20"/>
                  </a:lnTo>
                  <a:lnTo>
                    <a:pt x="237" y="21"/>
                  </a:lnTo>
                  <a:lnTo>
                    <a:pt x="237" y="21"/>
                  </a:lnTo>
                  <a:lnTo>
                    <a:pt x="237" y="21"/>
                  </a:lnTo>
                  <a:lnTo>
                    <a:pt x="237" y="22"/>
                  </a:lnTo>
                  <a:lnTo>
                    <a:pt x="236" y="22"/>
                  </a:lnTo>
                  <a:lnTo>
                    <a:pt x="234" y="24"/>
                  </a:lnTo>
                  <a:lnTo>
                    <a:pt x="229" y="28"/>
                  </a:lnTo>
                  <a:lnTo>
                    <a:pt x="227" y="28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6" y="29"/>
                  </a:lnTo>
                  <a:lnTo>
                    <a:pt x="226" y="28"/>
                  </a:lnTo>
                  <a:lnTo>
                    <a:pt x="226" y="28"/>
                  </a:lnTo>
                  <a:lnTo>
                    <a:pt x="226" y="28"/>
                  </a:lnTo>
                  <a:lnTo>
                    <a:pt x="226" y="27"/>
                  </a:lnTo>
                  <a:lnTo>
                    <a:pt x="226" y="24"/>
                  </a:lnTo>
                  <a:lnTo>
                    <a:pt x="223" y="22"/>
                  </a:lnTo>
                  <a:lnTo>
                    <a:pt x="216" y="25"/>
                  </a:lnTo>
                  <a:lnTo>
                    <a:pt x="217" y="28"/>
                  </a:lnTo>
                  <a:lnTo>
                    <a:pt x="212" y="32"/>
                  </a:lnTo>
                  <a:lnTo>
                    <a:pt x="209" y="34"/>
                  </a:lnTo>
                  <a:lnTo>
                    <a:pt x="208" y="34"/>
                  </a:lnTo>
                  <a:lnTo>
                    <a:pt x="208" y="34"/>
                  </a:lnTo>
                  <a:lnTo>
                    <a:pt x="210" y="38"/>
                  </a:lnTo>
                  <a:lnTo>
                    <a:pt x="212" y="39"/>
                  </a:lnTo>
                  <a:lnTo>
                    <a:pt x="212" y="39"/>
                  </a:lnTo>
                  <a:lnTo>
                    <a:pt x="213" y="39"/>
                  </a:lnTo>
                  <a:lnTo>
                    <a:pt x="213" y="39"/>
                  </a:lnTo>
                  <a:lnTo>
                    <a:pt x="215" y="41"/>
                  </a:lnTo>
                  <a:lnTo>
                    <a:pt x="215" y="41"/>
                  </a:lnTo>
                  <a:lnTo>
                    <a:pt x="213" y="42"/>
                  </a:lnTo>
                  <a:lnTo>
                    <a:pt x="210" y="42"/>
                  </a:lnTo>
                  <a:lnTo>
                    <a:pt x="209" y="41"/>
                  </a:lnTo>
                  <a:lnTo>
                    <a:pt x="209" y="41"/>
                  </a:lnTo>
                  <a:lnTo>
                    <a:pt x="209" y="41"/>
                  </a:lnTo>
                  <a:lnTo>
                    <a:pt x="208" y="39"/>
                  </a:lnTo>
                  <a:lnTo>
                    <a:pt x="208" y="39"/>
                  </a:lnTo>
                  <a:lnTo>
                    <a:pt x="208" y="39"/>
                  </a:lnTo>
                  <a:lnTo>
                    <a:pt x="206" y="38"/>
                  </a:lnTo>
                  <a:lnTo>
                    <a:pt x="203" y="38"/>
                  </a:lnTo>
                  <a:lnTo>
                    <a:pt x="202" y="37"/>
                  </a:lnTo>
                  <a:lnTo>
                    <a:pt x="199" y="38"/>
                  </a:lnTo>
                  <a:lnTo>
                    <a:pt x="199" y="38"/>
                  </a:lnTo>
                  <a:lnTo>
                    <a:pt x="199" y="38"/>
                  </a:lnTo>
                  <a:lnTo>
                    <a:pt x="199" y="38"/>
                  </a:lnTo>
                  <a:lnTo>
                    <a:pt x="199" y="39"/>
                  </a:lnTo>
                  <a:lnTo>
                    <a:pt x="199" y="39"/>
                  </a:lnTo>
                  <a:lnTo>
                    <a:pt x="199" y="39"/>
                  </a:lnTo>
                  <a:lnTo>
                    <a:pt x="201" y="39"/>
                  </a:lnTo>
                  <a:lnTo>
                    <a:pt x="201" y="39"/>
                  </a:lnTo>
                  <a:lnTo>
                    <a:pt x="202" y="39"/>
                  </a:lnTo>
                  <a:lnTo>
                    <a:pt x="205" y="42"/>
                  </a:lnTo>
                  <a:lnTo>
                    <a:pt x="208" y="45"/>
                  </a:lnTo>
                  <a:lnTo>
                    <a:pt x="210" y="46"/>
                  </a:lnTo>
                  <a:lnTo>
                    <a:pt x="210" y="48"/>
                  </a:lnTo>
                  <a:lnTo>
                    <a:pt x="212" y="49"/>
                  </a:lnTo>
                  <a:lnTo>
                    <a:pt x="212" y="51"/>
                  </a:lnTo>
                  <a:lnTo>
                    <a:pt x="215" y="58"/>
                  </a:lnTo>
                  <a:lnTo>
                    <a:pt x="215" y="58"/>
                  </a:lnTo>
                  <a:lnTo>
                    <a:pt x="215" y="59"/>
                  </a:lnTo>
                  <a:lnTo>
                    <a:pt x="210" y="66"/>
                  </a:lnTo>
                  <a:lnTo>
                    <a:pt x="210" y="66"/>
                  </a:lnTo>
                  <a:lnTo>
                    <a:pt x="210" y="66"/>
                  </a:lnTo>
                  <a:lnTo>
                    <a:pt x="209" y="66"/>
                  </a:lnTo>
                  <a:lnTo>
                    <a:pt x="205" y="72"/>
                  </a:lnTo>
                  <a:lnTo>
                    <a:pt x="205" y="81"/>
                  </a:lnTo>
                  <a:lnTo>
                    <a:pt x="206" y="95"/>
                  </a:lnTo>
                  <a:lnTo>
                    <a:pt x="206" y="95"/>
                  </a:lnTo>
                  <a:lnTo>
                    <a:pt x="206" y="98"/>
                  </a:lnTo>
                  <a:lnTo>
                    <a:pt x="208" y="100"/>
                  </a:lnTo>
                  <a:lnTo>
                    <a:pt x="208" y="100"/>
                  </a:lnTo>
                  <a:lnTo>
                    <a:pt x="208" y="101"/>
                  </a:lnTo>
                  <a:lnTo>
                    <a:pt x="210" y="104"/>
                  </a:lnTo>
                  <a:lnTo>
                    <a:pt x="213" y="107"/>
                  </a:lnTo>
                  <a:lnTo>
                    <a:pt x="215" y="108"/>
                  </a:lnTo>
                  <a:lnTo>
                    <a:pt x="215" y="109"/>
                  </a:lnTo>
                  <a:lnTo>
                    <a:pt x="216" y="111"/>
                  </a:lnTo>
                  <a:lnTo>
                    <a:pt x="216" y="111"/>
                  </a:lnTo>
                  <a:lnTo>
                    <a:pt x="216" y="111"/>
                  </a:lnTo>
                  <a:lnTo>
                    <a:pt x="215" y="112"/>
                  </a:lnTo>
                  <a:lnTo>
                    <a:pt x="213" y="114"/>
                  </a:lnTo>
                  <a:lnTo>
                    <a:pt x="213" y="114"/>
                  </a:lnTo>
                  <a:lnTo>
                    <a:pt x="212" y="114"/>
                  </a:lnTo>
                  <a:lnTo>
                    <a:pt x="212" y="114"/>
                  </a:lnTo>
                  <a:lnTo>
                    <a:pt x="210" y="114"/>
                  </a:lnTo>
                  <a:lnTo>
                    <a:pt x="210" y="114"/>
                  </a:lnTo>
                  <a:lnTo>
                    <a:pt x="210" y="114"/>
                  </a:lnTo>
                  <a:lnTo>
                    <a:pt x="202" y="105"/>
                  </a:lnTo>
                  <a:lnTo>
                    <a:pt x="198" y="101"/>
                  </a:lnTo>
                  <a:lnTo>
                    <a:pt x="196" y="101"/>
                  </a:lnTo>
                  <a:lnTo>
                    <a:pt x="195" y="94"/>
                  </a:lnTo>
                  <a:lnTo>
                    <a:pt x="195" y="93"/>
                  </a:lnTo>
                  <a:lnTo>
                    <a:pt x="195" y="91"/>
                  </a:lnTo>
                  <a:lnTo>
                    <a:pt x="195" y="91"/>
                  </a:lnTo>
                  <a:lnTo>
                    <a:pt x="195" y="90"/>
                  </a:lnTo>
                  <a:lnTo>
                    <a:pt x="195" y="88"/>
                  </a:lnTo>
                  <a:lnTo>
                    <a:pt x="195" y="87"/>
                  </a:lnTo>
                  <a:lnTo>
                    <a:pt x="195" y="86"/>
                  </a:lnTo>
                  <a:lnTo>
                    <a:pt x="195" y="86"/>
                  </a:lnTo>
                  <a:lnTo>
                    <a:pt x="195" y="86"/>
                  </a:lnTo>
                  <a:lnTo>
                    <a:pt x="194" y="87"/>
                  </a:lnTo>
                  <a:lnTo>
                    <a:pt x="194" y="88"/>
                  </a:lnTo>
                  <a:lnTo>
                    <a:pt x="195" y="102"/>
                  </a:lnTo>
                  <a:lnTo>
                    <a:pt x="196" y="102"/>
                  </a:lnTo>
                  <a:lnTo>
                    <a:pt x="196" y="104"/>
                  </a:lnTo>
                  <a:lnTo>
                    <a:pt x="201" y="108"/>
                  </a:lnTo>
                  <a:lnTo>
                    <a:pt x="208" y="115"/>
                  </a:lnTo>
                  <a:lnTo>
                    <a:pt x="210" y="116"/>
                  </a:lnTo>
                  <a:lnTo>
                    <a:pt x="210" y="116"/>
                  </a:lnTo>
                  <a:lnTo>
                    <a:pt x="216" y="118"/>
                  </a:lnTo>
                  <a:lnTo>
                    <a:pt x="215" y="119"/>
                  </a:lnTo>
                  <a:lnTo>
                    <a:pt x="215" y="121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5" y="123"/>
                  </a:lnTo>
                  <a:lnTo>
                    <a:pt x="216" y="123"/>
                  </a:lnTo>
                  <a:lnTo>
                    <a:pt x="217" y="125"/>
                  </a:lnTo>
                  <a:lnTo>
                    <a:pt x="219" y="126"/>
                  </a:lnTo>
                  <a:lnTo>
                    <a:pt x="219" y="128"/>
                  </a:lnTo>
                  <a:lnTo>
                    <a:pt x="219" y="129"/>
                  </a:lnTo>
                  <a:lnTo>
                    <a:pt x="220" y="130"/>
                  </a:lnTo>
                  <a:lnTo>
                    <a:pt x="220" y="137"/>
                  </a:lnTo>
                  <a:lnTo>
                    <a:pt x="220" y="137"/>
                  </a:lnTo>
                  <a:lnTo>
                    <a:pt x="220" y="137"/>
                  </a:lnTo>
                  <a:lnTo>
                    <a:pt x="219" y="137"/>
                  </a:lnTo>
                  <a:lnTo>
                    <a:pt x="217" y="136"/>
                  </a:lnTo>
                  <a:lnTo>
                    <a:pt x="203" y="126"/>
                  </a:lnTo>
                  <a:lnTo>
                    <a:pt x="202" y="125"/>
                  </a:lnTo>
                  <a:lnTo>
                    <a:pt x="202" y="123"/>
                  </a:lnTo>
                  <a:lnTo>
                    <a:pt x="201" y="123"/>
                  </a:lnTo>
                  <a:lnTo>
                    <a:pt x="201" y="122"/>
                  </a:lnTo>
                  <a:lnTo>
                    <a:pt x="199" y="122"/>
                  </a:lnTo>
                  <a:lnTo>
                    <a:pt x="198" y="122"/>
                  </a:lnTo>
                  <a:lnTo>
                    <a:pt x="196" y="122"/>
                  </a:lnTo>
                  <a:lnTo>
                    <a:pt x="195" y="122"/>
                  </a:lnTo>
                  <a:lnTo>
                    <a:pt x="194" y="122"/>
                  </a:lnTo>
                  <a:lnTo>
                    <a:pt x="192" y="122"/>
                  </a:lnTo>
                  <a:lnTo>
                    <a:pt x="191" y="122"/>
                  </a:lnTo>
                  <a:lnTo>
                    <a:pt x="189" y="122"/>
                  </a:lnTo>
                  <a:lnTo>
                    <a:pt x="181" y="119"/>
                  </a:lnTo>
                  <a:lnTo>
                    <a:pt x="181" y="119"/>
                  </a:lnTo>
                  <a:lnTo>
                    <a:pt x="178" y="116"/>
                  </a:lnTo>
                  <a:lnTo>
                    <a:pt x="174" y="112"/>
                  </a:lnTo>
                  <a:lnTo>
                    <a:pt x="174" y="112"/>
                  </a:lnTo>
                  <a:lnTo>
                    <a:pt x="170" y="105"/>
                  </a:lnTo>
                  <a:lnTo>
                    <a:pt x="168" y="105"/>
                  </a:lnTo>
                  <a:lnTo>
                    <a:pt x="167" y="107"/>
                  </a:lnTo>
                  <a:lnTo>
                    <a:pt x="167" y="108"/>
                  </a:lnTo>
                  <a:lnTo>
                    <a:pt x="160" y="111"/>
                  </a:lnTo>
                  <a:lnTo>
                    <a:pt x="160" y="111"/>
                  </a:lnTo>
                  <a:lnTo>
                    <a:pt x="158" y="111"/>
                  </a:lnTo>
                  <a:lnTo>
                    <a:pt x="158" y="111"/>
                  </a:lnTo>
                  <a:lnTo>
                    <a:pt x="158" y="111"/>
                  </a:lnTo>
                  <a:lnTo>
                    <a:pt x="156" y="109"/>
                  </a:lnTo>
                  <a:lnTo>
                    <a:pt x="156" y="108"/>
                  </a:lnTo>
                  <a:lnTo>
                    <a:pt x="156" y="108"/>
                  </a:lnTo>
                  <a:lnTo>
                    <a:pt x="154" y="101"/>
                  </a:lnTo>
                  <a:lnTo>
                    <a:pt x="154" y="101"/>
                  </a:lnTo>
                  <a:lnTo>
                    <a:pt x="156" y="98"/>
                  </a:lnTo>
                  <a:lnTo>
                    <a:pt x="156" y="97"/>
                  </a:lnTo>
                  <a:lnTo>
                    <a:pt x="156" y="95"/>
                  </a:lnTo>
                  <a:lnTo>
                    <a:pt x="160" y="91"/>
                  </a:lnTo>
                  <a:lnTo>
                    <a:pt x="166" y="86"/>
                  </a:lnTo>
                  <a:lnTo>
                    <a:pt x="167" y="84"/>
                  </a:lnTo>
                  <a:lnTo>
                    <a:pt x="167" y="84"/>
                  </a:lnTo>
                  <a:lnTo>
                    <a:pt x="168" y="84"/>
                  </a:lnTo>
                  <a:lnTo>
                    <a:pt x="170" y="84"/>
                  </a:lnTo>
                  <a:lnTo>
                    <a:pt x="170" y="84"/>
                  </a:lnTo>
                  <a:lnTo>
                    <a:pt x="170" y="84"/>
                  </a:lnTo>
                  <a:lnTo>
                    <a:pt x="171" y="84"/>
                  </a:lnTo>
                  <a:lnTo>
                    <a:pt x="173" y="79"/>
                  </a:lnTo>
                  <a:lnTo>
                    <a:pt x="171" y="76"/>
                  </a:lnTo>
                  <a:lnTo>
                    <a:pt x="171" y="76"/>
                  </a:lnTo>
                  <a:lnTo>
                    <a:pt x="178" y="67"/>
                  </a:lnTo>
                  <a:lnTo>
                    <a:pt x="180" y="67"/>
                  </a:lnTo>
                  <a:lnTo>
                    <a:pt x="170" y="59"/>
                  </a:lnTo>
                  <a:lnTo>
                    <a:pt x="164" y="63"/>
                  </a:lnTo>
                  <a:lnTo>
                    <a:pt x="154" y="56"/>
                  </a:lnTo>
                  <a:lnTo>
                    <a:pt x="154" y="56"/>
                  </a:lnTo>
                  <a:lnTo>
                    <a:pt x="153" y="55"/>
                  </a:lnTo>
                  <a:lnTo>
                    <a:pt x="149" y="53"/>
                  </a:lnTo>
                  <a:lnTo>
                    <a:pt x="146" y="53"/>
                  </a:lnTo>
                  <a:lnTo>
                    <a:pt x="144" y="53"/>
                  </a:lnTo>
                  <a:lnTo>
                    <a:pt x="143" y="53"/>
                  </a:lnTo>
                  <a:lnTo>
                    <a:pt x="143" y="53"/>
                  </a:lnTo>
                  <a:lnTo>
                    <a:pt x="142" y="53"/>
                  </a:lnTo>
                  <a:lnTo>
                    <a:pt x="142" y="52"/>
                  </a:lnTo>
                  <a:lnTo>
                    <a:pt x="140" y="52"/>
                  </a:lnTo>
                  <a:lnTo>
                    <a:pt x="137" y="48"/>
                  </a:lnTo>
                  <a:lnTo>
                    <a:pt x="137" y="48"/>
                  </a:lnTo>
                  <a:lnTo>
                    <a:pt x="137" y="48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9" y="44"/>
                  </a:lnTo>
                  <a:lnTo>
                    <a:pt x="139" y="44"/>
                  </a:lnTo>
                  <a:lnTo>
                    <a:pt x="140" y="44"/>
                  </a:lnTo>
                  <a:lnTo>
                    <a:pt x="140" y="42"/>
                  </a:lnTo>
                  <a:lnTo>
                    <a:pt x="140" y="41"/>
                  </a:lnTo>
                  <a:lnTo>
                    <a:pt x="140" y="39"/>
                  </a:lnTo>
                  <a:lnTo>
                    <a:pt x="140" y="39"/>
                  </a:lnTo>
                  <a:lnTo>
                    <a:pt x="140" y="39"/>
                  </a:lnTo>
                  <a:lnTo>
                    <a:pt x="135" y="35"/>
                  </a:lnTo>
                  <a:lnTo>
                    <a:pt x="129" y="34"/>
                  </a:lnTo>
                  <a:lnTo>
                    <a:pt x="121" y="32"/>
                  </a:lnTo>
                  <a:lnTo>
                    <a:pt x="121" y="28"/>
                  </a:lnTo>
                  <a:lnTo>
                    <a:pt x="111" y="10"/>
                  </a:lnTo>
                  <a:lnTo>
                    <a:pt x="95" y="1"/>
                  </a:lnTo>
                  <a:lnTo>
                    <a:pt x="94" y="1"/>
                  </a:lnTo>
                  <a:lnTo>
                    <a:pt x="93" y="1"/>
                  </a:lnTo>
                  <a:lnTo>
                    <a:pt x="91" y="1"/>
                  </a:lnTo>
                  <a:lnTo>
                    <a:pt x="90" y="1"/>
                  </a:lnTo>
                  <a:lnTo>
                    <a:pt x="76" y="7"/>
                  </a:lnTo>
                  <a:lnTo>
                    <a:pt x="73" y="8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4"/>
                  </a:lnTo>
                  <a:lnTo>
                    <a:pt x="73" y="14"/>
                  </a:lnTo>
                  <a:lnTo>
                    <a:pt x="72" y="15"/>
                  </a:lnTo>
                  <a:lnTo>
                    <a:pt x="70" y="15"/>
                  </a:lnTo>
                  <a:lnTo>
                    <a:pt x="69" y="15"/>
                  </a:lnTo>
                  <a:lnTo>
                    <a:pt x="62" y="15"/>
                  </a:lnTo>
                  <a:lnTo>
                    <a:pt x="59" y="15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42" y="15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1"/>
                  </a:lnTo>
                  <a:lnTo>
                    <a:pt x="34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29" y="20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2"/>
                  </a:lnTo>
                  <a:lnTo>
                    <a:pt x="25" y="24"/>
                  </a:lnTo>
                  <a:lnTo>
                    <a:pt x="25" y="25"/>
                  </a:lnTo>
                  <a:lnTo>
                    <a:pt x="21" y="28"/>
                  </a:lnTo>
                  <a:lnTo>
                    <a:pt x="3" y="41"/>
                  </a:lnTo>
                  <a:lnTo>
                    <a:pt x="1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1" y="27"/>
                  </a:lnTo>
                  <a:lnTo>
                    <a:pt x="1" y="1"/>
                  </a:lnTo>
                  <a:lnTo>
                    <a:pt x="1" y="0"/>
                  </a:lnTo>
                  <a:lnTo>
                    <a:pt x="257" y="0"/>
                  </a:lnTo>
                  <a:lnTo>
                    <a:pt x="257" y="4"/>
                  </a:lnTo>
                  <a:lnTo>
                    <a:pt x="258" y="25"/>
                  </a:lnTo>
                  <a:lnTo>
                    <a:pt x="258" y="28"/>
                  </a:lnTo>
                  <a:lnTo>
                    <a:pt x="258" y="39"/>
                  </a:lnTo>
                  <a:lnTo>
                    <a:pt x="259" y="48"/>
                  </a:lnTo>
                  <a:lnTo>
                    <a:pt x="259" y="49"/>
                  </a:lnTo>
                  <a:lnTo>
                    <a:pt x="259" y="52"/>
                  </a:lnTo>
                  <a:lnTo>
                    <a:pt x="259" y="56"/>
                  </a:lnTo>
                  <a:lnTo>
                    <a:pt x="261" y="66"/>
                  </a:lnTo>
                  <a:lnTo>
                    <a:pt x="261" y="70"/>
                  </a:lnTo>
                  <a:lnTo>
                    <a:pt x="261" y="104"/>
                  </a:lnTo>
                  <a:lnTo>
                    <a:pt x="266" y="104"/>
                  </a:lnTo>
                  <a:lnTo>
                    <a:pt x="278" y="104"/>
                  </a:lnTo>
                  <a:lnTo>
                    <a:pt x="293" y="104"/>
                  </a:lnTo>
                  <a:lnTo>
                    <a:pt x="300" y="104"/>
                  </a:lnTo>
                  <a:lnTo>
                    <a:pt x="304" y="104"/>
                  </a:lnTo>
                  <a:lnTo>
                    <a:pt x="304" y="105"/>
                  </a:lnTo>
                  <a:lnTo>
                    <a:pt x="304" y="114"/>
                  </a:lnTo>
                  <a:lnTo>
                    <a:pt x="304" y="115"/>
                  </a:lnTo>
                  <a:lnTo>
                    <a:pt x="303" y="115"/>
                  </a:lnTo>
                  <a:lnTo>
                    <a:pt x="300" y="121"/>
                  </a:lnTo>
                  <a:lnTo>
                    <a:pt x="299" y="122"/>
                  </a:lnTo>
                  <a:lnTo>
                    <a:pt x="299" y="122"/>
                  </a:lnTo>
                  <a:lnTo>
                    <a:pt x="297" y="123"/>
                  </a:lnTo>
                  <a:lnTo>
                    <a:pt x="297" y="123"/>
                  </a:lnTo>
                  <a:lnTo>
                    <a:pt x="297" y="123"/>
                  </a:lnTo>
                  <a:lnTo>
                    <a:pt x="287" y="132"/>
                  </a:lnTo>
                  <a:lnTo>
                    <a:pt x="286" y="135"/>
                  </a:lnTo>
                  <a:lnTo>
                    <a:pt x="286" y="135"/>
                  </a:lnTo>
                  <a:lnTo>
                    <a:pt x="285" y="139"/>
                  </a:lnTo>
                  <a:lnTo>
                    <a:pt x="285" y="139"/>
                  </a:lnTo>
                  <a:lnTo>
                    <a:pt x="278" y="140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65" name="Freeform 59"/>
            <p:cNvSpPr>
              <a:spLocks/>
            </p:cNvSpPr>
            <p:nvPr/>
          </p:nvSpPr>
          <p:spPr bwMode="auto">
            <a:xfrm>
              <a:off x="7243691" y="3438540"/>
              <a:ext cx="935947" cy="417539"/>
            </a:xfrm>
            <a:custGeom>
              <a:avLst/>
              <a:gdLst>
                <a:gd name="T0" fmla="*/ 159 w 538"/>
                <a:gd name="T1" fmla="*/ 175 h 240"/>
                <a:gd name="T2" fmla="*/ 173 w 538"/>
                <a:gd name="T3" fmla="*/ 180 h 240"/>
                <a:gd name="T4" fmla="*/ 209 w 538"/>
                <a:gd name="T5" fmla="*/ 167 h 240"/>
                <a:gd name="T6" fmla="*/ 218 w 538"/>
                <a:gd name="T7" fmla="*/ 166 h 240"/>
                <a:gd name="T8" fmla="*/ 221 w 538"/>
                <a:gd name="T9" fmla="*/ 167 h 240"/>
                <a:gd name="T10" fmla="*/ 237 w 538"/>
                <a:gd name="T11" fmla="*/ 150 h 240"/>
                <a:gd name="T12" fmla="*/ 232 w 538"/>
                <a:gd name="T13" fmla="*/ 146 h 240"/>
                <a:gd name="T14" fmla="*/ 252 w 538"/>
                <a:gd name="T15" fmla="*/ 121 h 240"/>
                <a:gd name="T16" fmla="*/ 270 w 538"/>
                <a:gd name="T17" fmla="*/ 90 h 240"/>
                <a:gd name="T18" fmla="*/ 276 w 538"/>
                <a:gd name="T19" fmla="*/ 72 h 240"/>
                <a:gd name="T20" fmla="*/ 284 w 538"/>
                <a:gd name="T21" fmla="*/ 74 h 240"/>
                <a:gd name="T22" fmla="*/ 286 w 538"/>
                <a:gd name="T23" fmla="*/ 81 h 240"/>
                <a:gd name="T24" fmla="*/ 308 w 538"/>
                <a:gd name="T25" fmla="*/ 76 h 240"/>
                <a:gd name="T26" fmla="*/ 315 w 538"/>
                <a:gd name="T27" fmla="*/ 59 h 240"/>
                <a:gd name="T28" fmla="*/ 333 w 538"/>
                <a:gd name="T29" fmla="*/ 51 h 240"/>
                <a:gd name="T30" fmla="*/ 340 w 538"/>
                <a:gd name="T31" fmla="*/ 45 h 240"/>
                <a:gd name="T32" fmla="*/ 352 w 538"/>
                <a:gd name="T33" fmla="*/ 38 h 240"/>
                <a:gd name="T34" fmla="*/ 367 w 538"/>
                <a:gd name="T35" fmla="*/ 1 h 240"/>
                <a:gd name="T36" fmla="*/ 406 w 538"/>
                <a:gd name="T37" fmla="*/ 17 h 240"/>
                <a:gd name="T38" fmla="*/ 427 w 538"/>
                <a:gd name="T39" fmla="*/ 20 h 240"/>
                <a:gd name="T40" fmla="*/ 424 w 538"/>
                <a:gd name="T41" fmla="*/ 27 h 240"/>
                <a:gd name="T42" fmla="*/ 431 w 538"/>
                <a:gd name="T43" fmla="*/ 32 h 240"/>
                <a:gd name="T44" fmla="*/ 451 w 538"/>
                <a:gd name="T45" fmla="*/ 44 h 240"/>
                <a:gd name="T46" fmla="*/ 457 w 538"/>
                <a:gd name="T47" fmla="*/ 60 h 240"/>
                <a:gd name="T48" fmla="*/ 437 w 538"/>
                <a:gd name="T49" fmla="*/ 93 h 240"/>
                <a:gd name="T50" fmla="*/ 458 w 538"/>
                <a:gd name="T51" fmla="*/ 95 h 240"/>
                <a:gd name="T52" fmla="*/ 493 w 538"/>
                <a:gd name="T53" fmla="*/ 118 h 240"/>
                <a:gd name="T54" fmla="*/ 511 w 538"/>
                <a:gd name="T55" fmla="*/ 128 h 240"/>
                <a:gd name="T56" fmla="*/ 503 w 538"/>
                <a:gd name="T57" fmla="*/ 150 h 240"/>
                <a:gd name="T58" fmla="*/ 467 w 538"/>
                <a:gd name="T59" fmla="*/ 118 h 240"/>
                <a:gd name="T60" fmla="*/ 455 w 538"/>
                <a:gd name="T61" fmla="*/ 107 h 240"/>
                <a:gd name="T62" fmla="*/ 458 w 538"/>
                <a:gd name="T63" fmla="*/ 112 h 240"/>
                <a:gd name="T64" fmla="*/ 467 w 538"/>
                <a:gd name="T65" fmla="*/ 119 h 240"/>
                <a:gd name="T66" fmla="*/ 483 w 538"/>
                <a:gd name="T67" fmla="*/ 140 h 240"/>
                <a:gd name="T68" fmla="*/ 490 w 538"/>
                <a:gd name="T69" fmla="*/ 149 h 240"/>
                <a:gd name="T70" fmla="*/ 511 w 538"/>
                <a:gd name="T71" fmla="*/ 163 h 240"/>
                <a:gd name="T72" fmla="*/ 503 w 538"/>
                <a:gd name="T73" fmla="*/ 171 h 240"/>
                <a:gd name="T74" fmla="*/ 497 w 538"/>
                <a:gd name="T75" fmla="*/ 181 h 240"/>
                <a:gd name="T76" fmla="*/ 482 w 538"/>
                <a:gd name="T77" fmla="*/ 171 h 240"/>
                <a:gd name="T78" fmla="*/ 499 w 538"/>
                <a:gd name="T79" fmla="*/ 185 h 240"/>
                <a:gd name="T80" fmla="*/ 509 w 538"/>
                <a:gd name="T81" fmla="*/ 202 h 240"/>
                <a:gd name="T82" fmla="*/ 486 w 538"/>
                <a:gd name="T83" fmla="*/ 192 h 240"/>
                <a:gd name="T84" fmla="*/ 485 w 538"/>
                <a:gd name="T85" fmla="*/ 185 h 240"/>
                <a:gd name="T86" fmla="*/ 467 w 538"/>
                <a:gd name="T87" fmla="*/ 182 h 240"/>
                <a:gd name="T88" fmla="*/ 443 w 538"/>
                <a:gd name="T89" fmla="*/ 175 h 240"/>
                <a:gd name="T90" fmla="*/ 489 w 538"/>
                <a:gd name="T91" fmla="*/ 202 h 240"/>
                <a:gd name="T92" fmla="*/ 506 w 538"/>
                <a:gd name="T93" fmla="*/ 213 h 240"/>
                <a:gd name="T94" fmla="*/ 517 w 538"/>
                <a:gd name="T95" fmla="*/ 209 h 240"/>
                <a:gd name="T96" fmla="*/ 528 w 538"/>
                <a:gd name="T97" fmla="*/ 209 h 240"/>
                <a:gd name="T98" fmla="*/ 537 w 538"/>
                <a:gd name="T99" fmla="*/ 233 h 240"/>
                <a:gd name="T100" fmla="*/ 532 w 538"/>
                <a:gd name="T101" fmla="*/ 226 h 240"/>
                <a:gd name="T102" fmla="*/ 530 w 538"/>
                <a:gd name="T103" fmla="*/ 240 h 240"/>
                <a:gd name="T104" fmla="*/ 525 w 538"/>
                <a:gd name="T105" fmla="*/ 238 h 240"/>
                <a:gd name="T106" fmla="*/ 352 w 538"/>
                <a:gd name="T107" fmla="*/ 240 h 240"/>
                <a:gd name="T108" fmla="*/ 138 w 538"/>
                <a:gd name="T109" fmla="*/ 236 h 240"/>
                <a:gd name="T110" fmla="*/ 51 w 538"/>
                <a:gd name="T111" fmla="*/ 236 h 240"/>
                <a:gd name="T112" fmla="*/ 2 w 538"/>
                <a:gd name="T113" fmla="*/ 233 h 240"/>
                <a:gd name="T114" fmla="*/ 66 w 538"/>
                <a:gd name="T115" fmla="*/ 194 h 240"/>
                <a:gd name="T116" fmla="*/ 105 w 538"/>
                <a:gd name="T117" fmla="*/ 168 h 240"/>
                <a:gd name="T118" fmla="*/ 126 w 538"/>
                <a:gd name="T119" fmla="*/ 18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38" h="240">
                  <a:moveTo>
                    <a:pt x="144" y="187"/>
                  </a:moveTo>
                  <a:lnTo>
                    <a:pt x="145" y="185"/>
                  </a:lnTo>
                  <a:lnTo>
                    <a:pt x="145" y="185"/>
                  </a:lnTo>
                  <a:lnTo>
                    <a:pt x="151" y="181"/>
                  </a:lnTo>
                  <a:lnTo>
                    <a:pt x="158" y="175"/>
                  </a:lnTo>
                  <a:lnTo>
                    <a:pt x="158" y="175"/>
                  </a:lnTo>
                  <a:lnTo>
                    <a:pt x="159" y="175"/>
                  </a:lnTo>
                  <a:lnTo>
                    <a:pt x="159" y="175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9" y="182"/>
                  </a:lnTo>
                  <a:lnTo>
                    <a:pt x="171" y="182"/>
                  </a:lnTo>
                  <a:lnTo>
                    <a:pt x="171" y="181"/>
                  </a:lnTo>
                  <a:lnTo>
                    <a:pt x="172" y="181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5" y="180"/>
                  </a:lnTo>
                  <a:lnTo>
                    <a:pt x="180" y="180"/>
                  </a:lnTo>
                  <a:lnTo>
                    <a:pt x="182" y="180"/>
                  </a:lnTo>
                  <a:lnTo>
                    <a:pt x="189" y="178"/>
                  </a:lnTo>
                  <a:lnTo>
                    <a:pt x="200" y="171"/>
                  </a:lnTo>
                  <a:lnTo>
                    <a:pt x="207" y="168"/>
                  </a:lnTo>
                  <a:lnTo>
                    <a:pt x="209" y="167"/>
                  </a:lnTo>
                  <a:lnTo>
                    <a:pt x="213" y="166"/>
                  </a:lnTo>
                  <a:lnTo>
                    <a:pt x="216" y="164"/>
                  </a:lnTo>
                  <a:lnTo>
                    <a:pt x="216" y="164"/>
                  </a:lnTo>
                  <a:lnTo>
                    <a:pt x="217" y="164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20" y="166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8" y="167"/>
                  </a:lnTo>
                  <a:lnTo>
                    <a:pt x="220" y="167"/>
                  </a:lnTo>
                  <a:lnTo>
                    <a:pt x="220" y="167"/>
                  </a:lnTo>
                  <a:lnTo>
                    <a:pt x="220" y="167"/>
                  </a:lnTo>
                  <a:lnTo>
                    <a:pt x="220" y="167"/>
                  </a:lnTo>
                  <a:lnTo>
                    <a:pt x="221" y="168"/>
                  </a:lnTo>
                  <a:lnTo>
                    <a:pt x="221" y="167"/>
                  </a:lnTo>
                  <a:lnTo>
                    <a:pt x="232" y="161"/>
                  </a:lnTo>
                  <a:lnTo>
                    <a:pt x="232" y="160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7" y="152"/>
                  </a:lnTo>
                  <a:lnTo>
                    <a:pt x="237" y="152"/>
                  </a:lnTo>
                  <a:lnTo>
                    <a:pt x="237" y="152"/>
                  </a:lnTo>
                  <a:lnTo>
                    <a:pt x="237" y="150"/>
                  </a:lnTo>
                  <a:lnTo>
                    <a:pt x="237" y="150"/>
                  </a:lnTo>
                  <a:lnTo>
                    <a:pt x="235" y="150"/>
                  </a:lnTo>
                  <a:lnTo>
                    <a:pt x="234" y="149"/>
                  </a:lnTo>
                  <a:lnTo>
                    <a:pt x="234" y="149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2" y="146"/>
                  </a:lnTo>
                  <a:lnTo>
                    <a:pt x="238" y="136"/>
                  </a:lnTo>
                  <a:lnTo>
                    <a:pt x="238" y="135"/>
                  </a:lnTo>
                  <a:lnTo>
                    <a:pt x="244" y="129"/>
                  </a:lnTo>
                  <a:lnTo>
                    <a:pt x="245" y="128"/>
                  </a:lnTo>
                  <a:lnTo>
                    <a:pt x="246" y="126"/>
                  </a:lnTo>
                  <a:lnTo>
                    <a:pt x="249" y="123"/>
                  </a:lnTo>
                  <a:lnTo>
                    <a:pt x="252" y="121"/>
                  </a:lnTo>
                  <a:lnTo>
                    <a:pt x="252" y="121"/>
                  </a:lnTo>
                  <a:lnTo>
                    <a:pt x="253" y="119"/>
                  </a:lnTo>
                  <a:lnTo>
                    <a:pt x="253" y="118"/>
                  </a:lnTo>
                  <a:lnTo>
                    <a:pt x="256" y="114"/>
                  </a:lnTo>
                  <a:lnTo>
                    <a:pt x="258" y="107"/>
                  </a:lnTo>
                  <a:lnTo>
                    <a:pt x="258" y="107"/>
                  </a:lnTo>
                  <a:lnTo>
                    <a:pt x="258" y="105"/>
                  </a:lnTo>
                  <a:lnTo>
                    <a:pt x="266" y="95"/>
                  </a:lnTo>
                  <a:lnTo>
                    <a:pt x="270" y="90"/>
                  </a:lnTo>
                  <a:lnTo>
                    <a:pt x="270" y="90"/>
                  </a:lnTo>
                  <a:lnTo>
                    <a:pt x="273" y="84"/>
                  </a:lnTo>
                  <a:lnTo>
                    <a:pt x="273" y="84"/>
                  </a:lnTo>
                  <a:lnTo>
                    <a:pt x="273" y="83"/>
                  </a:lnTo>
                  <a:lnTo>
                    <a:pt x="273" y="80"/>
                  </a:lnTo>
                  <a:lnTo>
                    <a:pt x="273" y="80"/>
                  </a:lnTo>
                  <a:lnTo>
                    <a:pt x="276" y="73"/>
                  </a:lnTo>
                  <a:lnTo>
                    <a:pt x="276" y="72"/>
                  </a:lnTo>
                  <a:lnTo>
                    <a:pt x="276" y="72"/>
                  </a:lnTo>
                  <a:lnTo>
                    <a:pt x="277" y="72"/>
                  </a:lnTo>
                  <a:lnTo>
                    <a:pt x="277" y="72"/>
                  </a:lnTo>
                  <a:lnTo>
                    <a:pt x="277" y="72"/>
                  </a:lnTo>
                  <a:lnTo>
                    <a:pt x="283" y="73"/>
                  </a:lnTo>
                  <a:lnTo>
                    <a:pt x="283" y="73"/>
                  </a:lnTo>
                  <a:lnTo>
                    <a:pt x="283" y="74"/>
                  </a:lnTo>
                  <a:lnTo>
                    <a:pt x="284" y="74"/>
                  </a:lnTo>
                  <a:lnTo>
                    <a:pt x="286" y="77"/>
                  </a:lnTo>
                  <a:lnTo>
                    <a:pt x="287" y="79"/>
                  </a:lnTo>
                  <a:lnTo>
                    <a:pt x="287" y="79"/>
                  </a:lnTo>
                  <a:lnTo>
                    <a:pt x="287" y="80"/>
                  </a:lnTo>
                  <a:lnTo>
                    <a:pt x="287" y="80"/>
                  </a:lnTo>
                  <a:lnTo>
                    <a:pt x="286" y="80"/>
                  </a:lnTo>
                  <a:lnTo>
                    <a:pt x="286" y="81"/>
                  </a:lnTo>
                  <a:lnTo>
                    <a:pt x="286" y="81"/>
                  </a:lnTo>
                  <a:lnTo>
                    <a:pt x="293" y="83"/>
                  </a:lnTo>
                  <a:lnTo>
                    <a:pt x="301" y="86"/>
                  </a:lnTo>
                  <a:lnTo>
                    <a:pt x="302" y="84"/>
                  </a:lnTo>
                  <a:lnTo>
                    <a:pt x="304" y="83"/>
                  </a:lnTo>
                  <a:lnTo>
                    <a:pt x="304" y="81"/>
                  </a:lnTo>
                  <a:lnTo>
                    <a:pt x="308" y="77"/>
                  </a:lnTo>
                  <a:lnTo>
                    <a:pt x="308" y="76"/>
                  </a:lnTo>
                  <a:lnTo>
                    <a:pt x="308" y="76"/>
                  </a:lnTo>
                  <a:lnTo>
                    <a:pt x="309" y="73"/>
                  </a:lnTo>
                  <a:lnTo>
                    <a:pt x="309" y="73"/>
                  </a:lnTo>
                  <a:lnTo>
                    <a:pt x="309" y="72"/>
                  </a:lnTo>
                  <a:lnTo>
                    <a:pt x="309" y="70"/>
                  </a:lnTo>
                  <a:lnTo>
                    <a:pt x="309" y="70"/>
                  </a:lnTo>
                  <a:lnTo>
                    <a:pt x="311" y="69"/>
                  </a:lnTo>
                  <a:lnTo>
                    <a:pt x="315" y="59"/>
                  </a:lnTo>
                  <a:lnTo>
                    <a:pt x="315" y="59"/>
                  </a:lnTo>
                  <a:lnTo>
                    <a:pt x="318" y="56"/>
                  </a:lnTo>
                  <a:lnTo>
                    <a:pt x="322" y="51"/>
                  </a:lnTo>
                  <a:lnTo>
                    <a:pt x="322" y="51"/>
                  </a:lnTo>
                  <a:lnTo>
                    <a:pt x="322" y="51"/>
                  </a:lnTo>
                  <a:lnTo>
                    <a:pt x="324" y="52"/>
                  </a:lnTo>
                  <a:lnTo>
                    <a:pt x="331" y="56"/>
                  </a:lnTo>
                  <a:lnTo>
                    <a:pt x="331" y="55"/>
                  </a:lnTo>
                  <a:lnTo>
                    <a:pt x="333" y="51"/>
                  </a:lnTo>
                  <a:lnTo>
                    <a:pt x="335" y="49"/>
                  </a:lnTo>
                  <a:lnTo>
                    <a:pt x="336" y="48"/>
                  </a:lnTo>
                  <a:lnTo>
                    <a:pt x="336" y="46"/>
                  </a:lnTo>
                  <a:lnTo>
                    <a:pt x="338" y="46"/>
                  </a:lnTo>
                  <a:lnTo>
                    <a:pt x="339" y="44"/>
                  </a:lnTo>
                  <a:lnTo>
                    <a:pt x="340" y="45"/>
                  </a:lnTo>
                  <a:lnTo>
                    <a:pt x="340" y="45"/>
                  </a:lnTo>
                  <a:lnTo>
                    <a:pt x="340" y="45"/>
                  </a:lnTo>
                  <a:lnTo>
                    <a:pt x="342" y="45"/>
                  </a:lnTo>
                  <a:lnTo>
                    <a:pt x="342" y="45"/>
                  </a:lnTo>
                  <a:lnTo>
                    <a:pt x="343" y="45"/>
                  </a:lnTo>
                  <a:lnTo>
                    <a:pt x="345" y="44"/>
                  </a:lnTo>
                  <a:lnTo>
                    <a:pt x="349" y="41"/>
                  </a:lnTo>
                  <a:lnTo>
                    <a:pt x="349" y="41"/>
                  </a:lnTo>
                  <a:lnTo>
                    <a:pt x="350" y="39"/>
                  </a:lnTo>
                  <a:lnTo>
                    <a:pt x="352" y="38"/>
                  </a:lnTo>
                  <a:lnTo>
                    <a:pt x="353" y="37"/>
                  </a:lnTo>
                  <a:lnTo>
                    <a:pt x="361" y="23"/>
                  </a:lnTo>
                  <a:lnTo>
                    <a:pt x="361" y="21"/>
                  </a:lnTo>
                  <a:lnTo>
                    <a:pt x="361" y="17"/>
                  </a:lnTo>
                  <a:lnTo>
                    <a:pt x="366" y="3"/>
                  </a:lnTo>
                  <a:lnTo>
                    <a:pt x="366" y="3"/>
                  </a:lnTo>
                  <a:lnTo>
                    <a:pt x="366" y="1"/>
                  </a:lnTo>
                  <a:lnTo>
                    <a:pt x="367" y="1"/>
                  </a:lnTo>
                  <a:lnTo>
                    <a:pt x="367" y="0"/>
                  </a:lnTo>
                  <a:lnTo>
                    <a:pt x="380" y="10"/>
                  </a:lnTo>
                  <a:lnTo>
                    <a:pt x="391" y="18"/>
                  </a:lnTo>
                  <a:lnTo>
                    <a:pt x="401" y="25"/>
                  </a:lnTo>
                  <a:lnTo>
                    <a:pt x="402" y="27"/>
                  </a:lnTo>
                  <a:lnTo>
                    <a:pt x="402" y="24"/>
                  </a:lnTo>
                  <a:lnTo>
                    <a:pt x="403" y="23"/>
                  </a:lnTo>
                  <a:lnTo>
                    <a:pt x="406" y="17"/>
                  </a:lnTo>
                  <a:lnTo>
                    <a:pt x="408" y="11"/>
                  </a:lnTo>
                  <a:lnTo>
                    <a:pt x="408" y="11"/>
                  </a:lnTo>
                  <a:lnTo>
                    <a:pt x="416" y="13"/>
                  </a:lnTo>
                  <a:lnTo>
                    <a:pt x="422" y="14"/>
                  </a:lnTo>
                  <a:lnTo>
                    <a:pt x="427" y="18"/>
                  </a:lnTo>
                  <a:lnTo>
                    <a:pt x="427" y="18"/>
                  </a:lnTo>
                  <a:lnTo>
                    <a:pt x="427" y="18"/>
                  </a:lnTo>
                  <a:lnTo>
                    <a:pt x="427" y="20"/>
                  </a:lnTo>
                  <a:lnTo>
                    <a:pt x="427" y="21"/>
                  </a:lnTo>
                  <a:lnTo>
                    <a:pt x="427" y="23"/>
                  </a:lnTo>
                  <a:lnTo>
                    <a:pt x="426" y="23"/>
                  </a:lnTo>
                  <a:lnTo>
                    <a:pt x="426" y="23"/>
                  </a:lnTo>
                  <a:lnTo>
                    <a:pt x="424" y="24"/>
                  </a:lnTo>
                  <a:lnTo>
                    <a:pt x="424" y="24"/>
                  </a:lnTo>
                  <a:lnTo>
                    <a:pt x="424" y="24"/>
                  </a:lnTo>
                  <a:lnTo>
                    <a:pt x="424" y="27"/>
                  </a:lnTo>
                  <a:lnTo>
                    <a:pt x="424" y="27"/>
                  </a:lnTo>
                  <a:lnTo>
                    <a:pt x="424" y="27"/>
                  </a:lnTo>
                  <a:lnTo>
                    <a:pt x="427" y="31"/>
                  </a:lnTo>
                  <a:lnTo>
                    <a:pt x="429" y="31"/>
                  </a:lnTo>
                  <a:lnTo>
                    <a:pt x="429" y="32"/>
                  </a:lnTo>
                  <a:lnTo>
                    <a:pt x="430" y="32"/>
                  </a:lnTo>
                  <a:lnTo>
                    <a:pt x="430" y="32"/>
                  </a:lnTo>
                  <a:lnTo>
                    <a:pt x="431" y="32"/>
                  </a:lnTo>
                  <a:lnTo>
                    <a:pt x="433" y="32"/>
                  </a:lnTo>
                  <a:lnTo>
                    <a:pt x="436" y="32"/>
                  </a:lnTo>
                  <a:lnTo>
                    <a:pt x="440" y="34"/>
                  </a:lnTo>
                  <a:lnTo>
                    <a:pt x="441" y="35"/>
                  </a:lnTo>
                  <a:lnTo>
                    <a:pt x="441" y="35"/>
                  </a:lnTo>
                  <a:lnTo>
                    <a:pt x="451" y="42"/>
                  </a:lnTo>
                  <a:lnTo>
                    <a:pt x="451" y="42"/>
                  </a:lnTo>
                  <a:lnTo>
                    <a:pt x="451" y="44"/>
                  </a:lnTo>
                  <a:lnTo>
                    <a:pt x="453" y="44"/>
                  </a:lnTo>
                  <a:lnTo>
                    <a:pt x="455" y="46"/>
                  </a:lnTo>
                  <a:lnTo>
                    <a:pt x="455" y="48"/>
                  </a:lnTo>
                  <a:lnTo>
                    <a:pt x="457" y="51"/>
                  </a:lnTo>
                  <a:lnTo>
                    <a:pt x="457" y="59"/>
                  </a:lnTo>
                  <a:lnTo>
                    <a:pt x="457" y="60"/>
                  </a:lnTo>
                  <a:lnTo>
                    <a:pt x="457" y="60"/>
                  </a:lnTo>
                  <a:lnTo>
                    <a:pt x="457" y="60"/>
                  </a:lnTo>
                  <a:lnTo>
                    <a:pt x="457" y="60"/>
                  </a:lnTo>
                  <a:lnTo>
                    <a:pt x="455" y="62"/>
                  </a:lnTo>
                  <a:lnTo>
                    <a:pt x="453" y="62"/>
                  </a:lnTo>
                  <a:lnTo>
                    <a:pt x="450" y="63"/>
                  </a:lnTo>
                  <a:lnTo>
                    <a:pt x="443" y="72"/>
                  </a:lnTo>
                  <a:lnTo>
                    <a:pt x="438" y="80"/>
                  </a:lnTo>
                  <a:lnTo>
                    <a:pt x="437" y="87"/>
                  </a:lnTo>
                  <a:lnTo>
                    <a:pt x="437" y="93"/>
                  </a:lnTo>
                  <a:lnTo>
                    <a:pt x="443" y="93"/>
                  </a:lnTo>
                  <a:lnTo>
                    <a:pt x="444" y="93"/>
                  </a:lnTo>
                  <a:lnTo>
                    <a:pt x="447" y="93"/>
                  </a:lnTo>
                  <a:lnTo>
                    <a:pt x="448" y="93"/>
                  </a:lnTo>
                  <a:lnTo>
                    <a:pt x="448" y="93"/>
                  </a:lnTo>
                  <a:lnTo>
                    <a:pt x="454" y="90"/>
                  </a:lnTo>
                  <a:lnTo>
                    <a:pt x="455" y="88"/>
                  </a:lnTo>
                  <a:lnTo>
                    <a:pt x="458" y="95"/>
                  </a:lnTo>
                  <a:lnTo>
                    <a:pt x="464" y="104"/>
                  </a:lnTo>
                  <a:lnTo>
                    <a:pt x="468" y="105"/>
                  </a:lnTo>
                  <a:lnTo>
                    <a:pt x="469" y="107"/>
                  </a:lnTo>
                  <a:lnTo>
                    <a:pt x="471" y="107"/>
                  </a:lnTo>
                  <a:lnTo>
                    <a:pt x="481" y="108"/>
                  </a:lnTo>
                  <a:lnTo>
                    <a:pt x="488" y="109"/>
                  </a:lnTo>
                  <a:lnTo>
                    <a:pt x="488" y="111"/>
                  </a:lnTo>
                  <a:lnTo>
                    <a:pt x="493" y="118"/>
                  </a:lnTo>
                  <a:lnTo>
                    <a:pt x="500" y="122"/>
                  </a:lnTo>
                  <a:lnTo>
                    <a:pt x="500" y="122"/>
                  </a:lnTo>
                  <a:lnTo>
                    <a:pt x="504" y="123"/>
                  </a:lnTo>
                  <a:lnTo>
                    <a:pt x="509" y="126"/>
                  </a:lnTo>
                  <a:lnTo>
                    <a:pt x="510" y="126"/>
                  </a:lnTo>
                  <a:lnTo>
                    <a:pt x="511" y="128"/>
                  </a:lnTo>
                  <a:lnTo>
                    <a:pt x="511" y="128"/>
                  </a:lnTo>
                  <a:lnTo>
                    <a:pt x="511" y="128"/>
                  </a:lnTo>
                  <a:lnTo>
                    <a:pt x="513" y="129"/>
                  </a:lnTo>
                  <a:lnTo>
                    <a:pt x="513" y="130"/>
                  </a:lnTo>
                  <a:lnTo>
                    <a:pt x="513" y="130"/>
                  </a:lnTo>
                  <a:lnTo>
                    <a:pt x="509" y="146"/>
                  </a:lnTo>
                  <a:lnTo>
                    <a:pt x="504" y="152"/>
                  </a:lnTo>
                  <a:lnTo>
                    <a:pt x="504" y="152"/>
                  </a:lnTo>
                  <a:lnTo>
                    <a:pt x="503" y="150"/>
                  </a:lnTo>
                  <a:lnTo>
                    <a:pt x="503" y="150"/>
                  </a:lnTo>
                  <a:lnTo>
                    <a:pt x="495" y="147"/>
                  </a:lnTo>
                  <a:lnTo>
                    <a:pt x="479" y="135"/>
                  </a:lnTo>
                  <a:lnTo>
                    <a:pt x="471" y="125"/>
                  </a:lnTo>
                  <a:lnTo>
                    <a:pt x="468" y="119"/>
                  </a:lnTo>
                  <a:lnTo>
                    <a:pt x="468" y="119"/>
                  </a:lnTo>
                  <a:lnTo>
                    <a:pt x="467" y="119"/>
                  </a:lnTo>
                  <a:lnTo>
                    <a:pt x="467" y="118"/>
                  </a:lnTo>
                  <a:lnTo>
                    <a:pt x="467" y="118"/>
                  </a:lnTo>
                  <a:lnTo>
                    <a:pt x="465" y="115"/>
                  </a:lnTo>
                  <a:lnTo>
                    <a:pt x="465" y="115"/>
                  </a:lnTo>
                  <a:lnTo>
                    <a:pt x="465" y="114"/>
                  </a:lnTo>
                  <a:lnTo>
                    <a:pt x="464" y="114"/>
                  </a:lnTo>
                  <a:lnTo>
                    <a:pt x="464" y="112"/>
                  </a:lnTo>
                  <a:lnTo>
                    <a:pt x="455" y="108"/>
                  </a:lnTo>
                  <a:lnTo>
                    <a:pt x="455" y="107"/>
                  </a:lnTo>
                  <a:lnTo>
                    <a:pt x="455" y="107"/>
                  </a:lnTo>
                  <a:lnTo>
                    <a:pt x="451" y="107"/>
                  </a:lnTo>
                  <a:lnTo>
                    <a:pt x="451" y="107"/>
                  </a:lnTo>
                  <a:lnTo>
                    <a:pt x="450" y="107"/>
                  </a:lnTo>
                  <a:lnTo>
                    <a:pt x="450" y="107"/>
                  </a:lnTo>
                  <a:lnTo>
                    <a:pt x="450" y="107"/>
                  </a:lnTo>
                  <a:lnTo>
                    <a:pt x="451" y="108"/>
                  </a:lnTo>
                  <a:lnTo>
                    <a:pt x="451" y="109"/>
                  </a:lnTo>
                  <a:lnTo>
                    <a:pt x="458" y="112"/>
                  </a:lnTo>
                  <a:lnTo>
                    <a:pt x="458" y="112"/>
                  </a:lnTo>
                  <a:lnTo>
                    <a:pt x="460" y="112"/>
                  </a:lnTo>
                  <a:lnTo>
                    <a:pt x="461" y="112"/>
                  </a:lnTo>
                  <a:lnTo>
                    <a:pt x="462" y="114"/>
                  </a:lnTo>
                  <a:lnTo>
                    <a:pt x="464" y="115"/>
                  </a:lnTo>
                  <a:lnTo>
                    <a:pt x="464" y="115"/>
                  </a:lnTo>
                  <a:lnTo>
                    <a:pt x="465" y="116"/>
                  </a:lnTo>
                  <a:lnTo>
                    <a:pt x="467" y="119"/>
                  </a:lnTo>
                  <a:lnTo>
                    <a:pt x="467" y="121"/>
                  </a:lnTo>
                  <a:lnTo>
                    <a:pt x="467" y="121"/>
                  </a:lnTo>
                  <a:lnTo>
                    <a:pt x="469" y="126"/>
                  </a:lnTo>
                  <a:lnTo>
                    <a:pt x="469" y="126"/>
                  </a:lnTo>
                  <a:lnTo>
                    <a:pt x="478" y="137"/>
                  </a:lnTo>
                  <a:lnTo>
                    <a:pt x="479" y="137"/>
                  </a:lnTo>
                  <a:lnTo>
                    <a:pt x="482" y="140"/>
                  </a:lnTo>
                  <a:lnTo>
                    <a:pt x="483" y="140"/>
                  </a:lnTo>
                  <a:lnTo>
                    <a:pt x="483" y="140"/>
                  </a:lnTo>
                  <a:lnTo>
                    <a:pt x="485" y="140"/>
                  </a:lnTo>
                  <a:lnTo>
                    <a:pt x="486" y="140"/>
                  </a:lnTo>
                  <a:lnTo>
                    <a:pt x="488" y="143"/>
                  </a:lnTo>
                  <a:lnTo>
                    <a:pt x="489" y="146"/>
                  </a:lnTo>
                  <a:lnTo>
                    <a:pt x="489" y="147"/>
                  </a:lnTo>
                  <a:lnTo>
                    <a:pt x="489" y="149"/>
                  </a:lnTo>
                  <a:lnTo>
                    <a:pt x="490" y="149"/>
                  </a:lnTo>
                  <a:lnTo>
                    <a:pt x="490" y="150"/>
                  </a:lnTo>
                  <a:lnTo>
                    <a:pt x="492" y="152"/>
                  </a:lnTo>
                  <a:lnTo>
                    <a:pt x="492" y="152"/>
                  </a:lnTo>
                  <a:lnTo>
                    <a:pt x="493" y="152"/>
                  </a:lnTo>
                  <a:lnTo>
                    <a:pt x="499" y="153"/>
                  </a:lnTo>
                  <a:lnTo>
                    <a:pt x="509" y="156"/>
                  </a:lnTo>
                  <a:lnTo>
                    <a:pt x="509" y="156"/>
                  </a:lnTo>
                  <a:lnTo>
                    <a:pt x="511" y="163"/>
                  </a:lnTo>
                  <a:lnTo>
                    <a:pt x="511" y="167"/>
                  </a:lnTo>
                  <a:lnTo>
                    <a:pt x="511" y="167"/>
                  </a:lnTo>
                  <a:lnTo>
                    <a:pt x="511" y="168"/>
                  </a:lnTo>
                  <a:lnTo>
                    <a:pt x="511" y="171"/>
                  </a:lnTo>
                  <a:lnTo>
                    <a:pt x="511" y="173"/>
                  </a:lnTo>
                  <a:lnTo>
                    <a:pt x="510" y="175"/>
                  </a:lnTo>
                  <a:lnTo>
                    <a:pt x="509" y="175"/>
                  </a:lnTo>
                  <a:lnTo>
                    <a:pt x="503" y="171"/>
                  </a:lnTo>
                  <a:lnTo>
                    <a:pt x="500" y="174"/>
                  </a:lnTo>
                  <a:lnTo>
                    <a:pt x="500" y="174"/>
                  </a:lnTo>
                  <a:lnTo>
                    <a:pt x="503" y="178"/>
                  </a:lnTo>
                  <a:lnTo>
                    <a:pt x="503" y="180"/>
                  </a:lnTo>
                  <a:lnTo>
                    <a:pt x="503" y="180"/>
                  </a:lnTo>
                  <a:lnTo>
                    <a:pt x="503" y="180"/>
                  </a:lnTo>
                  <a:lnTo>
                    <a:pt x="502" y="181"/>
                  </a:lnTo>
                  <a:lnTo>
                    <a:pt x="497" y="181"/>
                  </a:lnTo>
                  <a:lnTo>
                    <a:pt x="497" y="181"/>
                  </a:lnTo>
                  <a:lnTo>
                    <a:pt x="496" y="181"/>
                  </a:lnTo>
                  <a:lnTo>
                    <a:pt x="495" y="181"/>
                  </a:lnTo>
                  <a:lnTo>
                    <a:pt x="495" y="181"/>
                  </a:lnTo>
                  <a:lnTo>
                    <a:pt x="495" y="181"/>
                  </a:lnTo>
                  <a:lnTo>
                    <a:pt x="489" y="177"/>
                  </a:lnTo>
                  <a:lnTo>
                    <a:pt x="481" y="167"/>
                  </a:lnTo>
                  <a:lnTo>
                    <a:pt x="482" y="171"/>
                  </a:lnTo>
                  <a:lnTo>
                    <a:pt x="486" y="177"/>
                  </a:lnTo>
                  <a:lnTo>
                    <a:pt x="486" y="178"/>
                  </a:lnTo>
                  <a:lnTo>
                    <a:pt x="488" y="178"/>
                  </a:lnTo>
                  <a:lnTo>
                    <a:pt x="490" y="181"/>
                  </a:lnTo>
                  <a:lnTo>
                    <a:pt x="496" y="184"/>
                  </a:lnTo>
                  <a:lnTo>
                    <a:pt x="497" y="184"/>
                  </a:lnTo>
                  <a:lnTo>
                    <a:pt x="497" y="185"/>
                  </a:lnTo>
                  <a:lnTo>
                    <a:pt x="499" y="185"/>
                  </a:lnTo>
                  <a:lnTo>
                    <a:pt x="502" y="185"/>
                  </a:lnTo>
                  <a:lnTo>
                    <a:pt x="509" y="191"/>
                  </a:lnTo>
                  <a:lnTo>
                    <a:pt x="509" y="192"/>
                  </a:lnTo>
                  <a:lnTo>
                    <a:pt x="510" y="195"/>
                  </a:lnTo>
                  <a:lnTo>
                    <a:pt x="510" y="195"/>
                  </a:lnTo>
                  <a:lnTo>
                    <a:pt x="510" y="196"/>
                  </a:lnTo>
                  <a:lnTo>
                    <a:pt x="509" y="202"/>
                  </a:lnTo>
                  <a:lnTo>
                    <a:pt x="509" y="202"/>
                  </a:lnTo>
                  <a:lnTo>
                    <a:pt x="509" y="202"/>
                  </a:lnTo>
                  <a:lnTo>
                    <a:pt x="507" y="203"/>
                  </a:lnTo>
                  <a:lnTo>
                    <a:pt x="502" y="205"/>
                  </a:lnTo>
                  <a:lnTo>
                    <a:pt x="499" y="203"/>
                  </a:lnTo>
                  <a:lnTo>
                    <a:pt x="490" y="196"/>
                  </a:lnTo>
                  <a:lnTo>
                    <a:pt x="486" y="192"/>
                  </a:lnTo>
                  <a:lnTo>
                    <a:pt x="486" y="192"/>
                  </a:lnTo>
                  <a:lnTo>
                    <a:pt x="486" y="192"/>
                  </a:lnTo>
                  <a:lnTo>
                    <a:pt x="486" y="191"/>
                  </a:lnTo>
                  <a:lnTo>
                    <a:pt x="486" y="191"/>
                  </a:lnTo>
                  <a:lnTo>
                    <a:pt x="486" y="189"/>
                  </a:lnTo>
                  <a:lnTo>
                    <a:pt x="486" y="188"/>
                  </a:lnTo>
                  <a:lnTo>
                    <a:pt x="486" y="187"/>
                  </a:lnTo>
                  <a:lnTo>
                    <a:pt x="485" y="187"/>
                  </a:lnTo>
                  <a:lnTo>
                    <a:pt x="485" y="185"/>
                  </a:lnTo>
                  <a:lnTo>
                    <a:pt x="485" y="185"/>
                  </a:lnTo>
                  <a:lnTo>
                    <a:pt x="483" y="185"/>
                  </a:lnTo>
                  <a:lnTo>
                    <a:pt x="483" y="184"/>
                  </a:lnTo>
                  <a:lnTo>
                    <a:pt x="482" y="184"/>
                  </a:lnTo>
                  <a:lnTo>
                    <a:pt x="474" y="184"/>
                  </a:lnTo>
                  <a:lnTo>
                    <a:pt x="468" y="182"/>
                  </a:lnTo>
                  <a:lnTo>
                    <a:pt x="467" y="182"/>
                  </a:lnTo>
                  <a:lnTo>
                    <a:pt x="467" y="182"/>
                  </a:lnTo>
                  <a:lnTo>
                    <a:pt x="467" y="182"/>
                  </a:lnTo>
                  <a:lnTo>
                    <a:pt x="467" y="182"/>
                  </a:lnTo>
                  <a:lnTo>
                    <a:pt x="465" y="181"/>
                  </a:lnTo>
                  <a:lnTo>
                    <a:pt x="465" y="181"/>
                  </a:lnTo>
                  <a:lnTo>
                    <a:pt x="461" y="178"/>
                  </a:lnTo>
                  <a:lnTo>
                    <a:pt x="461" y="178"/>
                  </a:lnTo>
                  <a:lnTo>
                    <a:pt x="461" y="177"/>
                  </a:lnTo>
                  <a:lnTo>
                    <a:pt x="460" y="177"/>
                  </a:lnTo>
                  <a:lnTo>
                    <a:pt x="443" y="175"/>
                  </a:lnTo>
                  <a:lnTo>
                    <a:pt x="443" y="178"/>
                  </a:lnTo>
                  <a:lnTo>
                    <a:pt x="450" y="178"/>
                  </a:lnTo>
                  <a:lnTo>
                    <a:pt x="457" y="180"/>
                  </a:lnTo>
                  <a:lnTo>
                    <a:pt x="468" y="185"/>
                  </a:lnTo>
                  <a:lnTo>
                    <a:pt x="479" y="191"/>
                  </a:lnTo>
                  <a:lnTo>
                    <a:pt x="483" y="199"/>
                  </a:lnTo>
                  <a:lnTo>
                    <a:pt x="483" y="199"/>
                  </a:lnTo>
                  <a:lnTo>
                    <a:pt x="489" y="202"/>
                  </a:lnTo>
                  <a:lnTo>
                    <a:pt x="495" y="206"/>
                  </a:lnTo>
                  <a:lnTo>
                    <a:pt x="495" y="206"/>
                  </a:lnTo>
                  <a:lnTo>
                    <a:pt x="496" y="206"/>
                  </a:lnTo>
                  <a:lnTo>
                    <a:pt x="496" y="210"/>
                  </a:lnTo>
                  <a:lnTo>
                    <a:pt x="506" y="215"/>
                  </a:lnTo>
                  <a:lnTo>
                    <a:pt x="509" y="216"/>
                  </a:lnTo>
                  <a:lnTo>
                    <a:pt x="506" y="213"/>
                  </a:lnTo>
                  <a:lnTo>
                    <a:pt x="506" y="213"/>
                  </a:lnTo>
                  <a:lnTo>
                    <a:pt x="506" y="208"/>
                  </a:lnTo>
                  <a:lnTo>
                    <a:pt x="506" y="208"/>
                  </a:lnTo>
                  <a:lnTo>
                    <a:pt x="507" y="208"/>
                  </a:lnTo>
                  <a:lnTo>
                    <a:pt x="510" y="206"/>
                  </a:lnTo>
                  <a:lnTo>
                    <a:pt x="511" y="206"/>
                  </a:lnTo>
                  <a:lnTo>
                    <a:pt x="511" y="208"/>
                  </a:lnTo>
                  <a:lnTo>
                    <a:pt x="514" y="209"/>
                  </a:lnTo>
                  <a:lnTo>
                    <a:pt x="517" y="209"/>
                  </a:lnTo>
                  <a:lnTo>
                    <a:pt x="518" y="210"/>
                  </a:lnTo>
                  <a:lnTo>
                    <a:pt x="523" y="210"/>
                  </a:lnTo>
                  <a:lnTo>
                    <a:pt x="524" y="210"/>
                  </a:lnTo>
                  <a:lnTo>
                    <a:pt x="524" y="210"/>
                  </a:lnTo>
                  <a:lnTo>
                    <a:pt x="525" y="210"/>
                  </a:lnTo>
                  <a:lnTo>
                    <a:pt x="527" y="210"/>
                  </a:lnTo>
                  <a:lnTo>
                    <a:pt x="527" y="209"/>
                  </a:lnTo>
                  <a:lnTo>
                    <a:pt x="528" y="209"/>
                  </a:lnTo>
                  <a:lnTo>
                    <a:pt x="528" y="209"/>
                  </a:lnTo>
                  <a:lnTo>
                    <a:pt x="528" y="209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12"/>
                  </a:lnTo>
                  <a:lnTo>
                    <a:pt x="531" y="215"/>
                  </a:lnTo>
                  <a:lnTo>
                    <a:pt x="531" y="215"/>
                  </a:lnTo>
                  <a:lnTo>
                    <a:pt x="537" y="233"/>
                  </a:lnTo>
                  <a:lnTo>
                    <a:pt x="538" y="240"/>
                  </a:lnTo>
                  <a:lnTo>
                    <a:pt x="537" y="240"/>
                  </a:lnTo>
                  <a:lnTo>
                    <a:pt x="537" y="237"/>
                  </a:lnTo>
                  <a:lnTo>
                    <a:pt x="534" y="231"/>
                  </a:lnTo>
                  <a:lnTo>
                    <a:pt x="534" y="230"/>
                  </a:lnTo>
                  <a:lnTo>
                    <a:pt x="532" y="227"/>
                  </a:lnTo>
                  <a:lnTo>
                    <a:pt x="532" y="226"/>
                  </a:lnTo>
                  <a:lnTo>
                    <a:pt x="532" y="226"/>
                  </a:lnTo>
                  <a:lnTo>
                    <a:pt x="531" y="226"/>
                  </a:lnTo>
                  <a:lnTo>
                    <a:pt x="531" y="227"/>
                  </a:lnTo>
                  <a:lnTo>
                    <a:pt x="531" y="227"/>
                  </a:lnTo>
                  <a:lnTo>
                    <a:pt x="531" y="229"/>
                  </a:lnTo>
                  <a:lnTo>
                    <a:pt x="530" y="234"/>
                  </a:lnTo>
                  <a:lnTo>
                    <a:pt x="530" y="238"/>
                  </a:lnTo>
                  <a:lnTo>
                    <a:pt x="530" y="238"/>
                  </a:lnTo>
                  <a:lnTo>
                    <a:pt x="530" y="240"/>
                  </a:lnTo>
                  <a:lnTo>
                    <a:pt x="531" y="240"/>
                  </a:lnTo>
                  <a:lnTo>
                    <a:pt x="527" y="240"/>
                  </a:lnTo>
                  <a:lnTo>
                    <a:pt x="527" y="240"/>
                  </a:lnTo>
                  <a:lnTo>
                    <a:pt x="527" y="238"/>
                  </a:lnTo>
                  <a:lnTo>
                    <a:pt x="527" y="238"/>
                  </a:lnTo>
                  <a:lnTo>
                    <a:pt x="525" y="237"/>
                  </a:lnTo>
                  <a:lnTo>
                    <a:pt x="525" y="238"/>
                  </a:lnTo>
                  <a:lnTo>
                    <a:pt x="525" y="238"/>
                  </a:lnTo>
                  <a:lnTo>
                    <a:pt x="527" y="240"/>
                  </a:lnTo>
                  <a:lnTo>
                    <a:pt x="490" y="240"/>
                  </a:lnTo>
                  <a:lnTo>
                    <a:pt x="443" y="240"/>
                  </a:lnTo>
                  <a:lnTo>
                    <a:pt x="401" y="240"/>
                  </a:lnTo>
                  <a:lnTo>
                    <a:pt x="370" y="240"/>
                  </a:lnTo>
                  <a:lnTo>
                    <a:pt x="367" y="240"/>
                  </a:lnTo>
                  <a:lnTo>
                    <a:pt x="360" y="240"/>
                  </a:lnTo>
                  <a:lnTo>
                    <a:pt x="352" y="240"/>
                  </a:lnTo>
                  <a:lnTo>
                    <a:pt x="234" y="240"/>
                  </a:lnTo>
                  <a:lnTo>
                    <a:pt x="213" y="240"/>
                  </a:lnTo>
                  <a:lnTo>
                    <a:pt x="172" y="238"/>
                  </a:lnTo>
                  <a:lnTo>
                    <a:pt x="168" y="238"/>
                  </a:lnTo>
                  <a:lnTo>
                    <a:pt x="157" y="238"/>
                  </a:lnTo>
                  <a:lnTo>
                    <a:pt x="148" y="237"/>
                  </a:lnTo>
                  <a:lnTo>
                    <a:pt x="138" y="237"/>
                  </a:lnTo>
                  <a:lnTo>
                    <a:pt x="138" y="236"/>
                  </a:lnTo>
                  <a:lnTo>
                    <a:pt x="137" y="236"/>
                  </a:lnTo>
                  <a:lnTo>
                    <a:pt x="120" y="234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87" y="236"/>
                  </a:lnTo>
                  <a:lnTo>
                    <a:pt x="66" y="236"/>
                  </a:lnTo>
                  <a:lnTo>
                    <a:pt x="56" y="236"/>
                  </a:lnTo>
                  <a:lnTo>
                    <a:pt x="51" y="236"/>
                  </a:lnTo>
                  <a:lnTo>
                    <a:pt x="28" y="236"/>
                  </a:lnTo>
                  <a:lnTo>
                    <a:pt x="26" y="236"/>
                  </a:lnTo>
                  <a:lnTo>
                    <a:pt x="8" y="236"/>
                  </a:lnTo>
                  <a:lnTo>
                    <a:pt x="5" y="236"/>
                  </a:lnTo>
                  <a:lnTo>
                    <a:pt x="0" y="236"/>
                  </a:lnTo>
                  <a:lnTo>
                    <a:pt x="0" y="236"/>
                  </a:lnTo>
                  <a:lnTo>
                    <a:pt x="1" y="233"/>
                  </a:lnTo>
                  <a:lnTo>
                    <a:pt x="2" y="233"/>
                  </a:lnTo>
                  <a:lnTo>
                    <a:pt x="19" y="227"/>
                  </a:lnTo>
                  <a:lnTo>
                    <a:pt x="29" y="224"/>
                  </a:lnTo>
                  <a:lnTo>
                    <a:pt x="36" y="222"/>
                  </a:lnTo>
                  <a:lnTo>
                    <a:pt x="53" y="212"/>
                  </a:lnTo>
                  <a:lnTo>
                    <a:pt x="53" y="212"/>
                  </a:lnTo>
                  <a:lnTo>
                    <a:pt x="54" y="210"/>
                  </a:lnTo>
                  <a:lnTo>
                    <a:pt x="61" y="202"/>
                  </a:lnTo>
                  <a:lnTo>
                    <a:pt x="66" y="194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7" y="192"/>
                  </a:lnTo>
                  <a:lnTo>
                    <a:pt x="71" y="189"/>
                  </a:lnTo>
                  <a:lnTo>
                    <a:pt x="81" y="184"/>
                  </a:lnTo>
                  <a:lnTo>
                    <a:pt x="82" y="184"/>
                  </a:lnTo>
                  <a:lnTo>
                    <a:pt x="94" y="177"/>
                  </a:lnTo>
                  <a:lnTo>
                    <a:pt x="105" y="168"/>
                  </a:lnTo>
                  <a:lnTo>
                    <a:pt x="116" y="159"/>
                  </a:lnTo>
                  <a:lnTo>
                    <a:pt x="117" y="161"/>
                  </a:lnTo>
                  <a:lnTo>
                    <a:pt x="119" y="171"/>
                  </a:lnTo>
                  <a:lnTo>
                    <a:pt x="119" y="173"/>
                  </a:lnTo>
                  <a:lnTo>
                    <a:pt x="119" y="173"/>
                  </a:lnTo>
                  <a:lnTo>
                    <a:pt x="124" y="178"/>
                  </a:lnTo>
                  <a:lnTo>
                    <a:pt x="126" y="180"/>
                  </a:lnTo>
                  <a:lnTo>
                    <a:pt x="126" y="180"/>
                  </a:lnTo>
                  <a:lnTo>
                    <a:pt x="138" y="185"/>
                  </a:lnTo>
                  <a:lnTo>
                    <a:pt x="138" y="185"/>
                  </a:lnTo>
                  <a:lnTo>
                    <a:pt x="140" y="185"/>
                  </a:lnTo>
                  <a:lnTo>
                    <a:pt x="143" y="187"/>
                  </a:lnTo>
                  <a:lnTo>
                    <a:pt x="144" y="187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66" name="Freeform 61"/>
            <p:cNvSpPr>
              <a:spLocks/>
            </p:cNvSpPr>
            <p:nvPr/>
          </p:nvSpPr>
          <p:spPr bwMode="auto">
            <a:xfrm>
              <a:off x="8160501" y="3643830"/>
              <a:ext cx="78286" cy="127002"/>
            </a:xfrm>
            <a:custGeom>
              <a:avLst/>
              <a:gdLst>
                <a:gd name="T0" fmla="*/ 43 w 45"/>
                <a:gd name="T1" fmla="*/ 4 h 73"/>
                <a:gd name="T2" fmla="*/ 42 w 45"/>
                <a:gd name="T3" fmla="*/ 10 h 73"/>
                <a:gd name="T4" fmla="*/ 36 w 45"/>
                <a:gd name="T5" fmla="*/ 18 h 73"/>
                <a:gd name="T6" fmla="*/ 36 w 45"/>
                <a:gd name="T7" fmla="*/ 18 h 73"/>
                <a:gd name="T8" fmla="*/ 35 w 45"/>
                <a:gd name="T9" fmla="*/ 19 h 73"/>
                <a:gd name="T10" fmla="*/ 31 w 45"/>
                <a:gd name="T11" fmla="*/ 29 h 73"/>
                <a:gd name="T12" fmla="*/ 28 w 45"/>
                <a:gd name="T13" fmla="*/ 36 h 73"/>
                <a:gd name="T14" fmla="*/ 28 w 45"/>
                <a:gd name="T15" fmla="*/ 38 h 73"/>
                <a:gd name="T16" fmla="*/ 28 w 45"/>
                <a:gd name="T17" fmla="*/ 38 h 73"/>
                <a:gd name="T18" fmla="*/ 29 w 45"/>
                <a:gd name="T19" fmla="*/ 38 h 73"/>
                <a:gd name="T20" fmla="*/ 29 w 45"/>
                <a:gd name="T21" fmla="*/ 38 h 73"/>
                <a:gd name="T22" fmla="*/ 29 w 45"/>
                <a:gd name="T23" fmla="*/ 39 h 73"/>
                <a:gd name="T24" fmla="*/ 29 w 45"/>
                <a:gd name="T25" fmla="*/ 39 h 73"/>
                <a:gd name="T26" fmla="*/ 25 w 45"/>
                <a:gd name="T27" fmla="*/ 43 h 73"/>
                <a:gd name="T28" fmla="*/ 25 w 45"/>
                <a:gd name="T29" fmla="*/ 45 h 73"/>
                <a:gd name="T30" fmla="*/ 25 w 45"/>
                <a:gd name="T31" fmla="*/ 45 h 73"/>
                <a:gd name="T32" fmla="*/ 25 w 45"/>
                <a:gd name="T33" fmla="*/ 45 h 73"/>
                <a:gd name="T34" fmla="*/ 24 w 45"/>
                <a:gd name="T35" fmla="*/ 43 h 73"/>
                <a:gd name="T36" fmla="*/ 24 w 45"/>
                <a:gd name="T37" fmla="*/ 42 h 73"/>
                <a:gd name="T38" fmla="*/ 22 w 45"/>
                <a:gd name="T39" fmla="*/ 41 h 73"/>
                <a:gd name="T40" fmla="*/ 22 w 45"/>
                <a:gd name="T41" fmla="*/ 41 h 73"/>
                <a:gd name="T42" fmla="*/ 22 w 45"/>
                <a:gd name="T43" fmla="*/ 39 h 73"/>
                <a:gd name="T44" fmla="*/ 22 w 45"/>
                <a:gd name="T45" fmla="*/ 39 h 73"/>
                <a:gd name="T46" fmla="*/ 21 w 45"/>
                <a:gd name="T47" fmla="*/ 39 h 73"/>
                <a:gd name="T48" fmla="*/ 21 w 45"/>
                <a:gd name="T49" fmla="*/ 39 h 73"/>
                <a:gd name="T50" fmla="*/ 19 w 45"/>
                <a:gd name="T51" fmla="*/ 41 h 73"/>
                <a:gd name="T52" fmla="*/ 15 w 45"/>
                <a:gd name="T53" fmla="*/ 48 h 73"/>
                <a:gd name="T54" fmla="*/ 12 w 45"/>
                <a:gd name="T55" fmla="*/ 55 h 73"/>
                <a:gd name="T56" fmla="*/ 12 w 45"/>
                <a:gd name="T57" fmla="*/ 56 h 73"/>
                <a:gd name="T58" fmla="*/ 11 w 45"/>
                <a:gd name="T59" fmla="*/ 62 h 73"/>
                <a:gd name="T60" fmla="*/ 11 w 45"/>
                <a:gd name="T61" fmla="*/ 67 h 73"/>
                <a:gd name="T62" fmla="*/ 4 w 45"/>
                <a:gd name="T63" fmla="*/ 73 h 73"/>
                <a:gd name="T64" fmla="*/ 1 w 45"/>
                <a:gd name="T65" fmla="*/ 67 h 73"/>
                <a:gd name="T66" fmla="*/ 0 w 45"/>
                <a:gd name="T67" fmla="*/ 63 h 73"/>
                <a:gd name="T68" fmla="*/ 0 w 45"/>
                <a:gd name="T69" fmla="*/ 63 h 73"/>
                <a:gd name="T70" fmla="*/ 0 w 45"/>
                <a:gd name="T71" fmla="*/ 62 h 73"/>
                <a:gd name="T72" fmla="*/ 1 w 45"/>
                <a:gd name="T73" fmla="*/ 59 h 73"/>
                <a:gd name="T74" fmla="*/ 1 w 45"/>
                <a:gd name="T75" fmla="*/ 59 h 73"/>
                <a:gd name="T76" fmla="*/ 4 w 45"/>
                <a:gd name="T77" fmla="*/ 43 h 73"/>
                <a:gd name="T78" fmla="*/ 5 w 45"/>
                <a:gd name="T79" fmla="*/ 38 h 73"/>
                <a:gd name="T80" fmla="*/ 7 w 45"/>
                <a:gd name="T81" fmla="*/ 35 h 73"/>
                <a:gd name="T82" fmla="*/ 10 w 45"/>
                <a:gd name="T83" fmla="*/ 31 h 73"/>
                <a:gd name="T84" fmla="*/ 10 w 45"/>
                <a:gd name="T85" fmla="*/ 31 h 73"/>
                <a:gd name="T86" fmla="*/ 17 w 45"/>
                <a:gd name="T87" fmla="*/ 25 h 73"/>
                <a:gd name="T88" fmla="*/ 22 w 45"/>
                <a:gd name="T89" fmla="*/ 19 h 73"/>
                <a:gd name="T90" fmla="*/ 25 w 45"/>
                <a:gd name="T91" fmla="*/ 15 h 73"/>
                <a:gd name="T92" fmla="*/ 25 w 45"/>
                <a:gd name="T93" fmla="*/ 7 h 73"/>
                <a:gd name="T94" fmla="*/ 26 w 45"/>
                <a:gd name="T95" fmla="*/ 5 h 73"/>
                <a:gd name="T96" fmla="*/ 26 w 45"/>
                <a:gd name="T97" fmla="*/ 4 h 73"/>
                <a:gd name="T98" fmla="*/ 28 w 45"/>
                <a:gd name="T99" fmla="*/ 3 h 73"/>
                <a:gd name="T100" fmla="*/ 38 w 45"/>
                <a:gd name="T101" fmla="*/ 1 h 73"/>
                <a:gd name="T102" fmla="*/ 45 w 45"/>
                <a:gd name="T103" fmla="*/ 0 h 73"/>
                <a:gd name="T104" fmla="*/ 43 w 45"/>
                <a:gd name="T105" fmla="*/ 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5" h="73">
                  <a:moveTo>
                    <a:pt x="43" y="4"/>
                  </a:moveTo>
                  <a:lnTo>
                    <a:pt x="42" y="10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5" y="19"/>
                  </a:lnTo>
                  <a:lnTo>
                    <a:pt x="31" y="29"/>
                  </a:lnTo>
                  <a:lnTo>
                    <a:pt x="28" y="36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5" y="43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4" y="43"/>
                  </a:lnTo>
                  <a:lnTo>
                    <a:pt x="24" y="42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19" y="41"/>
                  </a:lnTo>
                  <a:lnTo>
                    <a:pt x="15" y="48"/>
                  </a:lnTo>
                  <a:lnTo>
                    <a:pt x="12" y="55"/>
                  </a:lnTo>
                  <a:lnTo>
                    <a:pt x="12" y="56"/>
                  </a:lnTo>
                  <a:lnTo>
                    <a:pt x="11" y="62"/>
                  </a:lnTo>
                  <a:lnTo>
                    <a:pt x="11" y="67"/>
                  </a:lnTo>
                  <a:lnTo>
                    <a:pt x="4" y="73"/>
                  </a:lnTo>
                  <a:lnTo>
                    <a:pt x="1" y="67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2"/>
                  </a:lnTo>
                  <a:lnTo>
                    <a:pt x="1" y="59"/>
                  </a:lnTo>
                  <a:lnTo>
                    <a:pt x="1" y="59"/>
                  </a:lnTo>
                  <a:lnTo>
                    <a:pt x="4" y="43"/>
                  </a:lnTo>
                  <a:lnTo>
                    <a:pt x="5" y="38"/>
                  </a:lnTo>
                  <a:lnTo>
                    <a:pt x="7" y="35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7" y="25"/>
                  </a:lnTo>
                  <a:lnTo>
                    <a:pt x="22" y="19"/>
                  </a:lnTo>
                  <a:lnTo>
                    <a:pt x="25" y="15"/>
                  </a:lnTo>
                  <a:lnTo>
                    <a:pt x="25" y="7"/>
                  </a:lnTo>
                  <a:lnTo>
                    <a:pt x="26" y="5"/>
                  </a:lnTo>
                  <a:lnTo>
                    <a:pt x="26" y="4"/>
                  </a:lnTo>
                  <a:lnTo>
                    <a:pt x="28" y="3"/>
                  </a:lnTo>
                  <a:lnTo>
                    <a:pt x="38" y="1"/>
                  </a:lnTo>
                  <a:lnTo>
                    <a:pt x="45" y="0"/>
                  </a:lnTo>
                  <a:lnTo>
                    <a:pt x="43" y="4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67" name="Freeform 66"/>
            <p:cNvSpPr>
              <a:spLocks/>
            </p:cNvSpPr>
            <p:nvPr/>
          </p:nvSpPr>
          <p:spPr bwMode="auto">
            <a:xfrm>
              <a:off x="2337803" y="2462540"/>
              <a:ext cx="967261" cy="612392"/>
            </a:xfrm>
            <a:custGeom>
              <a:avLst/>
              <a:gdLst>
                <a:gd name="T0" fmla="*/ 15 w 556"/>
                <a:gd name="T1" fmla="*/ 345 h 352"/>
                <a:gd name="T2" fmla="*/ 8 w 556"/>
                <a:gd name="T3" fmla="*/ 326 h 352"/>
                <a:gd name="T4" fmla="*/ 8 w 556"/>
                <a:gd name="T5" fmla="*/ 309 h 352"/>
                <a:gd name="T6" fmla="*/ 8 w 556"/>
                <a:gd name="T7" fmla="*/ 296 h 352"/>
                <a:gd name="T8" fmla="*/ 0 w 556"/>
                <a:gd name="T9" fmla="*/ 283 h 352"/>
                <a:gd name="T10" fmla="*/ 1 w 556"/>
                <a:gd name="T11" fmla="*/ 274 h 352"/>
                <a:gd name="T12" fmla="*/ 10 w 556"/>
                <a:gd name="T13" fmla="*/ 247 h 352"/>
                <a:gd name="T14" fmla="*/ 17 w 556"/>
                <a:gd name="T15" fmla="*/ 236 h 352"/>
                <a:gd name="T16" fmla="*/ 21 w 556"/>
                <a:gd name="T17" fmla="*/ 237 h 352"/>
                <a:gd name="T18" fmla="*/ 26 w 556"/>
                <a:gd name="T19" fmla="*/ 239 h 352"/>
                <a:gd name="T20" fmla="*/ 15 w 556"/>
                <a:gd name="T21" fmla="*/ 236 h 352"/>
                <a:gd name="T22" fmla="*/ 17 w 556"/>
                <a:gd name="T23" fmla="*/ 233 h 352"/>
                <a:gd name="T24" fmla="*/ 22 w 556"/>
                <a:gd name="T25" fmla="*/ 213 h 352"/>
                <a:gd name="T26" fmla="*/ 31 w 556"/>
                <a:gd name="T27" fmla="*/ 145 h 352"/>
                <a:gd name="T28" fmla="*/ 32 w 556"/>
                <a:gd name="T29" fmla="*/ 126 h 352"/>
                <a:gd name="T30" fmla="*/ 33 w 556"/>
                <a:gd name="T31" fmla="*/ 114 h 352"/>
                <a:gd name="T32" fmla="*/ 39 w 556"/>
                <a:gd name="T33" fmla="*/ 89 h 352"/>
                <a:gd name="T34" fmla="*/ 43 w 556"/>
                <a:gd name="T35" fmla="*/ 56 h 352"/>
                <a:gd name="T36" fmla="*/ 39 w 556"/>
                <a:gd name="T37" fmla="*/ 38 h 352"/>
                <a:gd name="T38" fmla="*/ 42 w 556"/>
                <a:gd name="T39" fmla="*/ 20 h 352"/>
                <a:gd name="T40" fmla="*/ 40 w 556"/>
                <a:gd name="T41" fmla="*/ 10 h 352"/>
                <a:gd name="T42" fmla="*/ 57 w 556"/>
                <a:gd name="T43" fmla="*/ 6 h 352"/>
                <a:gd name="T44" fmla="*/ 69 w 556"/>
                <a:gd name="T45" fmla="*/ 2 h 352"/>
                <a:gd name="T46" fmla="*/ 74 w 556"/>
                <a:gd name="T47" fmla="*/ 3 h 352"/>
                <a:gd name="T48" fmla="*/ 77 w 556"/>
                <a:gd name="T49" fmla="*/ 7 h 352"/>
                <a:gd name="T50" fmla="*/ 88 w 556"/>
                <a:gd name="T51" fmla="*/ 10 h 352"/>
                <a:gd name="T52" fmla="*/ 111 w 556"/>
                <a:gd name="T53" fmla="*/ 13 h 352"/>
                <a:gd name="T54" fmla="*/ 122 w 556"/>
                <a:gd name="T55" fmla="*/ 39 h 352"/>
                <a:gd name="T56" fmla="*/ 123 w 556"/>
                <a:gd name="T57" fmla="*/ 49 h 352"/>
                <a:gd name="T58" fmla="*/ 132 w 556"/>
                <a:gd name="T59" fmla="*/ 53 h 352"/>
                <a:gd name="T60" fmla="*/ 157 w 556"/>
                <a:gd name="T61" fmla="*/ 58 h 352"/>
                <a:gd name="T62" fmla="*/ 179 w 556"/>
                <a:gd name="T63" fmla="*/ 51 h 352"/>
                <a:gd name="T64" fmla="*/ 186 w 556"/>
                <a:gd name="T65" fmla="*/ 45 h 352"/>
                <a:gd name="T66" fmla="*/ 227 w 556"/>
                <a:gd name="T67" fmla="*/ 48 h 352"/>
                <a:gd name="T68" fmla="*/ 251 w 556"/>
                <a:gd name="T69" fmla="*/ 49 h 352"/>
                <a:gd name="T70" fmla="*/ 275 w 556"/>
                <a:gd name="T71" fmla="*/ 42 h 352"/>
                <a:gd name="T72" fmla="*/ 280 w 556"/>
                <a:gd name="T73" fmla="*/ 45 h 352"/>
                <a:gd name="T74" fmla="*/ 296 w 556"/>
                <a:gd name="T75" fmla="*/ 44 h 352"/>
                <a:gd name="T76" fmla="*/ 301 w 556"/>
                <a:gd name="T77" fmla="*/ 39 h 352"/>
                <a:gd name="T78" fmla="*/ 335 w 556"/>
                <a:gd name="T79" fmla="*/ 32 h 352"/>
                <a:gd name="T80" fmla="*/ 339 w 556"/>
                <a:gd name="T81" fmla="*/ 28 h 352"/>
                <a:gd name="T82" fmla="*/ 360 w 556"/>
                <a:gd name="T83" fmla="*/ 25 h 352"/>
                <a:gd name="T84" fmla="*/ 374 w 556"/>
                <a:gd name="T85" fmla="*/ 25 h 352"/>
                <a:gd name="T86" fmla="*/ 381 w 556"/>
                <a:gd name="T87" fmla="*/ 21 h 352"/>
                <a:gd name="T88" fmla="*/ 537 w 556"/>
                <a:gd name="T89" fmla="*/ 35 h 352"/>
                <a:gd name="T90" fmla="*/ 549 w 556"/>
                <a:gd name="T91" fmla="*/ 41 h 352"/>
                <a:gd name="T92" fmla="*/ 555 w 556"/>
                <a:gd name="T93" fmla="*/ 56 h 352"/>
                <a:gd name="T94" fmla="*/ 530 w 556"/>
                <a:gd name="T95" fmla="*/ 105 h 352"/>
                <a:gd name="T96" fmla="*/ 521 w 556"/>
                <a:gd name="T97" fmla="*/ 122 h 352"/>
                <a:gd name="T98" fmla="*/ 510 w 556"/>
                <a:gd name="T99" fmla="*/ 136 h 352"/>
                <a:gd name="T100" fmla="*/ 505 w 556"/>
                <a:gd name="T101" fmla="*/ 161 h 352"/>
                <a:gd name="T102" fmla="*/ 510 w 556"/>
                <a:gd name="T103" fmla="*/ 164 h 352"/>
                <a:gd name="T104" fmla="*/ 526 w 556"/>
                <a:gd name="T105" fmla="*/ 171 h 352"/>
                <a:gd name="T106" fmla="*/ 517 w 556"/>
                <a:gd name="T107" fmla="*/ 348 h 352"/>
                <a:gd name="T108" fmla="*/ 420 w 556"/>
                <a:gd name="T109" fmla="*/ 352 h 352"/>
                <a:gd name="T110" fmla="*/ 158 w 556"/>
                <a:gd name="T111" fmla="*/ 352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56" h="352">
                  <a:moveTo>
                    <a:pt x="22" y="351"/>
                  </a:moveTo>
                  <a:lnTo>
                    <a:pt x="21" y="349"/>
                  </a:lnTo>
                  <a:lnTo>
                    <a:pt x="21" y="349"/>
                  </a:lnTo>
                  <a:lnTo>
                    <a:pt x="18" y="347"/>
                  </a:lnTo>
                  <a:lnTo>
                    <a:pt x="18" y="347"/>
                  </a:lnTo>
                  <a:lnTo>
                    <a:pt x="15" y="345"/>
                  </a:lnTo>
                  <a:lnTo>
                    <a:pt x="12" y="344"/>
                  </a:lnTo>
                  <a:lnTo>
                    <a:pt x="12" y="342"/>
                  </a:lnTo>
                  <a:lnTo>
                    <a:pt x="12" y="341"/>
                  </a:lnTo>
                  <a:lnTo>
                    <a:pt x="11" y="338"/>
                  </a:lnTo>
                  <a:lnTo>
                    <a:pt x="10" y="331"/>
                  </a:lnTo>
                  <a:lnTo>
                    <a:pt x="8" y="326"/>
                  </a:lnTo>
                  <a:lnTo>
                    <a:pt x="7" y="321"/>
                  </a:lnTo>
                  <a:lnTo>
                    <a:pt x="7" y="311"/>
                  </a:lnTo>
                  <a:lnTo>
                    <a:pt x="7" y="311"/>
                  </a:lnTo>
                  <a:lnTo>
                    <a:pt x="7" y="309"/>
                  </a:lnTo>
                  <a:lnTo>
                    <a:pt x="8" y="309"/>
                  </a:lnTo>
                  <a:lnTo>
                    <a:pt x="8" y="309"/>
                  </a:lnTo>
                  <a:lnTo>
                    <a:pt x="8" y="307"/>
                  </a:lnTo>
                  <a:lnTo>
                    <a:pt x="8" y="306"/>
                  </a:lnTo>
                  <a:lnTo>
                    <a:pt x="10" y="304"/>
                  </a:lnTo>
                  <a:lnTo>
                    <a:pt x="10" y="300"/>
                  </a:lnTo>
                  <a:lnTo>
                    <a:pt x="8" y="297"/>
                  </a:lnTo>
                  <a:lnTo>
                    <a:pt x="8" y="296"/>
                  </a:lnTo>
                  <a:lnTo>
                    <a:pt x="7" y="296"/>
                  </a:lnTo>
                  <a:lnTo>
                    <a:pt x="7" y="295"/>
                  </a:lnTo>
                  <a:lnTo>
                    <a:pt x="5" y="295"/>
                  </a:lnTo>
                  <a:lnTo>
                    <a:pt x="5" y="293"/>
                  </a:lnTo>
                  <a:lnTo>
                    <a:pt x="3" y="290"/>
                  </a:lnTo>
                  <a:lnTo>
                    <a:pt x="0" y="283"/>
                  </a:lnTo>
                  <a:lnTo>
                    <a:pt x="0" y="281"/>
                  </a:lnTo>
                  <a:lnTo>
                    <a:pt x="0" y="278"/>
                  </a:lnTo>
                  <a:lnTo>
                    <a:pt x="0" y="276"/>
                  </a:lnTo>
                  <a:lnTo>
                    <a:pt x="0" y="275"/>
                  </a:lnTo>
                  <a:lnTo>
                    <a:pt x="1" y="275"/>
                  </a:lnTo>
                  <a:lnTo>
                    <a:pt x="1" y="274"/>
                  </a:lnTo>
                  <a:lnTo>
                    <a:pt x="3" y="272"/>
                  </a:lnTo>
                  <a:lnTo>
                    <a:pt x="5" y="267"/>
                  </a:lnTo>
                  <a:lnTo>
                    <a:pt x="5" y="265"/>
                  </a:lnTo>
                  <a:lnTo>
                    <a:pt x="7" y="265"/>
                  </a:lnTo>
                  <a:lnTo>
                    <a:pt x="8" y="254"/>
                  </a:lnTo>
                  <a:lnTo>
                    <a:pt x="10" y="247"/>
                  </a:lnTo>
                  <a:lnTo>
                    <a:pt x="10" y="246"/>
                  </a:lnTo>
                  <a:lnTo>
                    <a:pt x="10" y="243"/>
                  </a:lnTo>
                  <a:lnTo>
                    <a:pt x="10" y="243"/>
                  </a:lnTo>
                  <a:lnTo>
                    <a:pt x="10" y="243"/>
                  </a:lnTo>
                  <a:lnTo>
                    <a:pt x="12" y="240"/>
                  </a:lnTo>
                  <a:lnTo>
                    <a:pt x="17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21" y="237"/>
                  </a:lnTo>
                  <a:lnTo>
                    <a:pt x="21" y="237"/>
                  </a:lnTo>
                  <a:lnTo>
                    <a:pt x="22" y="237"/>
                  </a:lnTo>
                  <a:lnTo>
                    <a:pt x="24" y="239"/>
                  </a:lnTo>
                  <a:lnTo>
                    <a:pt x="25" y="239"/>
                  </a:lnTo>
                  <a:lnTo>
                    <a:pt x="25" y="239"/>
                  </a:lnTo>
                  <a:lnTo>
                    <a:pt x="26" y="239"/>
                  </a:lnTo>
                  <a:lnTo>
                    <a:pt x="26" y="239"/>
                  </a:lnTo>
                  <a:lnTo>
                    <a:pt x="26" y="239"/>
                  </a:lnTo>
                  <a:lnTo>
                    <a:pt x="22" y="232"/>
                  </a:lnTo>
                  <a:lnTo>
                    <a:pt x="19" y="233"/>
                  </a:lnTo>
                  <a:lnTo>
                    <a:pt x="17" y="234"/>
                  </a:lnTo>
                  <a:lnTo>
                    <a:pt x="17" y="236"/>
                  </a:lnTo>
                  <a:lnTo>
                    <a:pt x="15" y="236"/>
                  </a:lnTo>
                  <a:lnTo>
                    <a:pt x="15" y="236"/>
                  </a:lnTo>
                  <a:lnTo>
                    <a:pt x="15" y="236"/>
                  </a:lnTo>
                  <a:lnTo>
                    <a:pt x="15" y="236"/>
                  </a:lnTo>
                  <a:lnTo>
                    <a:pt x="15" y="236"/>
                  </a:lnTo>
                  <a:lnTo>
                    <a:pt x="15" y="236"/>
                  </a:lnTo>
                  <a:lnTo>
                    <a:pt x="17" y="233"/>
                  </a:lnTo>
                  <a:lnTo>
                    <a:pt x="19" y="223"/>
                  </a:lnTo>
                  <a:lnTo>
                    <a:pt x="21" y="220"/>
                  </a:lnTo>
                  <a:lnTo>
                    <a:pt x="21" y="218"/>
                  </a:lnTo>
                  <a:lnTo>
                    <a:pt x="21" y="216"/>
                  </a:lnTo>
                  <a:lnTo>
                    <a:pt x="22" y="213"/>
                  </a:lnTo>
                  <a:lnTo>
                    <a:pt x="22" y="213"/>
                  </a:lnTo>
                  <a:lnTo>
                    <a:pt x="28" y="209"/>
                  </a:lnTo>
                  <a:lnTo>
                    <a:pt x="26" y="206"/>
                  </a:lnTo>
                  <a:lnTo>
                    <a:pt x="25" y="204"/>
                  </a:lnTo>
                  <a:lnTo>
                    <a:pt x="26" y="194"/>
                  </a:lnTo>
                  <a:lnTo>
                    <a:pt x="28" y="174"/>
                  </a:lnTo>
                  <a:lnTo>
                    <a:pt x="31" y="145"/>
                  </a:lnTo>
                  <a:lnTo>
                    <a:pt x="31" y="143"/>
                  </a:lnTo>
                  <a:lnTo>
                    <a:pt x="31" y="138"/>
                  </a:lnTo>
                  <a:lnTo>
                    <a:pt x="32" y="136"/>
                  </a:lnTo>
                  <a:lnTo>
                    <a:pt x="32" y="135"/>
                  </a:lnTo>
                  <a:lnTo>
                    <a:pt x="32" y="135"/>
                  </a:lnTo>
                  <a:lnTo>
                    <a:pt x="32" y="126"/>
                  </a:lnTo>
                  <a:lnTo>
                    <a:pt x="32" y="125"/>
                  </a:lnTo>
                  <a:lnTo>
                    <a:pt x="32" y="124"/>
                  </a:lnTo>
                  <a:lnTo>
                    <a:pt x="31" y="121"/>
                  </a:lnTo>
                  <a:lnTo>
                    <a:pt x="32" y="118"/>
                  </a:lnTo>
                  <a:lnTo>
                    <a:pt x="32" y="117"/>
                  </a:lnTo>
                  <a:lnTo>
                    <a:pt x="33" y="114"/>
                  </a:lnTo>
                  <a:lnTo>
                    <a:pt x="35" y="108"/>
                  </a:lnTo>
                  <a:lnTo>
                    <a:pt x="36" y="105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9" y="89"/>
                  </a:lnTo>
                  <a:lnTo>
                    <a:pt x="39" y="89"/>
                  </a:lnTo>
                  <a:lnTo>
                    <a:pt x="39" y="87"/>
                  </a:lnTo>
                  <a:lnTo>
                    <a:pt x="39" y="86"/>
                  </a:lnTo>
                  <a:lnTo>
                    <a:pt x="39" y="66"/>
                  </a:lnTo>
                  <a:lnTo>
                    <a:pt x="39" y="61"/>
                  </a:lnTo>
                  <a:lnTo>
                    <a:pt x="45" y="61"/>
                  </a:lnTo>
                  <a:lnTo>
                    <a:pt x="43" y="56"/>
                  </a:lnTo>
                  <a:lnTo>
                    <a:pt x="40" y="55"/>
                  </a:lnTo>
                  <a:lnTo>
                    <a:pt x="42" y="48"/>
                  </a:lnTo>
                  <a:lnTo>
                    <a:pt x="42" y="45"/>
                  </a:lnTo>
                  <a:lnTo>
                    <a:pt x="40" y="44"/>
                  </a:lnTo>
                  <a:lnTo>
                    <a:pt x="39" y="41"/>
                  </a:lnTo>
                  <a:lnTo>
                    <a:pt x="39" y="38"/>
                  </a:lnTo>
                  <a:lnTo>
                    <a:pt x="40" y="30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2" y="21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17"/>
                  </a:lnTo>
                  <a:lnTo>
                    <a:pt x="42" y="16"/>
                  </a:lnTo>
                  <a:lnTo>
                    <a:pt x="40" y="14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39" y="7"/>
                  </a:lnTo>
                  <a:lnTo>
                    <a:pt x="40" y="4"/>
                  </a:lnTo>
                  <a:lnTo>
                    <a:pt x="48" y="6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63" y="4"/>
                  </a:lnTo>
                  <a:lnTo>
                    <a:pt x="64" y="4"/>
                  </a:lnTo>
                  <a:lnTo>
                    <a:pt x="66" y="3"/>
                  </a:lnTo>
                  <a:lnTo>
                    <a:pt x="67" y="3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70" y="0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4" y="3"/>
                  </a:lnTo>
                  <a:lnTo>
                    <a:pt x="74" y="4"/>
                  </a:lnTo>
                  <a:lnTo>
                    <a:pt x="76" y="4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7" y="7"/>
                  </a:lnTo>
                  <a:lnTo>
                    <a:pt x="78" y="9"/>
                  </a:lnTo>
                  <a:lnTo>
                    <a:pt x="80" y="9"/>
                  </a:lnTo>
                  <a:lnTo>
                    <a:pt x="85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8" y="10"/>
                  </a:lnTo>
                  <a:lnTo>
                    <a:pt x="91" y="9"/>
                  </a:lnTo>
                  <a:lnTo>
                    <a:pt x="94" y="6"/>
                  </a:lnTo>
                  <a:lnTo>
                    <a:pt x="97" y="6"/>
                  </a:lnTo>
                  <a:lnTo>
                    <a:pt x="108" y="11"/>
                  </a:lnTo>
                  <a:lnTo>
                    <a:pt x="109" y="11"/>
                  </a:lnTo>
                  <a:lnTo>
                    <a:pt x="111" y="13"/>
                  </a:lnTo>
                  <a:lnTo>
                    <a:pt x="112" y="16"/>
                  </a:lnTo>
                  <a:lnTo>
                    <a:pt x="113" y="16"/>
                  </a:lnTo>
                  <a:lnTo>
                    <a:pt x="118" y="23"/>
                  </a:lnTo>
                  <a:lnTo>
                    <a:pt x="118" y="24"/>
                  </a:lnTo>
                  <a:lnTo>
                    <a:pt x="120" y="32"/>
                  </a:lnTo>
                  <a:lnTo>
                    <a:pt x="122" y="39"/>
                  </a:lnTo>
                  <a:lnTo>
                    <a:pt x="122" y="44"/>
                  </a:lnTo>
                  <a:lnTo>
                    <a:pt x="122" y="46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22" y="49"/>
                  </a:lnTo>
                  <a:lnTo>
                    <a:pt x="123" y="49"/>
                  </a:lnTo>
                  <a:lnTo>
                    <a:pt x="123" y="49"/>
                  </a:lnTo>
                  <a:lnTo>
                    <a:pt x="126" y="52"/>
                  </a:lnTo>
                  <a:lnTo>
                    <a:pt x="127" y="52"/>
                  </a:lnTo>
                  <a:lnTo>
                    <a:pt x="129" y="53"/>
                  </a:lnTo>
                  <a:lnTo>
                    <a:pt x="130" y="53"/>
                  </a:lnTo>
                  <a:lnTo>
                    <a:pt x="132" y="53"/>
                  </a:lnTo>
                  <a:lnTo>
                    <a:pt x="141" y="55"/>
                  </a:lnTo>
                  <a:lnTo>
                    <a:pt x="147" y="55"/>
                  </a:lnTo>
                  <a:lnTo>
                    <a:pt x="153" y="56"/>
                  </a:lnTo>
                  <a:lnTo>
                    <a:pt x="153" y="56"/>
                  </a:lnTo>
                  <a:lnTo>
                    <a:pt x="154" y="58"/>
                  </a:lnTo>
                  <a:lnTo>
                    <a:pt x="157" y="58"/>
                  </a:lnTo>
                  <a:lnTo>
                    <a:pt x="158" y="58"/>
                  </a:lnTo>
                  <a:lnTo>
                    <a:pt x="161" y="56"/>
                  </a:lnTo>
                  <a:lnTo>
                    <a:pt x="168" y="53"/>
                  </a:lnTo>
                  <a:lnTo>
                    <a:pt x="172" y="53"/>
                  </a:lnTo>
                  <a:lnTo>
                    <a:pt x="175" y="52"/>
                  </a:lnTo>
                  <a:lnTo>
                    <a:pt x="179" y="51"/>
                  </a:lnTo>
                  <a:lnTo>
                    <a:pt x="179" y="49"/>
                  </a:lnTo>
                  <a:lnTo>
                    <a:pt x="182" y="48"/>
                  </a:lnTo>
                  <a:lnTo>
                    <a:pt x="184" y="46"/>
                  </a:lnTo>
                  <a:lnTo>
                    <a:pt x="185" y="45"/>
                  </a:lnTo>
                  <a:lnTo>
                    <a:pt x="185" y="45"/>
                  </a:lnTo>
                  <a:lnTo>
                    <a:pt x="186" y="45"/>
                  </a:lnTo>
                  <a:lnTo>
                    <a:pt x="188" y="45"/>
                  </a:lnTo>
                  <a:lnTo>
                    <a:pt x="209" y="44"/>
                  </a:lnTo>
                  <a:lnTo>
                    <a:pt x="221" y="45"/>
                  </a:lnTo>
                  <a:lnTo>
                    <a:pt x="223" y="45"/>
                  </a:lnTo>
                  <a:lnTo>
                    <a:pt x="224" y="46"/>
                  </a:lnTo>
                  <a:lnTo>
                    <a:pt x="227" y="48"/>
                  </a:lnTo>
                  <a:lnTo>
                    <a:pt x="228" y="48"/>
                  </a:lnTo>
                  <a:lnTo>
                    <a:pt x="230" y="48"/>
                  </a:lnTo>
                  <a:lnTo>
                    <a:pt x="238" y="49"/>
                  </a:lnTo>
                  <a:lnTo>
                    <a:pt x="249" y="51"/>
                  </a:lnTo>
                  <a:lnTo>
                    <a:pt x="249" y="51"/>
                  </a:lnTo>
                  <a:lnTo>
                    <a:pt x="251" y="49"/>
                  </a:lnTo>
                  <a:lnTo>
                    <a:pt x="258" y="46"/>
                  </a:lnTo>
                  <a:lnTo>
                    <a:pt x="268" y="42"/>
                  </a:lnTo>
                  <a:lnTo>
                    <a:pt x="269" y="42"/>
                  </a:lnTo>
                  <a:lnTo>
                    <a:pt x="272" y="42"/>
                  </a:lnTo>
                  <a:lnTo>
                    <a:pt x="273" y="42"/>
                  </a:lnTo>
                  <a:lnTo>
                    <a:pt x="275" y="42"/>
                  </a:lnTo>
                  <a:lnTo>
                    <a:pt x="275" y="42"/>
                  </a:lnTo>
                  <a:lnTo>
                    <a:pt x="276" y="44"/>
                  </a:lnTo>
                  <a:lnTo>
                    <a:pt x="276" y="44"/>
                  </a:lnTo>
                  <a:lnTo>
                    <a:pt x="277" y="45"/>
                  </a:lnTo>
                  <a:lnTo>
                    <a:pt x="279" y="45"/>
                  </a:lnTo>
                  <a:lnTo>
                    <a:pt x="280" y="45"/>
                  </a:lnTo>
                  <a:lnTo>
                    <a:pt x="280" y="46"/>
                  </a:lnTo>
                  <a:lnTo>
                    <a:pt x="282" y="46"/>
                  </a:lnTo>
                  <a:lnTo>
                    <a:pt x="284" y="45"/>
                  </a:lnTo>
                  <a:lnTo>
                    <a:pt x="287" y="45"/>
                  </a:lnTo>
                  <a:lnTo>
                    <a:pt x="289" y="45"/>
                  </a:lnTo>
                  <a:lnTo>
                    <a:pt x="296" y="44"/>
                  </a:lnTo>
                  <a:lnTo>
                    <a:pt x="297" y="44"/>
                  </a:lnTo>
                  <a:lnTo>
                    <a:pt x="297" y="42"/>
                  </a:lnTo>
                  <a:lnTo>
                    <a:pt x="298" y="42"/>
                  </a:lnTo>
                  <a:lnTo>
                    <a:pt x="300" y="41"/>
                  </a:lnTo>
                  <a:lnTo>
                    <a:pt x="301" y="39"/>
                  </a:lnTo>
                  <a:lnTo>
                    <a:pt x="301" y="39"/>
                  </a:lnTo>
                  <a:lnTo>
                    <a:pt x="315" y="35"/>
                  </a:lnTo>
                  <a:lnTo>
                    <a:pt x="315" y="35"/>
                  </a:lnTo>
                  <a:lnTo>
                    <a:pt x="324" y="34"/>
                  </a:lnTo>
                  <a:lnTo>
                    <a:pt x="329" y="34"/>
                  </a:lnTo>
                  <a:lnTo>
                    <a:pt x="334" y="34"/>
                  </a:lnTo>
                  <a:lnTo>
                    <a:pt x="335" y="32"/>
                  </a:lnTo>
                  <a:lnTo>
                    <a:pt x="336" y="32"/>
                  </a:lnTo>
                  <a:lnTo>
                    <a:pt x="336" y="31"/>
                  </a:lnTo>
                  <a:lnTo>
                    <a:pt x="338" y="31"/>
                  </a:lnTo>
                  <a:lnTo>
                    <a:pt x="338" y="30"/>
                  </a:lnTo>
                  <a:lnTo>
                    <a:pt x="339" y="28"/>
                  </a:lnTo>
                  <a:lnTo>
                    <a:pt x="339" y="28"/>
                  </a:lnTo>
                  <a:lnTo>
                    <a:pt x="341" y="28"/>
                  </a:lnTo>
                  <a:lnTo>
                    <a:pt x="341" y="28"/>
                  </a:lnTo>
                  <a:lnTo>
                    <a:pt x="342" y="27"/>
                  </a:lnTo>
                  <a:lnTo>
                    <a:pt x="342" y="27"/>
                  </a:lnTo>
                  <a:lnTo>
                    <a:pt x="350" y="27"/>
                  </a:lnTo>
                  <a:lnTo>
                    <a:pt x="360" y="25"/>
                  </a:lnTo>
                  <a:lnTo>
                    <a:pt x="360" y="25"/>
                  </a:lnTo>
                  <a:lnTo>
                    <a:pt x="364" y="25"/>
                  </a:lnTo>
                  <a:lnTo>
                    <a:pt x="369" y="27"/>
                  </a:lnTo>
                  <a:lnTo>
                    <a:pt x="371" y="27"/>
                  </a:lnTo>
                  <a:lnTo>
                    <a:pt x="373" y="27"/>
                  </a:lnTo>
                  <a:lnTo>
                    <a:pt x="374" y="25"/>
                  </a:lnTo>
                  <a:lnTo>
                    <a:pt x="376" y="25"/>
                  </a:lnTo>
                  <a:lnTo>
                    <a:pt x="377" y="25"/>
                  </a:lnTo>
                  <a:lnTo>
                    <a:pt x="378" y="24"/>
                  </a:lnTo>
                  <a:lnTo>
                    <a:pt x="380" y="23"/>
                  </a:lnTo>
                  <a:lnTo>
                    <a:pt x="381" y="23"/>
                  </a:lnTo>
                  <a:lnTo>
                    <a:pt x="381" y="21"/>
                  </a:lnTo>
                  <a:lnTo>
                    <a:pt x="527" y="21"/>
                  </a:lnTo>
                  <a:lnTo>
                    <a:pt x="530" y="28"/>
                  </a:lnTo>
                  <a:lnTo>
                    <a:pt x="530" y="30"/>
                  </a:lnTo>
                  <a:lnTo>
                    <a:pt x="535" y="35"/>
                  </a:lnTo>
                  <a:lnTo>
                    <a:pt x="535" y="35"/>
                  </a:lnTo>
                  <a:lnTo>
                    <a:pt x="537" y="35"/>
                  </a:lnTo>
                  <a:lnTo>
                    <a:pt x="538" y="35"/>
                  </a:lnTo>
                  <a:lnTo>
                    <a:pt x="538" y="35"/>
                  </a:lnTo>
                  <a:lnTo>
                    <a:pt x="540" y="35"/>
                  </a:lnTo>
                  <a:lnTo>
                    <a:pt x="540" y="35"/>
                  </a:lnTo>
                  <a:lnTo>
                    <a:pt x="549" y="41"/>
                  </a:lnTo>
                  <a:lnTo>
                    <a:pt x="549" y="41"/>
                  </a:lnTo>
                  <a:lnTo>
                    <a:pt x="551" y="42"/>
                  </a:lnTo>
                  <a:lnTo>
                    <a:pt x="552" y="44"/>
                  </a:lnTo>
                  <a:lnTo>
                    <a:pt x="556" y="52"/>
                  </a:lnTo>
                  <a:lnTo>
                    <a:pt x="556" y="53"/>
                  </a:lnTo>
                  <a:lnTo>
                    <a:pt x="556" y="53"/>
                  </a:lnTo>
                  <a:lnTo>
                    <a:pt x="555" y="56"/>
                  </a:lnTo>
                  <a:lnTo>
                    <a:pt x="555" y="58"/>
                  </a:lnTo>
                  <a:lnTo>
                    <a:pt x="547" y="69"/>
                  </a:lnTo>
                  <a:lnTo>
                    <a:pt x="544" y="73"/>
                  </a:lnTo>
                  <a:lnTo>
                    <a:pt x="533" y="98"/>
                  </a:lnTo>
                  <a:lnTo>
                    <a:pt x="530" y="105"/>
                  </a:lnTo>
                  <a:lnTo>
                    <a:pt x="530" y="105"/>
                  </a:lnTo>
                  <a:lnTo>
                    <a:pt x="530" y="110"/>
                  </a:lnTo>
                  <a:lnTo>
                    <a:pt x="530" y="111"/>
                  </a:lnTo>
                  <a:lnTo>
                    <a:pt x="526" y="118"/>
                  </a:lnTo>
                  <a:lnTo>
                    <a:pt x="524" y="121"/>
                  </a:lnTo>
                  <a:lnTo>
                    <a:pt x="523" y="122"/>
                  </a:lnTo>
                  <a:lnTo>
                    <a:pt x="521" y="122"/>
                  </a:lnTo>
                  <a:lnTo>
                    <a:pt x="521" y="122"/>
                  </a:lnTo>
                  <a:lnTo>
                    <a:pt x="517" y="124"/>
                  </a:lnTo>
                  <a:lnTo>
                    <a:pt x="517" y="125"/>
                  </a:lnTo>
                  <a:lnTo>
                    <a:pt x="517" y="125"/>
                  </a:lnTo>
                  <a:lnTo>
                    <a:pt x="516" y="126"/>
                  </a:lnTo>
                  <a:lnTo>
                    <a:pt x="510" y="136"/>
                  </a:lnTo>
                  <a:lnTo>
                    <a:pt x="505" y="147"/>
                  </a:lnTo>
                  <a:lnTo>
                    <a:pt x="503" y="147"/>
                  </a:lnTo>
                  <a:lnTo>
                    <a:pt x="503" y="153"/>
                  </a:lnTo>
                  <a:lnTo>
                    <a:pt x="503" y="154"/>
                  </a:lnTo>
                  <a:lnTo>
                    <a:pt x="505" y="161"/>
                  </a:lnTo>
                  <a:lnTo>
                    <a:pt x="505" y="161"/>
                  </a:lnTo>
                  <a:lnTo>
                    <a:pt x="506" y="163"/>
                  </a:lnTo>
                  <a:lnTo>
                    <a:pt x="506" y="163"/>
                  </a:lnTo>
                  <a:lnTo>
                    <a:pt x="507" y="164"/>
                  </a:lnTo>
                  <a:lnTo>
                    <a:pt x="509" y="164"/>
                  </a:lnTo>
                  <a:lnTo>
                    <a:pt x="509" y="164"/>
                  </a:lnTo>
                  <a:lnTo>
                    <a:pt x="510" y="164"/>
                  </a:lnTo>
                  <a:lnTo>
                    <a:pt x="513" y="164"/>
                  </a:lnTo>
                  <a:lnTo>
                    <a:pt x="519" y="164"/>
                  </a:lnTo>
                  <a:lnTo>
                    <a:pt x="520" y="164"/>
                  </a:lnTo>
                  <a:lnTo>
                    <a:pt x="520" y="166"/>
                  </a:lnTo>
                  <a:lnTo>
                    <a:pt x="526" y="171"/>
                  </a:lnTo>
                  <a:lnTo>
                    <a:pt x="526" y="171"/>
                  </a:lnTo>
                  <a:lnTo>
                    <a:pt x="526" y="173"/>
                  </a:lnTo>
                  <a:lnTo>
                    <a:pt x="526" y="173"/>
                  </a:lnTo>
                  <a:lnTo>
                    <a:pt x="526" y="177"/>
                  </a:lnTo>
                  <a:lnTo>
                    <a:pt x="517" y="204"/>
                  </a:lnTo>
                  <a:lnTo>
                    <a:pt x="517" y="240"/>
                  </a:lnTo>
                  <a:lnTo>
                    <a:pt x="517" y="348"/>
                  </a:lnTo>
                  <a:lnTo>
                    <a:pt x="517" y="351"/>
                  </a:lnTo>
                  <a:lnTo>
                    <a:pt x="520" y="352"/>
                  </a:lnTo>
                  <a:lnTo>
                    <a:pt x="517" y="352"/>
                  </a:lnTo>
                  <a:lnTo>
                    <a:pt x="478" y="352"/>
                  </a:lnTo>
                  <a:lnTo>
                    <a:pt x="458" y="352"/>
                  </a:lnTo>
                  <a:lnTo>
                    <a:pt x="420" y="352"/>
                  </a:lnTo>
                  <a:lnTo>
                    <a:pt x="363" y="352"/>
                  </a:lnTo>
                  <a:lnTo>
                    <a:pt x="310" y="352"/>
                  </a:lnTo>
                  <a:lnTo>
                    <a:pt x="290" y="352"/>
                  </a:lnTo>
                  <a:lnTo>
                    <a:pt x="265" y="352"/>
                  </a:lnTo>
                  <a:lnTo>
                    <a:pt x="213" y="352"/>
                  </a:lnTo>
                  <a:lnTo>
                    <a:pt x="158" y="352"/>
                  </a:lnTo>
                  <a:lnTo>
                    <a:pt x="118" y="352"/>
                  </a:lnTo>
                  <a:lnTo>
                    <a:pt x="22" y="352"/>
                  </a:lnTo>
                  <a:lnTo>
                    <a:pt x="22" y="351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auto">
            <a:xfrm>
              <a:off x="2313446" y="2069358"/>
              <a:ext cx="941166" cy="499308"/>
            </a:xfrm>
            <a:custGeom>
              <a:avLst/>
              <a:gdLst>
                <a:gd name="connsiteX0" fmla="*/ 85725 w 858838"/>
                <a:gd name="connsiteY0" fmla="*/ 450850 h 455613"/>
                <a:gd name="connsiteX1" fmla="*/ 85725 w 858838"/>
                <a:gd name="connsiteY1" fmla="*/ 452438 h 455613"/>
                <a:gd name="connsiteX2" fmla="*/ 84137 w 858838"/>
                <a:gd name="connsiteY2" fmla="*/ 455613 h 455613"/>
                <a:gd name="connsiteX3" fmla="*/ 84137 w 858838"/>
                <a:gd name="connsiteY3" fmla="*/ 452438 h 455613"/>
                <a:gd name="connsiteX4" fmla="*/ 79375 w 858838"/>
                <a:gd name="connsiteY4" fmla="*/ 325438 h 455613"/>
                <a:gd name="connsiteX5" fmla="*/ 82550 w 858838"/>
                <a:gd name="connsiteY5" fmla="*/ 325438 h 455613"/>
                <a:gd name="connsiteX6" fmla="*/ 82550 w 858838"/>
                <a:gd name="connsiteY6" fmla="*/ 328613 h 455613"/>
                <a:gd name="connsiteX7" fmla="*/ 85725 w 858838"/>
                <a:gd name="connsiteY7" fmla="*/ 330201 h 455613"/>
                <a:gd name="connsiteX8" fmla="*/ 85725 w 858838"/>
                <a:gd name="connsiteY8" fmla="*/ 334963 h 455613"/>
                <a:gd name="connsiteX9" fmla="*/ 85725 w 858838"/>
                <a:gd name="connsiteY9" fmla="*/ 336551 h 455613"/>
                <a:gd name="connsiteX10" fmla="*/ 84138 w 858838"/>
                <a:gd name="connsiteY10" fmla="*/ 336551 h 455613"/>
                <a:gd name="connsiteX11" fmla="*/ 79375 w 858838"/>
                <a:gd name="connsiteY11" fmla="*/ 331788 h 455613"/>
                <a:gd name="connsiteX12" fmla="*/ 79375 w 858838"/>
                <a:gd name="connsiteY12" fmla="*/ 328613 h 455613"/>
                <a:gd name="connsiteX13" fmla="*/ 238125 w 858838"/>
                <a:gd name="connsiteY13" fmla="*/ 168275 h 455613"/>
                <a:gd name="connsiteX14" fmla="*/ 242888 w 858838"/>
                <a:gd name="connsiteY14" fmla="*/ 168275 h 455613"/>
                <a:gd name="connsiteX15" fmla="*/ 242888 w 858838"/>
                <a:gd name="connsiteY15" fmla="*/ 169862 h 455613"/>
                <a:gd name="connsiteX16" fmla="*/ 244475 w 858838"/>
                <a:gd name="connsiteY16" fmla="*/ 179388 h 455613"/>
                <a:gd name="connsiteX17" fmla="*/ 244475 w 858838"/>
                <a:gd name="connsiteY17" fmla="*/ 182563 h 455613"/>
                <a:gd name="connsiteX18" fmla="*/ 242888 w 858838"/>
                <a:gd name="connsiteY18" fmla="*/ 182563 h 455613"/>
                <a:gd name="connsiteX19" fmla="*/ 238125 w 858838"/>
                <a:gd name="connsiteY19" fmla="*/ 180975 h 455613"/>
                <a:gd name="connsiteX20" fmla="*/ 233362 w 858838"/>
                <a:gd name="connsiteY20" fmla="*/ 174625 h 455613"/>
                <a:gd name="connsiteX21" fmla="*/ 220662 w 858838"/>
                <a:gd name="connsiteY21" fmla="*/ 115888 h 455613"/>
                <a:gd name="connsiteX22" fmla="*/ 222250 w 858838"/>
                <a:gd name="connsiteY22" fmla="*/ 115888 h 455613"/>
                <a:gd name="connsiteX23" fmla="*/ 223837 w 858838"/>
                <a:gd name="connsiteY23" fmla="*/ 119063 h 455613"/>
                <a:gd name="connsiteX24" fmla="*/ 223837 w 858838"/>
                <a:gd name="connsiteY24" fmla="*/ 120651 h 455613"/>
                <a:gd name="connsiteX25" fmla="*/ 223837 w 858838"/>
                <a:gd name="connsiteY25" fmla="*/ 125413 h 455613"/>
                <a:gd name="connsiteX26" fmla="*/ 223837 w 858838"/>
                <a:gd name="connsiteY26" fmla="*/ 127001 h 455613"/>
                <a:gd name="connsiteX27" fmla="*/ 222250 w 858838"/>
                <a:gd name="connsiteY27" fmla="*/ 127001 h 455613"/>
                <a:gd name="connsiteX28" fmla="*/ 220662 w 858838"/>
                <a:gd name="connsiteY28" fmla="*/ 125413 h 455613"/>
                <a:gd name="connsiteX29" fmla="*/ 217487 w 858838"/>
                <a:gd name="connsiteY29" fmla="*/ 120651 h 455613"/>
                <a:gd name="connsiteX30" fmla="*/ 217487 w 858838"/>
                <a:gd name="connsiteY30" fmla="*/ 119063 h 455613"/>
                <a:gd name="connsiteX31" fmla="*/ 201612 w 858838"/>
                <a:gd name="connsiteY31" fmla="*/ 57150 h 455613"/>
                <a:gd name="connsiteX32" fmla="*/ 201612 w 858838"/>
                <a:gd name="connsiteY32" fmla="*/ 58737 h 455613"/>
                <a:gd name="connsiteX33" fmla="*/ 204787 w 858838"/>
                <a:gd name="connsiteY33" fmla="*/ 63500 h 455613"/>
                <a:gd name="connsiteX34" fmla="*/ 209550 w 858838"/>
                <a:gd name="connsiteY34" fmla="*/ 69850 h 455613"/>
                <a:gd name="connsiteX35" fmla="*/ 209550 w 858838"/>
                <a:gd name="connsiteY35" fmla="*/ 71437 h 455613"/>
                <a:gd name="connsiteX36" fmla="*/ 209550 w 858838"/>
                <a:gd name="connsiteY36" fmla="*/ 74612 h 455613"/>
                <a:gd name="connsiteX37" fmla="*/ 209550 w 858838"/>
                <a:gd name="connsiteY37" fmla="*/ 76200 h 455613"/>
                <a:gd name="connsiteX38" fmla="*/ 206375 w 858838"/>
                <a:gd name="connsiteY38" fmla="*/ 76200 h 455613"/>
                <a:gd name="connsiteX39" fmla="*/ 201612 w 858838"/>
                <a:gd name="connsiteY39" fmla="*/ 76200 h 455613"/>
                <a:gd name="connsiteX40" fmla="*/ 195262 w 858838"/>
                <a:gd name="connsiteY40" fmla="*/ 71437 h 455613"/>
                <a:gd name="connsiteX41" fmla="*/ 195262 w 858838"/>
                <a:gd name="connsiteY41" fmla="*/ 69850 h 455613"/>
                <a:gd name="connsiteX42" fmla="*/ 195262 w 858838"/>
                <a:gd name="connsiteY42" fmla="*/ 68262 h 455613"/>
                <a:gd name="connsiteX43" fmla="*/ 198437 w 858838"/>
                <a:gd name="connsiteY43" fmla="*/ 60325 h 455613"/>
                <a:gd name="connsiteX44" fmla="*/ 171450 w 858838"/>
                <a:gd name="connsiteY44" fmla="*/ 49213 h 455613"/>
                <a:gd name="connsiteX45" fmla="*/ 173038 w 858838"/>
                <a:gd name="connsiteY45" fmla="*/ 49213 h 455613"/>
                <a:gd name="connsiteX46" fmla="*/ 176213 w 858838"/>
                <a:gd name="connsiteY46" fmla="*/ 49213 h 455613"/>
                <a:gd name="connsiteX47" fmla="*/ 176213 w 858838"/>
                <a:gd name="connsiteY47" fmla="*/ 52388 h 455613"/>
                <a:gd name="connsiteX48" fmla="*/ 177800 w 858838"/>
                <a:gd name="connsiteY48" fmla="*/ 52388 h 455613"/>
                <a:gd name="connsiteX49" fmla="*/ 184150 w 858838"/>
                <a:gd name="connsiteY49" fmla="*/ 58738 h 455613"/>
                <a:gd name="connsiteX50" fmla="*/ 188913 w 858838"/>
                <a:gd name="connsiteY50" fmla="*/ 60325 h 455613"/>
                <a:gd name="connsiteX51" fmla="*/ 190500 w 858838"/>
                <a:gd name="connsiteY51" fmla="*/ 71438 h 455613"/>
                <a:gd name="connsiteX52" fmla="*/ 188913 w 858838"/>
                <a:gd name="connsiteY52" fmla="*/ 71438 h 455613"/>
                <a:gd name="connsiteX53" fmla="*/ 187325 w 858838"/>
                <a:gd name="connsiteY53" fmla="*/ 71438 h 455613"/>
                <a:gd name="connsiteX54" fmla="*/ 177800 w 858838"/>
                <a:gd name="connsiteY54" fmla="*/ 69850 h 455613"/>
                <a:gd name="connsiteX55" fmla="*/ 176213 w 858838"/>
                <a:gd name="connsiteY55" fmla="*/ 68263 h 455613"/>
                <a:gd name="connsiteX56" fmla="*/ 173038 w 858838"/>
                <a:gd name="connsiteY56" fmla="*/ 68263 h 455613"/>
                <a:gd name="connsiteX57" fmla="*/ 171450 w 858838"/>
                <a:gd name="connsiteY57" fmla="*/ 65088 h 455613"/>
                <a:gd name="connsiteX58" fmla="*/ 168275 w 858838"/>
                <a:gd name="connsiteY58" fmla="*/ 58738 h 455613"/>
                <a:gd name="connsiteX59" fmla="*/ 168275 w 858838"/>
                <a:gd name="connsiteY59" fmla="*/ 53975 h 455613"/>
                <a:gd name="connsiteX60" fmla="*/ 195263 w 858838"/>
                <a:gd name="connsiteY60" fmla="*/ 38100 h 455613"/>
                <a:gd name="connsiteX61" fmla="*/ 200025 w 858838"/>
                <a:gd name="connsiteY61" fmla="*/ 38100 h 455613"/>
                <a:gd name="connsiteX62" fmla="*/ 204788 w 858838"/>
                <a:gd name="connsiteY62" fmla="*/ 38100 h 455613"/>
                <a:gd name="connsiteX63" fmla="*/ 211138 w 858838"/>
                <a:gd name="connsiteY63" fmla="*/ 42862 h 455613"/>
                <a:gd name="connsiteX64" fmla="*/ 215900 w 858838"/>
                <a:gd name="connsiteY64" fmla="*/ 46037 h 455613"/>
                <a:gd name="connsiteX65" fmla="*/ 215900 w 858838"/>
                <a:gd name="connsiteY65" fmla="*/ 47625 h 455613"/>
                <a:gd name="connsiteX66" fmla="*/ 209550 w 858838"/>
                <a:gd name="connsiteY66" fmla="*/ 52387 h 455613"/>
                <a:gd name="connsiteX67" fmla="*/ 201613 w 858838"/>
                <a:gd name="connsiteY67" fmla="*/ 53975 h 455613"/>
                <a:gd name="connsiteX68" fmla="*/ 200025 w 858838"/>
                <a:gd name="connsiteY68" fmla="*/ 53975 h 455613"/>
                <a:gd name="connsiteX69" fmla="*/ 198438 w 858838"/>
                <a:gd name="connsiteY69" fmla="*/ 53975 h 455613"/>
                <a:gd name="connsiteX70" fmla="*/ 188913 w 858838"/>
                <a:gd name="connsiteY70" fmla="*/ 52387 h 455613"/>
                <a:gd name="connsiteX71" fmla="*/ 187325 w 858838"/>
                <a:gd name="connsiteY71" fmla="*/ 52387 h 455613"/>
                <a:gd name="connsiteX72" fmla="*/ 184150 w 858838"/>
                <a:gd name="connsiteY72" fmla="*/ 49212 h 455613"/>
                <a:gd name="connsiteX73" fmla="*/ 187325 w 858838"/>
                <a:gd name="connsiteY73" fmla="*/ 47625 h 455613"/>
                <a:gd name="connsiteX74" fmla="*/ 215900 w 858838"/>
                <a:gd name="connsiteY74" fmla="*/ 0 h 455613"/>
                <a:gd name="connsiteX75" fmla="*/ 220663 w 858838"/>
                <a:gd name="connsiteY75" fmla="*/ 0 h 455613"/>
                <a:gd name="connsiteX76" fmla="*/ 398463 w 858838"/>
                <a:gd name="connsiteY76" fmla="*/ 0 h 455613"/>
                <a:gd name="connsiteX77" fmla="*/ 458788 w 858838"/>
                <a:gd name="connsiteY77" fmla="*/ 0 h 455613"/>
                <a:gd name="connsiteX78" fmla="*/ 754063 w 858838"/>
                <a:gd name="connsiteY78" fmla="*/ 0 h 455613"/>
                <a:gd name="connsiteX79" fmla="*/ 823913 w 858838"/>
                <a:gd name="connsiteY79" fmla="*/ 0 h 455613"/>
                <a:gd name="connsiteX80" fmla="*/ 838201 w 858838"/>
                <a:gd name="connsiteY80" fmla="*/ 0 h 455613"/>
                <a:gd name="connsiteX81" fmla="*/ 841376 w 858838"/>
                <a:gd name="connsiteY81" fmla="*/ 0 h 455613"/>
                <a:gd name="connsiteX82" fmla="*/ 841376 w 858838"/>
                <a:gd name="connsiteY82" fmla="*/ 3175 h 455613"/>
                <a:gd name="connsiteX83" fmla="*/ 841376 w 858838"/>
                <a:gd name="connsiteY83" fmla="*/ 141287 h 455613"/>
                <a:gd name="connsiteX84" fmla="*/ 841376 w 858838"/>
                <a:gd name="connsiteY84" fmla="*/ 142875 h 455613"/>
                <a:gd name="connsiteX85" fmla="*/ 841376 w 858838"/>
                <a:gd name="connsiteY85" fmla="*/ 169862 h 455613"/>
                <a:gd name="connsiteX86" fmla="*/ 841376 w 858838"/>
                <a:gd name="connsiteY86" fmla="*/ 241300 h 455613"/>
                <a:gd name="connsiteX87" fmla="*/ 841376 w 858838"/>
                <a:gd name="connsiteY87" fmla="*/ 242887 h 455613"/>
                <a:gd name="connsiteX88" fmla="*/ 841376 w 858838"/>
                <a:gd name="connsiteY88" fmla="*/ 314325 h 455613"/>
                <a:gd name="connsiteX89" fmla="*/ 842963 w 858838"/>
                <a:gd name="connsiteY89" fmla="*/ 339725 h 455613"/>
                <a:gd name="connsiteX90" fmla="*/ 846138 w 858838"/>
                <a:gd name="connsiteY90" fmla="*/ 350837 h 455613"/>
                <a:gd name="connsiteX91" fmla="*/ 847726 w 858838"/>
                <a:gd name="connsiteY91" fmla="*/ 352425 h 455613"/>
                <a:gd name="connsiteX92" fmla="*/ 852488 w 858838"/>
                <a:gd name="connsiteY92" fmla="*/ 358775 h 455613"/>
                <a:gd name="connsiteX93" fmla="*/ 854076 w 858838"/>
                <a:gd name="connsiteY93" fmla="*/ 369887 h 455613"/>
                <a:gd name="connsiteX94" fmla="*/ 854076 w 858838"/>
                <a:gd name="connsiteY94" fmla="*/ 373062 h 455613"/>
                <a:gd name="connsiteX95" fmla="*/ 854076 w 858838"/>
                <a:gd name="connsiteY95" fmla="*/ 374650 h 455613"/>
                <a:gd name="connsiteX96" fmla="*/ 852488 w 858838"/>
                <a:gd name="connsiteY96" fmla="*/ 376237 h 455613"/>
                <a:gd name="connsiteX97" fmla="*/ 858838 w 858838"/>
                <a:gd name="connsiteY97" fmla="*/ 392112 h 455613"/>
                <a:gd name="connsiteX98" fmla="*/ 852488 w 858838"/>
                <a:gd name="connsiteY98" fmla="*/ 392112 h 455613"/>
                <a:gd name="connsiteX99" fmla="*/ 627063 w 858838"/>
                <a:gd name="connsiteY99" fmla="*/ 395287 h 455613"/>
                <a:gd name="connsiteX100" fmla="*/ 625476 w 858838"/>
                <a:gd name="connsiteY100" fmla="*/ 395287 h 455613"/>
                <a:gd name="connsiteX101" fmla="*/ 622301 w 858838"/>
                <a:gd name="connsiteY101" fmla="*/ 396875 h 455613"/>
                <a:gd name="connsiteX102" fmla="*/ 620713 w 858838"/>
                <a:gd name="connsiteY102" fmla="*/ 398462 h 455613"/>
                <a:gd name="connsiteX103" fmla="*/ 619126 w 858838"/>
                <a:gd name="connsiteY103" fmla="*/ 398462 h 455613"/>
                <a:gd name="connsiteX104" fmla="*/ 615951 w 858838"/>
                <a:gd name="connsiteY104" fmla="*/ 398462 h 455613"/>
                <a:gd name="connsiteX105" fmla="*/ 614363 w 858838"/>
                <a:gd name="connsiteY105" fmla="*/ 401637 h 455613"/>
                <a:gd name="connsiteX106" fmla="*/ 611188 w 858838"/>
                <a:gd name="connsiteY106" fmla="*/ 401637 h 455613"/>
                <a:gd name="connsiteX107" fmla="*/ 608013 w 858838"/>
                <a:gd name="connsiteY107" fmla="*/ 401637 h 455613"/>
                <a:gd name="connsiteX108" fmla="*/ 600076 w 858838"/>
                <a:gd name="connsiteY108" fmla="*/ 398462 h 455613"/>
                <a:gd name="connsiteX109" fmla="*/ 593726 w 858838"/>
                <a:gd name="connsiteY109" fmla="*/ 398462 h 455613"/>
                <a:gd name="connsiteX110" fmla="*/ 577850 w 858838"/>
                <a:gd name="connsiteY110" fmla="*/ 401637 h 455613"/>
                <a:gd name="connsiteX111" fmla="*/ 565150 w 858838"/>
                <a:gd name="connsiteY111" fmla="*/ 401637 h 455613"/>
                <a:gd name="connsiteX112" fmla="*/ 563563 w 858838"/>
                <a:gd name="connsiteY112" fmla="*/ 403225 h 455613"/>
                <a:gd name="connsiteX113" fmla="*/ 560388 w 858838"/>
                <a:gd name="connsiteY113" fmla="*/ 403225 h 455613"/>
                <a:gd name="connsiteX114" fmla="*/ 558800 w 858838"/>
                <a:gd name="connsiteY114" fmla="*/ 406400 h 455613"/>
                <a:gd name="connsiteX115" fmla="*/ 558800 w 858838"/>
                <a:gd name="connsiteY115" fmla="*/ 407987 h 455613"/>
                <a:gd name="connsiteX116" fmla="*/ 555625 w 858838"/>
                <a:gd name="connsiteY116" fmla="*/ 407987 h 455613"/>
                <a:gd name="connsiteX117" fmla="*/ 555625 w 858838"/>
                <a:gd name="connsiteY117" fmla="*/ 409575 h 455613"/>
                <a:gd name="connsiteX118" fmla="*/ 554038 w 858838"/>
                <a:gd name="connsiteY118" fmla="*/ 409575 h 455613"/>
                <a:gd name="connsiteX119" fmla="*/ 552450 w 858838"/>
                <a:gd name="connsiteY119" fmla="*/ 412750 h 455613"/>
                <a:gd name="connsiteX120" fmla="*/ 544513 w 858838"/>
                <a:gd name="connsiteY120" fmla="*/ 412750 h 455613"/>
                <a:gd name="connsiteX121" fmla="*/ 536575 w 858838"/>
                <a:gd name="connsiteY121" fmla="*/ 412750 h 455613"/>
                <a:gd name="connsiteX122" fmla="*/ 522288 w 858838"/>
                <a:gd name="connsiteY122" fmla="*/ 414337 h 455613"/>
                <a:gd name="connsiteX123" fmla="*/ 500063 w 858838"/>
                <a:gd name="connsiteY123" fmla="*/ 420687 h 455613"/>
                <a:gd name="connsiteX124" fmla="*/ 498475 w 858838"/>
                <a:gd name="connsiteY124" fmla="*/ 423862 h 455613"/>
                <a:gd name="connsiteX125" fmla="*/ 495300 w 858838"/>
                <a:gd name="connsiteY125" fmla="*/ 425450 h 455613"/>
                <a:gd name="connsiteX126" fmla="*/ 493713 w 858838"/>
                <a:gd name="connsiteY126" fmla="*/ 425450 h 455613"/>
                <a:gd name="connsiteX127" fmla="*/ 493713 w 858838"/>
                <a:gd name="connsiteY127" fmla="*/ 428625 h 455613"/>
                <a:gd name="connsiteX128" fmla="*/ 492125 w 858838"/>
                <a:gd name="connsiteY128" fmla="*/ 428625 h 455613"/>
                <a:gd name="connsiteX129" fmla="*/ 481013 w 858838"/>
                <a:gd name="connsiteY129" fmla="*/ 430212 h 455613"/>
                <a:gd name="connsiteX130" fmla="*/ 477838 w 858838"/>
                <a:gd name="connsiteY130" fmla="*/ 430212 h 455613"/>
                <a:gd name="connsiteX131" fmla="*/ 473075 w 858838"/>
                <a:gd name="connsiteY131" fmla="*/ 430212 h 455613"/>
                <a:gd name="connsiteX132" fmla="*/ 469900 w 858838"/>
                <a:gd name="connsiteY132" fmla="*/ 431800 h 455613"/>
                <a:gd name="connsiteX133" fmla="*/ 466725 w 858838"/>
                <a:gd name="connsiteY133" fmla="*/ 431800 h 455613"/>
                <a:gd name="connsiteX134" fmla="*/ 466725 w 858838"/>
                <a:gd name="connsiteY134" fmla="*/ 430212 h 455613"/>
                <a:gd name="connsiteX135" fmla="*/ 465138 w 858838"/>
                <a:gd name="connsiteY135" fmla="*/ 430212 h 455613"/>
                <a:gd name="connsiteX136" fmla="*/ 461963 w 858838"/>
                <a:gd name="connsiteY136" fmla="*/ 430212 h 455613"/>
                <a:gd name="connsiteX137" fmla="*/ 460375 w 858838"/>
                <a:gd name="connsiteY137" fmla="*/ 428625 h 455613"/>
                <a:gd name="connsiteX138" fmla="*/ 458788 w 858838"/>
                <a:gd name="connsiteY138" fmla="*/ 425450 h 455613"/>
                <a:gd name="connsiteX139" fmla="*/ 455613 w 858838"/>
                <a:gd name="connsiteY139" fmla="*/ 425450 h 455613"/>
                <a:gd name="connsiteX140" fmla="*/ 454025 w 858838"/>
                <a:gd name="connsiteY140" fmla="*/ 425450 h 455613"/>
                <a:gd name="connsiteX141" fmla="*/ 449263 w 858838"/>
                <a:gd name="connsiteY141" fmla="*/ 425450 h 455613"/>
                <a:gd name="connsiteX142" fmla="*/ 447675 w 858838"/>
                <a:gd name="connsiteY142" fmla="*/ 425450 h 455613"/>
                <a:gd name="connsiteX143" fmla="*/ 431800 w 858838"/>
                <a:gd name="connsiteY143" fmla="*/ 431800 h 455613"/>
                <a:gd name="connsiteX144" fmla="*/ 420688 w 858838"/>
                <a:gd name="connsiteY144" fmla="*/ 436562 h 455613"/>
                <a:gd name="connsiteX145" fmla="*/ 417513 w 858838"/>
                <a:gd name="connsiteY145" fmla="*/ 439737 h 455613"/>
                <a:gd name="connsiteX146" fmla="*/ 400050 w 858838"/>
                <a:gd name="connsiteY146" fmla="*/ 436562 h 455613"/>
                <a:gd name="connsiteX147" fmla="*/ 387350 w 858838"/>
                <a:gd name="connsiteY147" fmla="*/ 434975 h 455613"/>
                <a:gd name="connsiteX148" fmla="*/ 384175 w 858838"/>
                <a:gd name="connsiteY148" fmla="*/ 434975 h 455613"/>
                <a:gd name="connsiteX149" fmla="*/ 382588 w 858838"/>
                <a:gd name="connsiteY149" fmla="*/ 434975 h 455613"/>
                <a:gd name="connsiteX150" fmla="*/ 377825 w 858838"/>
                <a:gd name="connsiteY150" fmla="*/ 431800 h 455613"/>
                <a:gd name="connsiteX151" fmla="*/ 376238 w 858838"/>
                <a:gd name="connsiteY151" fmla="*/ 430212 h 455613"/>
                <a:gd name="connsiteX152" fmla="*/ 373063 w 858838"/>
                <a:gd name="connsiteY152" fmla="*/ 430212 h 455613"/>
                <a:gd name="connsiteX153" fmla="*/ 354013 w 858838"/>
                <a:gd name="connsiteY153" fmla="*/ 428625 h 455613"/>
                <a:gd name="connsiteX154" fmla="*/ 320675 w 858838"/>
                <a:gd name="connsiteY154" fmla="*/ 430212 h 455613"/>
                <a:gd name="connsiteX155" fmla="*/ 317500 w 858838"/>
                <a:gd name="connsiteY155" fmla="*/ 430212 h 455613"/>
                <a:gd name="connsiteX156" fmla="*/ 315913 w 858838"/>
                <a:gd name="connsiteY156" fmla="*/ 430212 h 455613"/>
                <a:gd name="connsiteX157" fmla="*/ 314325 w 858838"/>
                <a:gd name="connsiteY157" fmla="*/ 431800 h 455613"/>
                <a:gd name="connsiteX158" fmla="*/ 311150 w 858838"/>
                <a:gd name="connsiteY158" fmla="*/ 434975 h 455613"/>
                <a:gd name="connsiteX159" fmla="*/ 306388 w 858838"/>
                <a:gd name="connsiteY159" fmla="*/ 436562 h 455613"/>
                <a:gd name="connsiteX160" fmla="*/ 306388 w 858838"/>
                <a:gd name="connsiteY160" fmla="*/ 439737 h 455613"/>
                <a:gd name="connsiteX161" fmla="*/ 300038 w 858838"/>
                <a:gd name="connsiteY161" fmla="*/ 441325 h 455613"/>
                <a:gd name="connsiteX162" fmla="*/ 295275 w 858838"/>
                <a:gd name="connsiteY162" fmla="*/ 442912 h 455613"/>
                <a:gd name="connsiteX163" fmla="*/ 288925 w 858838"/>
                <a:gd name="connsiteY163" fmla="*/ 442912 h 455613"/>
                <a:gd name="connsiteX164" fmla="*/ 277813 w 858838"/>
                <a:gd name="connsiteY164" fmla="*/ 447675 h 455613"/>
                <a:gd name="connsiteX165" fmla="*/ 273050 w 858838"/>
                <a:gd name="connsiteY165" fmla="*/ 450850 h 455613"/>
                <a:gd name="connsiteX166" fmla="*/ 271463 w 858838"/>
                <a:gd name="connsiteY166" fmla="*/ 450850 h 455613"/>
                <a:gd name="connsiteX167" fmla="*/ 266700 w 858838"/>
                <a:gd name="connsiteY167" fmla="*/ 450850 h 455613"/>
                <a:gd name="connsiteX168" fmla="*/ 265113 w 858838"/>
                <a:gd name="connsiteY168" fmla="*/ 447675 h 455613"/>
                <a:gd name="connsiteX169" fmla="*/ 255588 w 858838"/>
                <a:gd name="connsiteY169" fmla="*/ 446087 h 455613"/>
                <a:gd name="connsiteX170" fmla="*/ 246063 w 858838"/>
                <a:gd name="connsiteY170" fmla="*/ 446087 h 455613"/>
                <a:gd name="connsiteX171" fmla="*/ 231775 w 858838"/>
                <a:gd name="connsiteY171" fmla="*/ 442912 h 455613"/>
                <a:gd name="connsiteX172" fmla="*/ 228600 w 858838"/>
                <a:gd name="connsiteY172" fmla="*/ 442912 h 455613"/>
                <a:gd name="connsiteX173" fmla="*/ 227013 w 858838"/>
                <a:gd name="connsiteY173" fmla="*/ 442912 h 455613"/>
                <a:gd name="connsiteX174" fmla="*/ 223838 w 858838"/>
                <a:gd name="connsiteY174" fmla="*/ 441325 h 455613"/>
                <a:gd name="connsiteX175" fmla="*/ 222250 w 858838"/>
                <a:gd name="connsiteY175" fmla="*/ 441325 h 455613"/>
                <a:gd name="connsiteX176" fmla="*/ 217488 w 858838"/>
                <a:gd name="connsiteY176" fmla="*/ 436562 h 455613"/>
                <a:gd name="connsiteX177" fmla="*/ 215900 w 858838"/>
                <a:gd name="connsiteY177" fmla="*/ 436562 h 455613"/>
                <a:gd name="connsiteX178" fmla="*/ 215900 w 858838"/>
                <a:gd name="connsiteY178" fmla="*/ 434975 h 455613"/>
                <a:gd name="connsiteX179" fmla="*/ 215900 w 858838"/>
                <a:gd name="connsiteY179" fmla="*/ 431800 h 455613"/>
                <a:gd name="connsiteX180" fmla="*/ 215900 w 858838"/>
                <a:gd name="connsiteY180" fmla="*/ 428625 h 455613"/>
                <a:gd name="connsiteX181" fmla="*/ 215900 w 858838"/>
                <a:gd name="connsiteY181" fmla="*/ 425450 h 455613"/>
                <a:gd name="connsiteX182" fmla="*/ 212725 w 858838"/>
                <a:gd name="connsiteY182" fmla="*/ 409575 h 455613"/>
                <a:gd name="connsiteX183" fmla="*/ 209550 w 858838"/>
                <a:gd name="connsiteY183" fmla="*/ 396875 h 455613"/>
                <a:gd name="connsiteX184" fmla="*/ 209550 w 858838"/>
                <a:gd name="connsiteY184" fmla="*/ 395287 h 455613"/>
                <a:gd name="connsiteX185" fmla="*/ 201613 w 858838"/>
                <a:gd name="connsiteY185" fmla="*/ 384175 h 455613"/>
                <a:gd name="connsiteX186" fmla="*/ 200025 w 858838"/>
                <a:gd name="connsiteY186" fmla="*/ 384175 h 455613"/>
                <a:gd name="connsiteX187" fmla="*/ 198438 w 858838"/>
                <a:gd name="connsiteY187" fmla="*/ 379412 h 455613"/>
                <a:gd name="connsiteX188" fmla="*/ 195263 w 858838"/>
                <a:gd name="connsiteY188" fmla="*/ 376237 h 455613"/>
                <a:gd name="connsiteX189" fmla="*/ 193675 w 858838"/>
                <a:gd name="connsiteY189" fmla="*/ 376237 h 455613"/>
                <a:gd name="connsiteX190" fmla="*/ 176213 w 858838"/>
                <a:gd name="connsiteY190" fmla="*/ 368300 h 455613"/>
                <a:gd name="connsiteX191" fmla="*/ 171450 w 858838"/>
                <a:gd name="connsiteY191" fmla="*/ 368300 h 455613"/>
                <a:gd name="connsiteX192" fmla="*/ 160338 w 858838"/>
                <a:gd name="connsiteY192" fmla="*/ 369887 h 455613"/>
                <a:gd name="connsiteX193" fmla="*/ 157163 w 858838"/>
                <a:gd name="connsiteY193" fmla="*/ 369887 h 455613"/>
                <a:gd name="connsiteX194" fmla="*/ 155575 w 858838"/>
                <a:gd name="connsiteY194" fmla="*/ 369887 h 455613"/>
                <a:gd name="connsiteX195" fmla="*/ 149225 w 858838"/>
                <a:gd name="connsiteY195" fmla="*/ 363537 h 455613"/>
                <a:gd name="connsiteX196" fmla="*/ 146050 w 858838"/>
                <a:gd name="connsiteY196" fmla="*/ 363537 h 455613"/>
                <a:gd name="connsiteX197" fmla="*/ 144463 w 858838"/>
                <a:gd name="connsiteY197" fmla="*/ 361950 h 455613"/>
                <a:gd name="connsiteX198" fmla="*/ 144463 w 858838"/>
                <a:gd name="connsiteY198" fmla="*/ 358775 h 455613"/>
                <a:gd name="connsiteX199" fmla="*/ 144463 w 858838"/>
                <a:gd name="connsiteY199" fmla="*/ 357187 h 455613"/>
                <a:gd name="connsiteX200" fmla="*/ 142875 w 858838"/>
                <a:gd name="connsiteY200" fmla="*/ 357187 h 455613"/>
                <a:gd name="connsiteX201" fmla="*/ 142875 w 858838"/>
                <a:gd name="connsiteY201" fmla="*/ 354012 h 455613"/>
                <a:gd name="connsiteX202" fmla="*/ 139700 w 858838"/>
                <a:gd name="connsiteY202" fmla="*/ 354012 h 455613"/>
                <a:gd name="connsiteX203" fmla="*/ 138113 w 858838"/>
                <a:gd name="connsiteY203" fmla="*/ 354012 h 455613"/>
                <a:gd name="connsiteX204" fmla="*/ 134938 w 858838"/>
                <a:gd name="connsiteY204" fmla="*/ 354012 h 455613"/>
                <a:gd name="connsiteX205" fmla="*/ 131763 w 858838"/>
                <a:gd name="connsiteY205" fmla="*/ 357187 h 455613"/>
                <a:gd name="connsiteX206" fmla="*/ 128588 w 858838"/>
                <a:gd name="connsiteY206" fmla="*/ 357187 h 455613"/>
                <a:gd name="connsiteX207" fmla="*/ 127000 w 858838"/>
                <a:gd name="connsiteY207" fmla="*/ 357187 h 455613"/>
                <a:gd name="connsiteX208" fmla="*/ 123825 w 858838"/>
                <a:gd name="connsiteY208" fmla="*/ 357187 h 455613"/>
                <a:gd name="connsiteX209" fmla="*/ 122238 w 858838"/>
                <a:gd name="connsiteY209" fmla="*/ 357187 h 455613"/>
                <a:gd name="connsiteX210" fmla="*/ 120650 w 858838"/>
                <a:gd name="connsiteY210" fmla="*/ 357187 h 455613"/>
                <a:gd name="connsiteX211" fmla="*/ 117475 w 858838"/>
                <a:gd name="connsiteY211" fmla="*/ 354012 h 455613"/>
                <a:gd name="connsiteX212" fmla="*/ 115888 w 858838"/>
                <a:gd name="connsiteY212" fmla="*/ 354012 h 455613"/>
                <a:gd name="connsiteX213" fmla="*/ 111125 w 858838"/>
                <a:gd name="connsiteY213" fmla="*/ 354012 h 455613"/>
                <a:gd name="connsiteX214" fmla="*/ 106363 w 858838"/>
                <a:gd name="connsiteY214" fmla="*/ 354012 h 455613"/>
                <a:gd name="connsiteX215" fmla="*/ 98425 w 858838"/>
                <a:gd name="connsiteY215" fmla="*/ 357187 h 455613"/>
                <a:gd name="connsiteX216" fmla="*/ 95250 w 858838"/>
                <a:gd name="connsiteY216" fmla="*/ 358775 h 455613"/>
                <a:gd name="connsiteX217" fmla="*/ 93663 w 858838"/>
                <a:gd name="connsiteY217" fmla="*/ 358775 h 455613"/>
                <a:gd name="connsiteX218" fmla="*/ 90488 w 858838"/>
                <a:gd name="connsiteY218" fmla="*/ 358775 h 455613"/>
                <a:gd name="connsiteX219" fmla="*/ 88900 w 858838"/>
                <a:gd name="connsiteY219" fmla="*/ 358775 h 455613"/>
                <a:gd name="connsiteX220" fmla="*/ 77787 w 858838"/>
                <a:gd name="connsiteY220" fmla="*/ 350837 h 455613"/>
                <a:gd name="connsiteX221" fmla="*/ 74612 w 858838"/>
                <a:gd name="connsiteY221" fmla="*/ 339725 h 455613"/>
                <a:gd name="connsiteX222" fmla="*/ 73025 w 858838"/>
                <a:gd name="connsiteY222" fmla="*/ 312737 h 455613"/>
                <a:gd name="connsiteX223" fmla="*/ 73025 w 858838"/>
                <a:gd name="connsiteY223" fmla="*/ 307975 h 455613"/>
                <a:gd name="connsiteX224" fmla="*/ 74612 w 858838"/>
                <a:gd name="connsiteY224" fmla="*/ 306387 h 455613"/>
                <a:gd name="connsiteX225" fmla="*/ 74612 w 858838"/>
                <a:gd name="connsiteY225" fmla="*/ 307975 h 455613"/>
                <a:gd name="connsiteX226" fmla="*/ 77787 w 858838"/>
                <a:gd name="connsiteY226" fmla="*/ 307975 h 455613"/>
                <a:gd name="connsiteX227" fmla="*/ 77787 w 858838"/>
                <a:gd name="connsiteY227" fmla="*/ 317500 h 455613"/>
                <a:gd name="connsiteX228" fmla="*/ 77787 w 858838"/>
                <a:gd name="connsiteY228" fmla="*/ 319087 h 455613"/>
                <a:gd name="connsiteX229" fmla="*/ 77787 w 858838"/>
                <a:gd name="connsiteY229" fmla="*/ 320675 h 455613"/>
                <a:gd name="connsiteX230" fmla="*/ 77787 w 858838"/>
                <a:gd name="connsiteY230" fmla="*/ 325437 h 455613"/>
                <a:gd name="connsiteX231" fmla="*/ 77787 w 858838"/>
                <a:gd name="connsiteY231" fmla="*/ 328612 h 455613"/>
                <a:gd name="connsiteX232" fmla="*/ 79375 w 858838"/>
                <a:gd name="connsiteY232" fmla="*/ 341312 h 455613"/>
                <a:gd name="connsiteX233" fmla="*/ 84138 w 858838"/>
                <a:gd name="connsiteY233" fmla="*/ 341312 h 455613"/>
                <a:gd name="connsiteX234" fmla="*/ 85725 w 858838"/>
                <a:gd name="connsiteY234" fmla="*/ 341312 h 455613"/>
                <a:gd name="connsiteX235" fmla="*/ 88900 w 858838"/>
                <a:gd name="connsiteY235" fmla="*/ 334962 h 455613"/>
                <a:gd name="connsiteX236" fmla="*/ 90488 w 858838"/>
                <a:gd name="connsiteY236" fmla="*/ 323850 h 455613"/>
                <a:gd name="connsiteX237" fmla="*/ 90488 w 858838"/>
                <a:gd name="connsiteY237" fmla="*/ 320675 h 455613"/>
                <a:gd name="connsiteX238" fmla="*/ 90488 w 858838"/>
                <a:gd name="connsiteY238" fmla="*/ 319087 h 455613"/>
                <a:gd name="connsiteX239" fmla="*/ 88900 w 858838"/>
                <a:gd name="connsiteY239" fmla="*/ 314325 h 455613"/>
                <a:gd name="connsiteX240" fmla="*/ 88900 w 858838"/>
                <a:gd name="connsiteY240" fmla="*/ 312737 h 455613"/>
                <a:gd name="connsiteX241" fmla="*/ 85725 w 858838"/>
                <a:gd name="connsiteY241" fmla="*/ 312737 h 455613"/>
                <a:gd name="connsiteX242" fmla="*/ 84138 w 858838"/>
                <a:gd name="connsiteY242" fmla="*/ 309562 h 455613"/>
                <a:gd name="connsiteX243" fmla="*/ 88900 w 858838"/>
                <a:gd name="connsiteY243" fmla="*/ 303212 h 455613"/>
                <a:gd name="connsiteX244" fmla="*/ 90488 w 858838"/>
                <a:gd name="connsiteY244" fmla="*/ 303212 h 455613"/>
                <a:gd name="connsiteX245" fmla="*/ 95250 w 858838"/>
                <a:gd name="connsiteY245" fmla="*/ 298450 h 455613"/>
                <a:gd name="connsiteX246" fmla="*/ 98425 w 858838"/>
                <a:gd name="connsiteY246" fmla="*/ 298450 h 455613"/>
                <a:gd name="connsiteX247" fmla="*/ 100013 w 858838"/>
                <a:gd name="connsiteY247" fmla="*/ 301625 h 455613"/>
                <a:gd name="connsiteX248" fmla="*/ 100013 w 858838"/>
                <a:gd name="connsiteY248" fmla="*/ 303212 h 455613"/>
                <a:gd name="connsiteX249" fmla="*/ 101600 w 858838"/>
                <a:gd name="connsiteY249" fmla="*/ 306387 h 455613"/>
                <a:gd name="connsiteX250" fmla="*/ 104775 w 858838"/>
                <a:gd name="connsiteY250" fmla="*/ 303212 h 455613"/>
                <a:gd name="connsiteX251" fmla="*/ 106363 w 858838"/>
                <a:gd name="connsiteY251" fmla="*/ 303212 h 455613"/>
                <a:gd name="connsiteX252" fmla="*/ 106363 w 858838"/>
                <a:gd name="connsiteY252" fmla="*/ 301625 h 455613"/>
                <a:gd name="connsiteX253" fmla="*/ 95250 w 858838"/>
                <a:gd name="connsiteY253" fmla="*/ 295275 h 455613"/>
                <a:gd name="connsiteX254" fmla="*/ 93663 w 858838"/>
                <a:gd name="connsiteY254" fmla="*/ 295275 h 455613"/>
                <a:gd name="connsiteX255" fmla="*/ 90488 w 858838"/>
                <a:gd name="connsiteY255" fmla="*/ 295275 h 455613"/>
                <a:gd name="connsiteX256" fmla="*/ 88900 w 858838"/>
                <a:gd name="connsiteY256" fmla="*/ 296862 h 455613"/>
                <a:gd name="connsiteX257" fmla="*/ 84138 w 858838"/>
                <a:gd name="connsiteY257" fmla="*/ 298450 h 455613"/>
                <a:gd name="connsiteX258" fmla="*/ 82550 w 858838"/>
                <a:gd name="connsiteY258" fmla="*/ 298450 h 455613"/>
                <a:gd name="connsiteX259" fmla="*/ 73025 w 858838"/>
                <a:gd name="connsiteY259" fmla="*/ 296862 h 455613"/>
                <a:gd name="connsiteX260" fmla="*/ 71437 w 858838"/>
                <a:gd name="connsiteY260" fmla="*/ 296862 h 455613"/>
                <a:gd name="connsiteX261" fmla="*/ 71437 w 858838"/>
                <a:gd name="connsiteY261" fmla="*/ 295275 h 455613"/>
                <a:gd name="connsiteX262" fmla="*/ 68262 w 858838"/>
                <a:gd name="connsiteY262" fmla="*/ 295275 h 455613"/>
                <a:gd name="connsiteX263" fmla="*/ 68262 w 858838"/>
                <a:gd name="connsiteY263" fmla="*/ 280987 h 455613"/>
                <a:gd name="connsiteX264" fmla="*/ 68262 w 858838"/>
                <a:gd name="connsiteY264" fmla="*/ 276225 h 455613"/>
                <a:gd name="connsiteX265" fmla="*/ 82550 w 858838"/>
                <a:gd name="connsiteY265" fmla="*/ 269875 h 455613"/>
                <a:gd name="connsiteX266" fmla="*/ 84138 w 858838"/>
                <a:gd name="connsiteY266" fmla="*/ 269875 h 455613"/>
                <a:gd name="connsiteX267" fmla="*/ 93663 w 858838"/>
                <a:gd name="connsiteY267" fmla="*/ 268287 h 455613"/>
                <a:gd name="connsiteX268" fmla="*/ 100013 w 858838"/>
                <a:gd name="connsiteY268" fmla="*/ 265112 h 455613"/>
                <a:gd name="connsiteX269" fmla="*/ 88900 w 858838"/>
                <a:gd name="connsiteY269" fmla="*/ 263525 h 455613"/>
                <a:gd name="connsiteX270" fmla="*/ 84138 w 858838"/>
                <a:gd name="connsiteY270" fmla="*/ 263525 h 455613"/>
                <a:gd name="connsiteX271" fmla="*/ 82550 w 858838"/>
                <a:gd name="connsiteY271" fmla="*/ 263525 h 455613"/>
                <a:gd name="connsiteX272" fmla="*/ 79375 w 858838"/>
                <a:gd name="connsiteY272" fmla="*/ 261937 h 455613"/>
                <a:gd name="connsiteX273" fmla="*/ 77787 w 858838"/>
                <a:gd name="connsiteY273" fmla="*/ 258762 h 455613"/>
                <a:gd name="connsiteX274" fmla="*/ 77787 w 858838"/>
                <a:gd name="connsiteY274" fmla="*/ 257175 h 455613"/>
                <a:gd name="connsiteX275" fmla="*/ 74612 w 858838"/>
                <a:gd name="connsiteY275" fmla="*/ 254000 h 455613"/>
                <a:gd name="connsiteX276" fmla="*/ 73025 w 858838"/>
                <a:gd name="connsiteY276" fmla="*/ 254000 h 455613"/>
                <a:gd name="connsiteX277" fmla="*/ 71437 w 858838"/>
                <a:gd name="connsiteY277" fmla="*/ 254000 h 455613"/>
                <a:gd name="connsiteX278" fmla="*/ 68262 w 858838"/>
                <a:gd name="connsiteY278" fmla="*/ 254000 h 455613"/>
                <a:gd name="connsiteX279" fmla="*/ 66675 w 858838"/>
                <a:gd name="connsiteY279" fmla="*/ 254000 h 455613"/>
                <a:gd name="connsiteX280" fmla="*/ 63500 w 858838"/>
                <a:gd name="connsiteY280" fmla="*/ 254000 h 455613"/>
                <a:gd name="connsiteX281" fmla="*/ 63500 w 858838"/>
                <a:gd name="connsiteY281" fmla="*/ 257175 h 455613"/>
                <a:gd name="connsiteX282" fmla="*/ 63500 w 858838"/>
                <a:gd name="connsiteY282" fmla="*/ 261937 h 455613"/>
                <a:gd name="connsiteX283" fmla="*/ 66675 w 858838"/>
                <a:gd name="connsiteY283" fmla="*/ 263525 h 455613"/>
                <a:gd name="connsiteX284" fmla="*/ 66675 w 858838"/>
                <a:gd name="connsiteY284" fmla="*/ 265112 h 455613"/>
                <a:gd name="connsiteX285" fmla="*/ 61912 w 858838"/>
                <a:gd name="connsiteY285" fmla="*/ 269875 h 455613"/>
                <a:gd name="connsiteX286" fmla="*/ 60325 w 858838"/>
                <a:gd name="connsiteY286" fmla="*/ 269875 h 455613"/>
                <a:gd name="connsiteX287" fmla="*/ 61912 w 858838"/>
                <a:gd name="connsiteY287" fmla="*/ 265112 h 455613"/>
                <a:gd name="connsiteX288" fmla="*/ 61912 w 858838"/>
                <a:gd name="connsiteY288" fmla="*/ 261937 h 455613"/>
                <a:gd name="connsiteX289" fmla="*/ 61912 w 858838"/>
                <a:gd name="connsiteY289" fmla="*/ 257175 h 455613"/>
                <a:gd name="connsiteX290" fmla="*/ 61912 w 858838"/>
                <a:gd name="connsiteY290" fmla="*/ 254000 h 455613"/>
                <a:gd name="connsiteX291" fmla="*/ 61912 w 858838"/>
                <a:gd name="connsiteY291" fmla="*/ 250825 h 455613"/>
                <a:gd name="connsiteX292" fmla="*/ 57150 w 858838"/>
                <a:gd name="connsiteY292" fmla="*/ 231775 h 455613"/>
                <a:gd name="connsiteX293" fmla="*/ 55562 w 858838"/>
                <a:gd name="connsiteY293" fmla="*/ 225425 h 455613"/>
                <a:gd name="connsiteX294" fmla="*/ 55562 w 858838"/>
                <a:gd name="connsiteY294" fmla="*/ 220662 h 455613"/>
                <a:gd name="connsiteX295" fmla="*/ 52387 w 858838"/>
                <a:gd name="connsiteY295" fmla="*/ 220662 h 455613"/>
                <a:gd name="connsiteX296" fmla="*/ 49212 w 858838"/>
                <a:gd name="connsiteY296" fmla="*/ 215900 h 455613"/>
                <a:gd name="connsiteX297" fmla="*/ 46037 w 858838"/>
                <a:gd name="connsiteY297" fmla="*/ 214312 h 455613"/>
                <a:gd name="connsiteX298" fmla="*/ 46037 w 858838"/>
                <a:gd name="connsiteY298" fmla="*/ 212725 h 455613"/>
                <a:gd name="connsiteX299" fmla="*/ 44450 w 858838"/>
                <a:gd name="connsiteY299" fmla="*/ 204787 h 455613"/>
                <a:gd name="connsiteX300" fmla="*/ 41275 w 858838"/>
                <a:gd name="connsiteY300" fmla="*/ 192087 h 455613"/>
                <a:gd name="connsiteX301" fmla="*/ 39687 w 858838"/>
                <a:gd name="connsiteY301" fmla="*/ 176212 h 455613"/>
                <a:gd name="connsiteX302" fmla="*/ 39687 w 858838"/>
                <a:gd name="connsiteY302" fmla="*/ 174625 h 455613"/>
                <a:gd name="connsiteX303" fmla="*/ 34925 w 858838"/>
                <a:gd name="connsiteY303" fmla="*/ 168275 h 455613"/>
                <a:gd name="connsiteX304" fmla="*/ 28575 w 858838"/>
                <a:gd name="connsiteY304" fmla="*/ 153987 h 455613"/>
                <a:gd name="connsiteX305" fmla="*/ 23812 w 858838"/>
                <a:gd name="connsiteY305" fmla="*/ 149225 h 455613"/>
                <a:gd name="connsiteX306" fmla="*/ 22225 w 858838"/>
                <a:gd name="connsiteY306" fmla="*/ 147637 h 455613"/>
                <a:gd name="connsiteX307" fmla="*/ 19050 w 858838"/>
                <a:gd name="connsiteY307" fmla="*/ 147637 h 455613"/>
                <a:gd name="connsiteX308" fmla="*/ 17462 w 858838"/>
                <a:gd name="connsiteY308" fmla="*/ 146050 h 455613"/>
                <a:gd name="connsiteX309" fmla="*/ 15875 w 858838"/>
                <a:gd name="connsiteY309" fmla="*/ 147637 h 455613"/>
                <a:gd name="connsiteX310" fmla="*/ 15875 w 858838"/>
                <a:gd name="connsiteY310" fmla="*/ 146050 h 455613"/>
                <a:gd name="connsiteX311" fmla="*/ 12700 w 858838"/>
                <a:gd name="connsiteY311" fmla="*/ 146050 h 455613"/>
                <a:gd name="connsiteX312" fmla="*/ 11112 w 858838"/>
                <a:gd name="connsiteY312" fmla="*/ 141287 h 455613"/>
                <a:gd name="connsiteX313" fmla="*/ 7937 w 858838"/>
                <a:gd name="connsiteY313" fmla="*/ 134937 h 455613"/>
                <a:gd name="connsiteX314" fmla="*/ 6350 w 858838"/>
                <a:gd name="connsiteY314" fmla="*/ 131762 h 455613"/>
                <a:gd name="connsiteX315" fmla="*/ 6350 w 858838"/>
                <a:gd name="connsiteY315" fmla="*/ 127000 h 455613"/>
                <a:gd name="connsiteX316" fmla="*/ 4762 w 858838"/>
                <a:gd name="connsiteY316" fmla="*/ 125412 h 455613"/>
                <a:gd name="connsiteX317" fmla="*/ 4762 w 858838"/>
                <a:gd name="connsiteY317" fmla="*/ 123825 h 455613"/>
                <a:gd name="connsiteX318" fmla="*/ 4762 w 858838"/>
                <a:gd name="connsiteY318" fmla="*/ 114300 h 455613"/>
                <a:gd name="connsiteX319" fmla="*/ 4762 w 858838"/>
                <a:gd name="connsiteY319" fmla="*/ 107950 h 455613"/>
                <a:gd name="connsiteX320" fmla="*/ 4762 w 858838"/>
                <a:gd name="connsiteY320" fmla="*/ 98425 h 455613"/>
                <a:gd name="connsiteX321" fmla="*/ 1587 w 858838"/>
                <a:gd name="connsiteY321" fmla="*/ 82550 h 455613"/>
                <a:gd name="connsiteX322" fmla="*/ 0 w 858838"/>
                <a:gd name="connsiteY322" fmla="*/ 79375 h 455613"/>
                <a:gd name="connsiteX323" fmla="*/ 7937 w 858838"/>
                <a:gd name="connsiteY323" fmla="*/ 79375 h 455613"/>
                <a:gd name="connsiteX324" fmla="*/ 17462 w 858838"/>
                <a:gd name="connsiteY324" fmla="*/ 80962 h 455613"/>
                <a:gd name="connsiteX325" fmla="*/ 19050 w 858838"/>
                <a:gd name="connsiteY325" fmla="*/ 82550 h 455613"/>
                <a:gd name="connsiteX326" fmla="*/ 26987 w 858838"/>
                <a:gd name="connsiteY326" fmla="*/ 85725 h 455613"/>
                <a:gd name="connsiteX327" fmla="*/ 33337 w 858838"/>
                <a:gd name="connsiteY327" fmla="*/ 90487 h 455613"/>
                <a:gd name="connsiteX328" fmla="*/ 44450 w 858838"/>
                <a:gd name="connsiteY328" fmla="*/ 93662 h 455613"/>
                <a:gd name="connsiteX329" fmla="*/ 52387 w 858838"/>
                <a:gd name="connsiteY329" fmla="*/ 93662 h 455613"/>
                <a:gd name="connsiteX330" fmla="*/ 61912 w 858838"/>
                <a:gd name="connsiteY330" fmla="*/ 98425 h 455613"/>
                <a:gd name="connsiteX331" fmla="*/ 66675 w 858838"/>
                <a:gd name="connsiteY331" fmla="*/ 101600 h 455613"/>
                <a:gd name="connsiteX332" fmla="*/ 68262 w 858838"/>
                <a:gd name="connsiteY332" fmla="*/ 101600 h 455613"/>
                <a:gd name="connsiteX333" fmla="*/ 68262 w 858838"/>
                <a:gd name="connsiteY333" fmla="*/ 103187 h 455613"/>
                <a:gd name="connsiteX334" fmla="*/ 73025 w 858838"/>
                <a:gd name="connsiteY334" fmla="*/ 104775 h 455613"/>
                <a:gd name="connsiteX335" fmla="*/ 77787 w 858838"/>
                <a:gd name="connsiteY335" fmla="*/ 104775 h 455613"/>
                <a:gd name="connsiteX336" fmla="*/ 85725 w 858838"/>
                <a:gd name="connsiteY336" fmla="*/ 107950 h 455613"/>
                <a:gd name="connsiteX337" fmla="*/ 88900 w 858838"/>
                <a:gd name="connsiteY337" fmla="*/ 107950 h 455613"/>
                <a:gd name="connsiteX338" fmla="*/ 100013 w 858838"/>
                <a:gd name="connsiteY338" fmla="*/ 109537 h 455613"/>
                <a:gd name="connsiteX339" fmla="*/ 101600 w 858838"/>
                <a:gd name="connsiteY339" fmla="*/ 109537 h 455613"/>
                <a:gd name="connsiteX340" fmla="*/ 104775 w 858838"/>
                <a:gd name="connsiteY340" fmla="*/ 109537 h 455613"/>
                <a:gd name="connsiteX341" fmla="*/ 112713 w 858838"/>
                <a:gd name="connsiteY341" fmla="*/ 109537 h 455613"/>
                <a:gd name="connsiteX342" fmla="*/ 133350 w 858838"/>
                <a:gd name="connsiteY342" fmla="*/ 112712 h 455613"/>
                <a:gd name="connsiteX343" fmla="*/ 142875 w 858838"/>
                <a:gd name="connsiteY343" fmla="*/ 114300 h 455613"/>
                <a:gd name="connsiteX344" fmla="*/ 144463 w 858838"/>
                <a:gd name="connsiteY344" fmla="*/ 114300 h 455613"/>
                <a:gd name="connsiteX345" fmla="*/ 149225 w 858838"/>
                <a:gd name="connsiteY345" fmla="*/ 114300 h 455613"/>
                <a:gd name="connsiteX346" fmla="*/ 160338 w 858838"/>
                <a:gd name="connsiteY346" fmla="*/ 114300 h 455613"/>
                <a:gd name="connsiteX347" fmla="*/ 161925 w 858838"/>
                <a:gd name="connsiteY347" fmla="*/ 114300 h 455613"/>
                <a:gd name="connsiteX348" fmla="*/ 165100 w 858838"/>
                <a:gd name="connsiteY348" fmla="*/ 114300 h 455613"/>
                <a:gd name="connsiteX349" fmla="*/ 166688 w 858838"/>
                <a:gd name="connsiteY349" fmla="*/ 112712 h 455613"/>
                <a:gd name="connsiteX350" fmla="*/ 166688 w 858838"/>
                <a:gd name="connsiteY350" fmla="*/ 109537 h 455613"/>
                <a:gd name="connsiteX351" fmla="*/ 171450 w 858838"/>
                <a:gd name="connsiteY351" fmla="*/ 107950 h 455613"/>
                <a:gd name="connsiteX352" fmla="*/ 173038 w 858838"/>
                <a:gd name="connsiteY352" fmla="*/ 107950 h 455613"/>
                <a:gd name="connsiteX353" fmla="*/ 176213 w 858838"/>
                <a:gd name="connsiteY353" fmla="*/ 104775 h 455613"/>
                <a:gd name="connsiteX354" fmla="*/ 190500 w 858838"/>
                <a:gd name="connsiteY354" fmla="*/ 115887 h 455613"/>
                <a:gd name="connsiteX355" fmla="*/ 201613 w 858838"/>
                <a:gd name="connsiteY355" fmla="*/ 119062 h 455613"/>
                <a:gd name="connsiteX356" fmla="*/ 201613 w 858838"/>
                <a:gd name="connsiteY356" fmla="*/ 115887 h 455613"/>
                <a:gd name="connsiteX357" fmla="*/ 201613 w 858838"/>
                <a:gd name="connsiteY357" fmla="*/ 114300 h 455613"/>
                <a:gd name="connsiteX358" fmla="*/ 204788 w 858838"/>
                <a:gd name="connsiteY358" fmla="*/ 114300 h 455613"/>
                <a:gd name="connsiteX359" fmla="*/ 206375 w 858838"/>
                <a:gd name="connsiteY359" fmla="*/ 112712 h 455613"/>
                <a:gd name="connsiteX360" fmla="*/ 209550 w 858838"/>
                <a:gd name="connsiteY360" fmla="*/ 112712 h 455613"/>
                <a:gd name="connsiteX361" fmla="*/ 211138 w 858838"/>
                <a:gd name="connsiteY361" fmla="*/ 109537 h 455613"/>
                <a:gd name="connsiteX362" fmla="*/ 212725 w 858838"/>
                <a:gd name="connsiteY362" fmla="*/ 109537 h 455613"/>
                <a:gd name="connsiteX363" fmla="*/ 215900 w 858838"/>
                <a:gd name="connsiteY363" fmla="*/ 109537 h 455613"/>
                <a:gd name="connsiteX364" fmla="*/ 215900 w 858838"/>
                <a:gd name="connsiteY364" fmla="*/ 112712 h 455613"/>
                <a:gd name="connsiteX365" fmla="*/ 215900 w 858838"/>
                <a:gd name="connsiteY365" fmla="*/ 114300 h 455613"/>
                <a:gd name="connsiteX366" fmla="*/ 212725 w 858838"/>
                <a:gd name="connsiteY366" fmla="*/ 114300 h 455613"/>
                <a:gd name="connsiteX367" fmla="*/ 212725 w 858838"/>
                <a:gd name="connsiteY367" fmla="*/ 115887 h 455613"/>
                <a:gd name="connsiteX368" fmla="*/ 211138 w 858838"/>
                <a:gd name="connsiteY368" fmla="*/ 115887 h 455613"/>
                <a:gd name="connsiteX369" fmla="*/ 211138 w 858838"/>
                <a:gd name="connsiteY369" fmla="*/ 119062 h 455613"/>
                <a:gd name="connsiteX370" fmla="*/ 212725 w 858838"/>
                <a:gd name="connsiteY370" fmla="*/ 119062 h 455613"/>
                <a:gd name="connsiteX371" fmla="*/ 220663 w 858838"/>
                <a:gd name="connsiteY371" fmla="*/ 130175 h 455613"/>
                <a:gd name="connsiteX372" fmla="*/ 222250 w 858838"/>
                <a:gd name="connsiteY372" fmla="*/ 131762 h 455613"/>
                <a:gd name="connsiteX373" fmla="*/ 223838 w 858838"/>
                <a:gd name="connsiteY373" fmla="*/ 131762 h 455613"/>
                <a:gd name="connsiteX374" fmla="*/ 223838 w 858838"/>
                <a:gd name="connsiteY374" fmla="*/ 134937 h 455613"/>
                <a:gd name="connsiteX375" fmla="*/ 228600 w 858838"/>
                <a:gd name="connsiteY375" fmla="*/ 142875 h 455613"/>
                <a:gd name="connsiteX376" fmla="*/ 223838 w 858838"/>
                <a:gd name="connsiteY376" fmla="*/ 149225 h 455613"/>
                <a:gd name="connsiteX377" fmla="*/ 215900 w 858838"/>
                <a:gd name="connsiteY377" fmla="*/ 163512 h 455613"/>
                <a:gd name="connsiteX378" fmla="*/ 211138 w 858838"/>
                <a:gd name="connsiteY378" fmla="*/ 160337 h 455613"/>
                <a:gd name="connsiteX379" fmla="*/ 211138 w 858838"/>
                <a:gd name="connsiteY379" fmla="*/ 157162 h 455613"/>
                <a:gd name="connsiteX380" fmla="*/ 211138 w 858838"/>
                <a:gd name="connsiteY380" fmla="*/ 153987 h 455613"/>
                <a:gd name="connsiteX381" fmla="*/ 211138 w 858838"/>
                <a:gd name="connsiteY381" fmla="*/ 152400 h 455613"/>
                <a:gd name="connsiteX382" fmla="*/ 211138 w 858838"/>
                <a:gd name="connsiteY382" fmla="*/ 149225 h 455613"/>
                <a:gd name="connsiteX383" fmla="*/ 204788 w 858838"/>
                <a:gd name="connsiteY383" fmla="*/ 152400 h 455613"/>
                <a:gd name="connsiteX384" fmla="*/ 204788 w 858838"/>
                <a:gd name="connsiteY384" fmla="*/ 153987 h 455613"/>
                <a:gd name="connsiteX385" fmla="*/ 204788 w 858838"/>
                <a:gd name="connsiteY385" fmla="*/ 157162 h 455613"/>
                <a:gd name="connsiteX386" fmla="*/ 204788 w 858838"/>
                <a:gd name="connsiteY386" fmla="*/ 158750 h 455613"/>
                <a:gd name="connsiteX387" fmla="*/ 204788 w 858838"/>
                <a:gd name="connsiteY387" fmla="*/ 163512 h 455613"/>
                <a:gd name="connsiteX388" fmla="*/ 201613 w 858838"/>
                <a:gd name="connsiteY388" fmla="*/ 169862 h 455613"/>
                <a:gd name="connsiteX389" fmla="*/ 200025 w 858838"/>
                <a:gd name="connsiteY389" fmla="*/ 174625 h 455613"/>
                <a:gd name="connsiteX390" fmla="*/ 198438 w 858838"/>
                <a:gd name="connsiteY390" fmla="*/ 176212 h 455613"/>
                <a:gd name="connsiteX391" fmla="*/ 190500 w 858838"/>
                <a:gd name="connsiteY391" fmla="*/ 180975 h 455613"/>
                <a:gd name="connsiteX392" fmla="*/ 188913 w 858838"/>
                <a:gd name="connsiteY392" fmla="*/ 182562 h 455613"/>
                <a:gd name="connsiteX393" fmla="*/ 187325 w 858838"/>
                <a:gd name="connsiteY393" fmla="*/ 187325 h 455613"/>
                <a:gd name="connsiteX394" fmla="*/ 176213 w 858838"/>
                <a:gd name="connsiteY394" fmla="*/ 201612 h 455613"/>
                <a:gd name="connsiteX395" fmla="*/ 171450 w 858838"/>
                <a:gd name="connsiteY395" fmla="*/ 212725 h 455613"/>
                <a:gd name="connsiteX396" fmla="*/ 171450 w 858838"/>
                <a:gd name="connsiteY396" fmla="*/ 214312 h 455613"/>
                <a:gd name="connsiteX397" fmla="*/ 173038 w 858838"/>
                <a:gd name="connsiteY397" fmla="*/ 214312 h 455613"/>
                <a:gd name="connsiteX398" fmla="*/ 176213 w 858838"/>
                <a:gd name="connsiteY398" fmla="*/ 214312 h 455613"/>
                <a:gd name="connsiteX399" fmla="*/ 177800 w 858838"/>
                <a:gd name="connsiteY399" fmla="*/ 214312 h 455613"/>
                <a:gd name="connsiteX400" fmla="*/ 187325 w 858838"/>
                <a:gd name="connsiteY400" fmla="*/ 214312 h 455613"/>
                <a:gd name="connsiteX401" fmla="*/ 198438 w 858838"/>
                <a:gd name="connsiteY401" fmla="*/ 209550 h 455613"/>
                <a:gd name="connsiteX402" fmla="*/ 201613 w 858838"/>
                <a:gd name="connsiteY402" fmla="*/ 207962 h 455613"/>
                <a:gd name="connsiteX403" fmla="*/ 204788 w 858838"/>
                <a:gd name="connsiteY403" fmla="*/ 204787 h 455613"/>
                <a:gd name="connsiteX404" fmla="*/ 206375 w 858838"/>
                <a:gd name="connsiteY404" fmla="*/ 204787 h 455613"/>
                <a:gd name="connsiteX405" fmla="*/ 206375 w 858838"/>
                <a:gd name="connsiteY405" fmla="*/ 203200 h 455613"/>
                <a:gd name="connsiteX406" fmla="*/ 204788 w 858838"/>
                <a:gd name="connsiteY406" fmla="*/ 203200 h 455613"/>
                <a:gd name="connsiteX407" fmla="*/ 201613 w 858838"/>
                <a:gd name="connsiteY407" fmla="*/ 203200 h 455613"/>
                <a:gd name="connsiteX408" fmla="*/ 198438 w 858838"/>
                <a:gd name="connsiteY408" fmla="*/ 204787 h 455613"/>
                <a:gd name="connsiteX409" fmla="*/ 193675 w 858838"/>
                <a:gd name="connsiteY409" fmla="*/ 207962 h 455613"/>
                <a:gd name="connsiteX410" fmla="*/ 188913 w 858838"/>
                <a:gd name="connsiteY410" fmla="*/ 209550 h 455613"/>
                <a:gd name="connsiteX411" fmla="*/ 188913 w 858838"/>
                <a:gd name="connsiteY411" fmla="*/ 212725 h 455613"/>
                <a:gd name="connsiteX412" fmla="*/ 187325 w 858838"/>
                <a:gd name="connsiteY412" fmla="*/ 212725 h 455613"/>
                <a:gd name="connsiteX413" fmla="*/ 179388 w 858838"/>
                <a:gd name="connsiteY413" fmla="*/ 212725 h 455613"/>
                <a:gd name="connsiteX414" fmla="*/ 177800 w 858838"/>
                <a:gd name="connsiteY414" fmla="*/ 209550 h 455613"/>
                <a:gd name="connsiteX415" fmla="*/ 177800 w 858838"/>
                <a:gd name="connsiteY415" fmla="*/ 207962 h 455613"/>
                <a:gd name="connsiteX416" fmla="*/ 177800 w 858838"/>
                <a:gd name="connsiteY416" fmla="*/ 203200 h 455613"/>
                <a:gd name="connsiteX417" fmla="*/ 188913 w 858838"/>
                <a:gd name="connsiteY417" fmla="*/ 190500 h 455613"/>
                <a:gd name="connsiteX418" fmla="*/ 193675 w 858838"/>
                <a:gd name="connsiteY418" fmla="*/ 182562 h 455613"/>
                <a:gd name="connsiteX419" fmla="*/ 195263 w 858838"/>
                <a:gd name="connsiteY419" fmla="*/ 182562 h 455613"/>
                <a:gd name="connsiteX420" fmla="*/ 198438 w 858838"/>
                <a:gd name="connsiteY420" fmla="*/ 179387 h 455613"/>
                <a:gd name="connsiteX421" fmla="*/ 200025 w 858838"/>
                <a:gd name="connsiteY421" fmla="*/ 179387 h 455613"/>
                <a:gd name="connsiteX422" fmla="*/ 206375 w 858838"/>
                <a:gd name="connsiteY422" fmla="*/ 176212 h 455613"/>
                <a:gd name="connsiteX423" fmla="*/ 217488 w 858838"/>
                <a:gd name="connsiteY423" fmla="*/ 168275 h 455613"/>
                <a:gd name="connsiteX424" fmla="*/ 217488 w 858838"/>
                <a:gd name="connsiteY424" fmla="*/ 165100 h 455613"/>
                <a:gd name="connsiteX425" fmla="*/ 217488 w 858838"/>
                <a:gd name="connsiteY425" fmla="*/ 163512 h 455613"/>
                <a:gd name="connsiteX426" fmla="*/ 234950 w 858838"/>
                <a:gd name="connsiteY426" fmla="*/ 138112 h 455613"/>
                <a:gd name="connsiteX427" fmla="*/ 239713 w 858838"/>
                <a:gd name="connsiteY427" fmla="*/ 141287 h 455613"/>
                <a:gd name="connsiteX428" fmla="*/ 242888 w 858838"/>
                <a:gd name="connsiteY428" fmla="*/ 141287 h 455613"/>
                <a:gd name="connsiteX429" fmla="*/ 242888 w 858838"/>
                <a:gd name="connsiteY429" fmla="*/ 142875 h 455613"/>
                <a:gd name="connsiteX430" fmla="*/ 246063 w 858838"/>
                <a:gd name="connsiteY430" fmla="*/ 160337 h 455613"/>
                <a:gd name="connsiteX431" fmla="*/ 246063 w 858838"/>
                <a:gd name="connsiteY431" fmla="*/ 163512 h 455613"/>
                <a:gd name="connsiteX432" fmla="*/ 238125 w 858838"/>
                <a:gd name="connsiteY432" fmla="*/ 165100 h 455613"/>
                <a:gd name="connsiteX433" fmla="*/ 233363 w 858838"/>
                <a:gd name="connsiteY433" fmla="*/ 169862 h 455613"/>
                <a:gd name="connsiteX434" fmla="*/ 231775 w 858838"/>
                <a:gd name="connsiteY434" fmla="*/ 169862 h 455613"/>
                <a:gd name="connsiteX435" fmla="*/ 233363 w 858838"/>
                <a:gd name="connsiteY435" fmla="*/ 176212 h 455613"/>
                <a:gd name="connsiteX436" fmla="*/ 233363 w 858838"/>
                <a:gd name="connsiteY436" fmla="*/ 179387 h 455613"/>
                <a:gd name="connsiteX437" fmla="*/ 233363 w 858838"/>
                <a:gd name="connsiteY437" fmla="*/ 180975 h 455613"/>
                <a:gd name="connsiteX438" fmla="*/ 233363 w 858838"/>
                <a:gd name="connsiteY438" fmla="*/ 182562 h 455613"/>
                <a:gd name="connsiteX439" fmla="*/ 231775 w 858838"/>
                <a:gd name="connsiteY439" fmla="*/ 182562 h 455613"/>
                <a:gd name="connsiteX440" fmla="*/ 228600 w 858838"/>
                <a:gd name="connsiteY440" fmla="*/ 180975 h 455613"/>
                <a:gd name="connsiteX441" fmla="*/ 227013 w 858838"/>
                <a:gd name="connsiteY441" fmla="*/ 180975 h 455613"/>
                <a:gd name="connsiteX442" fmla="*/ 227013 w 858838"/>
                <a:gd name="connsiteY442" fmla="*/ 179387 h 455613"/>
                <a:gd name="connsiteX443" fmla="*/ 223838 w 858838"/>
                <a:gd name="connsiteY443" fmla="*/ 179387 h 455613"/>
                <a:gd name="connsiteX444" fmla="*/ 223838 w 858838"/>
                <a:gd name="connsiteY444" fmla="*/ 176212 h 455613"/>
                <a:gd name="connsiteX445" fmla="*/ 222250 w 858838"/>
                <a:gd name="connsiteY445" fmla="*/ 176212 h 455613"/>
                <a:gd name="connsiteX446" fmla="*/ 222250 w 858838"/>
                <a:gd name="connsiteY446" fmla="*/ 179387 h 455613"/>
                <a:gd name="connsiteX447" fmla="*/ 222250 w 858838"/>
                <a:gd name="connsiteY447" fmla="*/ 180975 h 455613"/>
                <a:gd name="connsiteX448" fmla="*/ 223838 w 858838"/>
                <a:gd name="connsiteY448" fmla="*/ 190500 h 455613"/>
                <a:gd name="connsiteX449" fmla="*/ 231775 w 858838"/>
                <a:gd name="connsiteY449" fmla="*/ 187325 h 455613"/>
                <a:gd name="connsiteX450" fmla="*/ 233363 w 858838"/>
                <a:gd name="connsiteY450" fmla="*/ 187325 h 455613"/>
                <a:gd name="connsiteX451" fmla="*/ 234950 w 858838"/>
                <a:gd name="connsiteY451" fmla="*/ 185737 h 455613"/>
                <a:gd name="connsiteX452" fmla="*/ 238125 w 858838"/>
                <a:gd name="connsiteY452" fmla="*/ 185737 h 455613"/>
                <a:gd name="connsiteX453" fmla="*/ 239713 w 858838"/>
                <a:gd name="connsiteY453" fmla="*/ 182562 h 455613"/>
                <a:gd name="connsiteX454" fmla="*/ 239713 w 858838"/>
                <a:gd name="connsiteY454" fmla="*/ 185737 h 455613"/>
                <a:gd name="connsiteX455" fmla="*/ 242888 w 858838"/>
                <a:gd name="connsiteY455" fmla="*/ 196850 h 455613"/>
                <a:gd name="connsiteX456" fmla="*/ 240221 w 858838"/>
                <a:gd name="connsiteY456" fmla="*/ 211961 h 455613"/>
                <a:gd name="connsiteX457" fmla="*/ 242887 w 858838"/>
                <a:gd name="connsiteY457" fmla="*/ 207962 h 455613"/>
                <a:gd name="connsiteX458" fmla="*/ 242887 w 858838"/>
                <a:gd name="connsiteY458" fmla="*/ 201612 h 455613"/>
                <a:gd name="connsiteX459" fmla="*/ 246062 w 858838"/>
                <a:gd name="connsiteY459" fmla="*/ 193675 h 455613"/>
                <a:gd name="connsiteX460" fmla="*/ 249237 w 858838"/>
                <a:gd name="connsiteY460" fmla="*/ 193675 h 455613"/>
                <a:gd name="connsiteX461" fmla="*/ 249237 w 858838"/>
                <a:gd name="connsiteY461" fmla="*/ 198437 h 455613"/>
                <a:gd name="connsiteX462" fmla="*/ 250825 w 858838"/>
                <a:gd name="connsiteY462" fmla="*/ 204787 h 455613"/>
                <a:gd name="connsiteX463" fmla="*/ 250825 w 858838"/>
                <a:gd name="connsiteY463" fmla="*/ 207962 h 455613"/>
                <a:gd name="connsiteX464" fmla="*/ 255587 w 858838"/>
                <a:gd name="connsiteY464" fmla="*/ 209550 h 455613"/>
                <a:gd name="connsiteX465" fmla="*/ 254000 w 858838"/>
                <a:gd name="connsiteY465" fmla="*/ 212725 h 455613"/>
                <a:gd name="connsiteX466" fmla="*/ 244475 w 858838"/>
                <a:gd name="connsiteY466" fmla="*/ 215900 h 455613"/>
                <a:gd name="connsiteX467" fmla="*/ 242887 w 858838"/>
                <a:gd name="connsiteY467" fmla="*/ 215900 h 455613"/>
                <a:gd name="connsiteX468" fmla="*/ 239799 w 858838"/>
                <a:gd name="connsiteY468" fmla="*/ 214356 h 455613"/>
                <a:gd name="connsiteX469" fmla="*/ 238125 w 858838"/>
                <a:gd name="connsiteY469" fmla="*/ 223837 h 455613"/>
                <a:gd name="connsiteX470" fmla="*/ 238125 w 858838"/>
                <a:gd name="connsiteY470" fmla="*/ 225425 h 455613"/>
                <a:gd name="connsiteX471" fmla="*/ 234950 w 858838"/>
                <a:gd name="connsiteY471" fmla="*/ 225425 h 455613"/>
                <a:gd name="connsiteX472" fmla="*/ 233363 w 858838"/>
                <a:gd name="connsiteY472" fmla="*/ 225425 h 455613"/>
                <a:gd name="connsiteX473" fmla="*/ 223838 w 858838"/>
                <a:gd name="connsiteY473" fmla="*/ 223837 h 455613"/>
                <a:gd name="connsiteX474" fmla="*/ 223838 w 858838"/>
                <a:gd name="connsiteY474" fmla="*/ 220662 h 455613"/>
                <a:gd name="connsiteX475" fmla="*/ 223838 w 858838"/>
                <a:gd name="connsiteY475" fmla="*/ 219075 h 455613"/>
                <a:gd name="connsiteX476" fmla="*/ 227013 w 858838"/>
                <a:gd name="connsiteY476" fmla="*/ 215900 h 455613"/>
                <a:gd name="connsiteX477" fmla="*/ 231775 w 858838"/>
                <a:gd name="connsiteY477" fmla="*/ 212725 h 455613"/>
                <a:gd name="connsiteX478" fmla="*/ 231775 w 858838"/>
                <a:gd name="connsiteY478" fmla="*/ 209550 h 455613"/>
                <a:gd name="connsiteX479" fmla="*/ 228600 w 858838"/>
                <a:gd name="connsiteY479" fmla="*/ 207962 h 455613"/>
                <a:gd name="connsiteX480" fmla="*/ 220663 w 858838"/>
                <a:gd name="connsiteY480" fmla="*/ 214312 h 455613"/>
                <a:gd name="connsiteX481" fmla="*/ 220663 w 858838"/>
                <a:gd name="connsiteY481" fmla="*/ 215900 h 455613"/>
                <a:gd name="connsiteX482" fmla="*/ 215900 w 858838"/>
                <a:gd name="connsiteY482" fmla="*/ 223837 h 455613"/>
                <a:gd name="connsiteX483" fmla="*/ 217488 w 858838"/>
                <a:gd name="connsiteY483" fmla="*/ 225425 h 455613"/>
                <a:gd name="connsiteX484" fmla="*/ 217488 w 858838"/>
                <a:gd name="connsiteY484" fmla="*/ 227012 h 455613"/>
                <a:gd name="connsiteX485" fmla="*/ 220663 w 858838"/>
                <a:gd name="connsiteY485" fmla="*/ 227012 h 455613"/>
                <a:gd name="connsiteX486" fmla="*/ 220663 w 858838"/>
                <a:gd name="connsiteY486" fmla="*/ 230187 h 455613"/>
                <a:gd name="connsiteX487" fmla="*/ 217488 w 858838"/>
                <a:gd name="connsiteY487" fmla="*/ 234950 h 455613"/>
                <a:gd name="connsiteX488" fmla="*/ 215900 w 858838"/>
                <a:gd name="connsiteY488" fmla="*/ 236537 h 455613"/>
                <a:gd name="connsiteX489" fmla="*/ 212725 w 858838"/>
                <a:gd name="connsiteY489" fmla="*/ 236537 h 455613"/>
                <a:gd name="connsiteX490" fmla="*/ 211138 w 858838"/>
                <a:gd name="connsiteY490" fmla="*/ 234950 h 455613"/>
                <a:gd name="connsiteX491" fmla="*/ 211138 w 858838"/>
                <a:gd name="connsiteY491" fmla="*/ 231775 h 455613"/>
                <a:gd name="connsiteX492" fmla="*/ 209550 w 858838"/>
                <a:gd name="connsiteY492" fmla="*/ 227012 h 455613"/>
                <a:gd name="connsiteX493" fmla="*/ 209550 w 858838"/>
                <a:gd name="connsiteY493" fmla="*/ 225425 h 455613"/>
                <a:gd name="connsiteX494" fmla="*/ 211138 w 858838"/>
                <a:gd name="connsiteY494" fmla="*/ 223837 h 455613"/>
                <a:gd name="connsiteX495" fmla="*/ 212725 w 858838"/>
                <a:gd name="connsiteY495" fmla="*/ 220662 h 455613"/>
                <a:gd name="connsiteX496" fmla="*/ 212725 w 858838"/>
                <a:gd name="connsiteY496" fmla="*/ 219075 h 455613"/>
                <a:gd name="connsiteX497" fmla="*/ 212725 w 858838"/>
                <a:gd name="connsiteY497" fmla="*/ 214312 h 455613"/>
                <a:gd name="connsiteX498" fmla="*/ 212725 w 858838"/>
                <a:gd name="connsiteY498" fmla="*/ 212725 h 455613"/>
                <a:gd name="connsiteX499" fmla="*/ 211138 w 858838"/>
                <a:gd name="connsiteY499" fmla="*/ 209550 h 455613"/>
                <a:gd name="connsiteX500" fmla="*/ 209550 w 858838"/>
                <a:gd name="connsiteY500" fmla="*/ 214312 h 455613"/>
                <a:gd name="connsiteX501" fmla="*/ 204788 w 858838"/>
                <a:gd name="connsiteY501" fmla="*/ 220662 h 455613"/>
                <a:gd name="connsiteX502" fmla="*/ 198438 w 858838"/>
                <a:gd name="connsiteY502" fmla="*/ 223837 h 455613"/>
                <a:gd name="connsiteX503" fmla="*/ 198438 w 858838"/>
                <a:gd name="connsiteY503" fmla="*/ 223838 h 455613"/>
                <a:gd name="connsiteX504" fmla="*/ 200025 w 858838"/>
                <a:gd name="connsiteY504" fmla="*/ 223838 h 455613"/>
                <a:gd name="connsiteX505" fmla="*/ 201612 w 858838"/>
                <a:gd name="connsiteY505" fmla="*/ 223838 h 455613"/>
                <a:gd name="connsiteX506" fmla="*/ 204788 w 858838"/>
                <a:gd name="connsiteY506" fmla="*/ 220663 h 455613"/>
                <a:gd name="connsiteX507" fmla="*/ 204788 w 858838"/>
                <a:gd name="connsiteY507" fmla="*/ 223838 h 455613"/>
                <a:gd name="connsiteX508" fmla="*/ 206375 w 858838"/>
                <a:gd name="connsiteY508" fmla="*/ 231775 h 455613"/>
                <a:gd name="connsiteX509" fmla="*/ 204788 w 858838"/>
                <a:gd name="connsiteY509" fmla="*/ 234950 h 455613"/>
                <a:gd name="connsiteX510" fmla="*/ 204788 w 858838"/>
                <a:gd name="connsiteY510" fmla="*/ 236538 h 455613"/>
                <a:gd name="connsiteX511" fmla="*/ 198437 w 858838"/>
                <a:gd name="connsiteY511" fmla="*/ 227013 h 455613"/>
                <a:gd name="connsiteX512" fmla="*/ 198437 w 858838"/>
                <a:gd name="connsiteY512" fmla="*/ 225426 h 455613"/>
                <a:gd name="connsiteX513" fmla="*/ 195263 w 858838"/>
                <a:gd name="connsiteY513" fmla="*/ 230187 h 455613"/>
                <a:gd name="connsiteX514" fmla="*/ 195263 w 858838"/>
                <a:gd name="connsiteY514" fmla="*/ 234950 h 455613"/>
                <a:gd name="connsiteX515" fmla="*/ 193675 w 858838"/>
                <a:gd name="connsiteY515" fmla="*/ 236537 h 455613"/>
                <a:gd name="connsiteX516" fmla="*/ 190500 w 858838"/>
                <a:gd name="connsiteY516" fmla="*/ 238125 h 455613"/>
                <a:gd name="connsiteX517" fmla="*/ 188913 w 858838"/>
                <a:gd name="connsiteY517" fmla="*/ 238125 h 455613"/>
                <a:gd name="connsiteX518" fmla="*/ 184150 w 858838"/>
                <a:gd name="connsiteY518" fmla="*/ 238125 h 455613"/>
                <a:gd name="connsiteX519" fmla="*/ 182563 w 858838"/>
                <a:gd name="connsiteY519" fmla="*/ 241300 h 455613"/>
                <a:gd name="connsiteX520" fmla="*/ 179388 w 858838"/>
                <a:gd name="connsiteY520" fmla="*/ 241300 h 455613"/>
                <a:gd name="connsiteX521" fmla="*/ 179388 w 858838"/>
                <a:gd name="connsiteY521" fmla="*/ 242887 h 455613"/>
                <a:gd name="connsiteX522" fmla="*/ 179388 w 858838"/>
                <a:gd name="connsiteY522" fmla="*/ 247650 h 455613"/>
                <a:gd name="connsiteX523" fmla="*/ 182563 w 858838"/>
                <a:gd name="connsiteY523" fmla="*/ 247650 h 455613"/>
                <a:gd name="connsiteX524" fmla="*/ 184150 w 858838"/>
                <a:gd name="connsiteY524" fmla="*/ 246062 h 455613"/>
                <a:gd name="connsiteX525" fmla="*/ 193675 w 858838"/>
                <a:gd name="connsiteY525" fmla="*/ 242887 h 455613"/>
                <a:gd name="connsiteX526" fmla="*/ 198438 w 858838"/>
                <a:gd name="connsiteY526" fmla="*/ 252412 h 455613"/>
                <a:gd name="connsiteX527" fmla="*/ 200025 w 858838"/>
                <a:gd name="connsiteY527" fmla="*/ 254000 h 455613"/>
                <a:gd name="connsiteX528" fmla="*/ 201613 w 858838"/>
                <a:gd name="connsiteY528" fmla="*/ 254000 h 455613"/>
                <a:gd name="connsiteX529" fmla="*/ 200025 w 858838"/>
                <a:gd name="connsiteY529" fmla="*/ 242887 h 455613"/>
                <a:gd name="connsiteX530" fmla="*/ 200025 w 858838"/>
                <a:gd name="connsiteY530" fmla="*/ 241300 h 455613"/>
                <a:gd name="connsiteX531" fmla="*/ 204788 w 858838"/>
                <a:gd name="connsiteY531" fmla="*/ 238125 h 455613"/>
                <a:gd name="connsiteX532" fmla="*/ 206375 w 858838"/>
                <a:gd name="connsiteY532" fmla="*/ 238125 h 455613"/>
                <a:gd name="connsiteX533" fmla="*/ 209550 w 858838"/>
                <a:gd name="connsiteY533" fmla="*/ 236537 h 455613"/>
                <a:gd name="connsiteX534" fmla="*/ 211138 w 858838"/>
                <a:gd name="connsiteY534" fmla="*/ 238125 h 455613"/>
                <a:gd name="connsiteX535" fmla="*/ 217488 w 858838"/>
                <a:gd name="connsiteY535" fmla="*/ 246062 h 455613"/>
                <a:gd name="connsiteX536" fmla="*/ 220663 w 858838"/>
                <a:gd name="connsiteY536" fmla="*/ 247650 h 455613"/>
                <a:gd name="connsiteX537" fmla="*/ 227013 w 858838"/>
                <a:gd name="connsiteY537" fmla="*/ 241300 h 455613"/>
                <a:gd name="connsiteX538" fmla="*/ 231775 w 858838"/>
                <a:gd name="connsiteY538" fmla="*/ 238125 h 455613"/>
                <a:gd name="connsiteX539" fmla="*/ 233363 w 858838"/>
                <a:gd name="connsiteY539" fmla="*/ 236537 h 455613"/>
                <a:gd name="connsiteX540" fmla="*/ 234950 w 858838"/>
                <a:gd name="connsiteY540" fmla="*/ 231775 h 455613"/>
                <a:gd name="connsiteX541" fmla="*/ 239713 w 858838"/>
                <a:gd name="connsiteY541" fmla="*/ 225425 h 455613"/>
                <a:gd name="connsiteX542" fmla="*/ 246063 w 858838"/>
                <a:gd name="connsiteY542" fmla="*/ 223837 h 455613"/>
                <a:gd name="connsiteX543" fmla="*/ 250825 w 858838"/>
                <a:gd name="connsiteY543" fmla="*/ 220662 h 455613"/>
                <a:gd name="connsiteX544" fmla="*/ 261938 w 858838"/>
                <a:gd name="connsiteY544" fmla="*/ 214312 h 455613"/>
                <a:gd name="connsiteX545" fmla="*/ 265113 w 858838"/>
                <a:gd name="connsiteY545" fmla="*/ 212725 h 455613"/>
                <a:gd name="connsiteX546" fmla="*/ 265113 w 858838"/>
                <a:gd name="connsiteY546" fmla="*/ 209550 h 455613"/>
                <a:gd name="connsiteX547" fmla="*/ 265113 w 858838"/>
                <a:gd name="connsiteY547" fmla="*/ 207962 h 455613"/>
                <a:gd name="connsiteX548" fmla="*/ 260350 w 858838"/>
                <a:gd name="connsiteY548" fmla="*/ 198437 h 455613"/>
                <a:gd name="connsiteX549" fmla="*/ 255588 w 858838"/>
                <a:gd name="connsiteY549" fmla="*/ 190500 h 455613"/>
                <a:gd name="connsiteX550" fmla="*/ 254000 w 858838"/>
                <a:gd name="connsiteY550" fmla="*/ 185737 h 455613"/>
                <a:gd name="connsiteX551" fmla="*/ 250825 w 858838"/>
                <a:gd name="connsiteY551" fmla="*/ 174625 h 455613"/>
                <a:gd name="connsiteX552" fmla="*/ 255588 w 858838"/>
                <a:gd name="connsiteY552" fmla="*/ 153987 h 455613"/>
                <a:gd name="connsiteX553" fmla="*/ 257175 w 858838"/>
                <a:gd name="connsiteY553" fmla="*/ 152400 h 455613"/>
                <a:gd name="connsiteX554" fmla="*/ 265113 w 858838"/>
                <a:gd name="connsiteY554" fmla="*/ 136525 h 455613"/>
                <a:gd name="connsiteX555" fmla="*/ 266700 w 858838"/>
                <a:gd name="connsiteY555" fmla="*/ 136525 h 455613"/>
                <a:gd name="connsiteX556" fmla="*/ 261938 w 858838"/>
                <a:gd name="connsiteY556" fmla="*/ 120650 h 455613"/>
                <a:gd name="connsiteX557" fmla="*/ 257175 w 858838"/>
                <a:gd name="connsiteY557" fmla="*/ 104775 h 455613"/>
                <a:gd name="connsiteX558" fmla="*/ 257175 w 858838"/>
                <a:gd name="connsiteY558" fmla="*/ 103187 h 455613"/>
                <a:gd name="connsiteX559" fmla="*/ 255588 w 858838"/>
                <a:gd name="connsiteY559" fmla="*/ 103187 h 455613"/>
                <a:gd name="connsiteX560" fmla="*/ 250825 w 858838"/>
                <a:gd name="connsiteY560" fmla="*/ 101600 h 455613"/>
                <a:gd name="connsiteX561" fmla="*/ 249238 w 858838"/>
                <a:gd name="connsiteY561" fmla="*/ 101600 h 455613"/>
                <a:gd name="connsiteX562" fmla="*/ 249238 w 858838"/>
                <a:gd name="connsiteY562" fmla="*/ 103187 h 455613"/>
                <a:gd name="connsiteX563" fmla="*/ 246063 w 858838"/>
                <a:gd name="connsiteY563" fmla="*/ 107950 h 455613"/>
                <a:gd name="connsiteX564" fmla="*/ 246063 w 858838"/>
                <a:gd name="connsiteY564" fmla="*/ 109537 h 455613"/>
                <a:gd name="connsiteX565" fmla="*/ 249238 w 858838"/>
                <a:gd name="connsiteY565" fmla="*/ 114300 h 455613"/>
                <a:gd name="connsiteX566" fmla="*/ 250825 w 858838"/>
                <a:gd name="connsiteY566" fmla="*/ 115887 h 455613"/>
                <a:gd name="connsiteX567" fmla="*/ 249238 w 858838"/>
                <a:gd name="connsiteY567" fmla="*/ 115887 h 455613"/>
                <a:gd name="connsiteX568" fmla="*/ 244475 w 858838"/>
                <a:gd name="connsiteY568" fmla="*/ 115887 h 455613"/>
                <a:gd name="connsiteX569" fmla="*/ 244475 w 858838"/>
                <a:gd name="connsiteY569" fmla="*/ 114300 h 455613"/>
                <a:gd name="connsiteX570" fmla="*/ 242888 w 858838"/>
                <a:gd name="connsiteY570" fmla="*/ 114300 h 455613"/>
                <a:gd name="connsiteX571" fmla="*/ 239713 w 858838"/>
                <a:gd name="connsiteY571" fmla="*/ 107950 h 455613"/>
                <a:gd name="connsiteX572" fmla="*/ 239713 w 858838"/>
                <a:gd name="connsiteY572" fmla="*/ 104775 h 455613"/>
                <a:gd name="connsiteX573" fmla="*/ 239713 w 858838"/>
                <a:gd name="connsiteY573" fmla="*/ 101600 h 455613"/>
                <a:gd name="connsiteX574" fmla="*/ 242888 w 858838"/>
                <a:gd name="connsiteY574" fmla="*/ 98425 h 455613"/>
                <a:gd name="connsiteX575" fmla="*/ 246063 w 858838"/>
                <a:gd name="connsiteY575" fmla="*/ 98425 h 455613"/>
                <a:gd name="connsiteX576" fmla="*/ 249238 w 858838"/>
                <a:gd name="connsiteY576" fmla="*/ 98425 h 455613"/>
                <a:gd name="connsiteX577" fmla="*/ 250825 w 858838"/>
                <a:gd name="connsiteY577" fmla="*/ 98425 h 455613"/>
                <a:gd name="connsiteX578" fmla="*/ 254000 w 858838"/>
                <a:gd name="connsiteY578" fmla="*/ 98425 h 455613"/>
                <a:gd name="connsiteX579" fmla="*/ 254000 w 858838"/>
                <a:gd name="connsiteY579" fmla="*/ 101600 h 455613"/>
                <a:gd name="connsiteX580" fmla="*/ 255588 w 858838"/>
                <a:gd name="connsiteY580" fmla="*/ 101600 h 455613"/>
                <a:gd name="connsiteX581" fmla="*/ 255588 w 858838"/>
                <a:gd name="connsiteY581" fmla="*/ 93662 h 455613"/>
                <a:gd name="connsiteX582" fmla="*/ 255588 w 858838"/>
                <a:gd name="connsiteY582" fmla="*/ 92075 h 455613"/>
                <a:gd name="connsiteX583" fmla="*/ 254000 w 858838"/>
                <a:gd name="connsiteY583" fmla="*/ 90487 h 455613"/>
                <a:gd name="connsiteX584" fmla="*/ 233363 w 858838"/>
                <a:gd name="connsiteY584" fmla="*/ 74612 h 455613"/>
                <a:gd name="connsiteX585" fmla="*/ 233363 w 858838"/>
                <a:gd name="connsiteY585" fmla="*/ 76200 h 455613"/>
                <a:gd name="connsiteX586" fmla="*/ 231775 w 858838"/>
                <a:gd name="connsiteY586" fmla="*/ 76200 h 455613"/>
                <a:gd name="connsiteX587" fmla="*/ 231775 w 858838"/>
                <a:gd name="connsiteY587" fmla="*/ 79375 h 455613"/>
                <a:gd name="connsiteX588" fmla="*/ 233363 w 858838"/>
                <a:gd name="connsiteY588" fmla="*/ 79375 h 455613"/>
                <a:gd name="connsiteX589" fmla="*/ 233363 w 858838"/>
                <a:gd name="connsiteY589" fmla="*/ 80962 h 455613"/>
                <a:gd name="connsiteX590" fmla="*/ 239713 w 858838"/>
                <a:gd name="connsiteY590" fmla="*/ 87313 h 455613"/>
                <a:gd name="connsiteX591" fmla="*/ 242888 w 858838"/>
                <a:gd name="connsiteY591" fmla="*/ 90488 h 455613"/>
                <a:gd name="connsiteX592" fmla="*/ 242888 w 858838"/>
                <a:gd name="connsiteY592" fmla="*/ 92075 h 455613"/>
                <a:gd name="connsiteX593" fmla="*/ 239713 w 858838"/>
                <a:gd name="connsiteY593" fmla="*/ 92075 h 455613"/>
                <a:gd name="connsiteX594" fmla="*/ 238125 w 858838"/>
                <a:gd name="connsiteY594" fmla="*/ 93663 h 455613"/>
                <a:gd name="connsiteX595" fmla="*/ 234950 w 858838"/>
                <a:gd name="connsiteY595" fmla="*/ 93663 h 455613"/>
                <a:gd name="connsiteX596" fmla="*/ 234950 w 858838"/>
                <a:gd name="connsiteY596" fmla="*/ 92075 h 455613"/>
                <a:gd name="connsiteX597" fmla="*/ 233363 w 858838"/>
                <a:gd name="connsiteY597" fmla="*/ 92075 h 455613"/>
                <a:gd name="connsiteX598" fmla="*/ 231775 w 858838"/>
                <a:gd name="connsiteY598" fmla="*/ 92075 h 455613"/>
                <a:gd name="connsiteX599" fmla="*/ 228600 w 858838"/>
                <a:gd name="connsiteY599" fmla="*/ 92075 h 455613"/>
                <a:gd name="connsiteX600" fmla="*/ 223838 w 858838"/>
                <a:gd name="connsiteY600" fmla="*/ 98425 h 455613"/>
                <a:gd name="connsiteX601" fmla="*/ 227013 w 858838"/>
                <a:gd name="connsiteY601" fmla="*/ 101600 h 455613"/>
                <a:gd name="connsiteX602" fmla="*/ 228600 w 858838"/>
                <a:gd name="connsiteY602" fmla="*/ 103188 h 455613"/>
                <a:gd name="connsiteX603" fmla="*/ 231775 w 858838"/>
                <a:gd name="connsiteY603" fmla="*/ 103188 h 455613"/>
                <a:gd name="connsiteX604" fmla="*/ 233363 w 858838"/>
                <a:gd name="connsiteY604" fmla="*/ 104775 h 455613"/>
                <a:gd name="connsiteX605" fmla="*/ 244475 w 858838"/>
                <a:gd name="connsiteY605" fmla="*/ 119063 h 455613"/>
                <a:gd name="connsiteX606" fmla="*/ 257175 w 858838"/>
                <a:gd name="connsiteY606" fmla="*/ 125413 h 455613"/>
                <a:gd name="connsiteX607" fmla="*/ 260350 w 858838"/>
                <a:gd name="connsiteY607" fmla="*/ 134938 h 455613"/>
                <a:gd name="connsiteX608" fmla="*/ 260350 w 858838"/>
                <a:gd name="connsiteY608" fmla="*/ 136525 h 455613"/>
                <a:gd name="connsiteX609" fmla="*/ 257175 w 858838"/>
                <a:gd name="connsiteY609" fmla="*/ 141288 h 455613"/>
                <a:gd name="connsiteX610" fmla="*/ 250825 w 858838"/>
                <a:gd name="connsiteY610" fmla="*/ 141288 h 455613"/>
                <a:gd name="connsiteX611" fmla="*/ 239713 w 858838"/>
                <a:gd name="connsiteY611" fmla="*/ 134938 h 455613"/>
                <a:gd name="connsiteX612" fmla="*/ 234950 w 858838"/>
                <a:gd name="connsiteY612" fmla="*/ 127000 h 455613"/>
                <a:gd name="connsiteX613" fmla="*/ 231775 w 858838"/>
                <a:gd name="connsiteY613" fmla="*/ 119063 h 455613"/>
                <a:gd name="connsiteX614" fmla="*/ 215900 w 858838"/>
                <a:gd name="connsiteY614" fmla="*/ 103188 h 455613"/>
                <a:gd name="connsiteX615" fmla="*/ 215900 w 858838"/>
                <a:gd name="connsiteY615" fmla="*/ 101600 h 455613"/>
                <a:gd name="connsiteX616" fmla="*/ 215900 w 858838"/>
                <a:gd name="connsiteY616" fmla="*/ 98425 h 455613"/>
                <a:gd name="connsiteX617" fmla="*/ 223838 w 858838"/>
                <a:gd name="connsiteY617" fmla="*/ 80962 h 455613"/>
                <a:gd name="connsiteX618" fmla="*/ 231775 w 858838"/>
                <a:gd name="connsiteY618" fmla="*/ 79375 h 455613"/>
                <a:gd name="connsiteX619" fmla="*/ 228600 w 858838"/>
                <a:gd name="connsiteY619" fmla="*/ 79375 h 455613"/>
                <a:gd name="connsiteX620" fmla="*/ 227013 w 858838"/>
                <a:gd name="connsiteY620" fmla="*/ 79375 h 455613"/>
                <a:gd name="connsiteX621" fmla="*/ 223838 w 858838"/>
                <a:gd name="connsiteY621" fmla="*/ 79375 h 455613"/>
                <a:gd name="connsiteX622" fmla="*/ 222250 w 858838"/>
                <a:gd name="connsiteY622" fmla="*/ 76200 h 455613"/>
                <a:gd name="connsiteX623" fmla="*/ 220663 w 858838"/>
                <a:gd name="connsiteY623" fmla="*/ 68262 h 455613"/>
                <a:gd name="connsiteX624" fmla="*/ 222250 w 858838"/>
                <a:gd name="connsiteY624" fmla="*/ 65087 h 455613"/>
                <a:gd name="connsiteX625" fmla="*/ 228600 w 858838"/>
                <a:gd name="connsiteY625" fmla="*/ 65087 h 455613"/>
                <a:gd name="connsiteX626" fmla="*/ 231775 w 858838"/>
                <a:gd name="connsiteY626" fmla="*/ 65087 h 455613"/>
                <a:gd name="connsiteX627" fmla="*/ 238125 w 858838"/>
                <a:gd name="connsiteY627" fmla="*/ 68262 h 455613"/>
                <a:gd name="connsiteX628" fmla="*/ 238125 w 858838"/>
                <a:gd name="connsiteY628" fmla="*/ 69850 h 455613"/>
                <a:gd name="connsiteX629" fmla="*/ 239713 w 858838"/>
                <a:gd name="connsiteY629" fmla="*/ 71437 h 455613"/>
                <a:gd name="connsiteX630" fmla="*/ 242888 w 858838"/>
                <a:gd name="connsiteY630" fmla="*/ 71437 h 455613"/>
                <a:gd name="connsiteX631" fmla="*/ 244475 w 858838"/>
                <a:gd name="connsiteY631" fmla="*/ 71437 h 455613"/>
                <a:gd name="connsiteX632" fmla="*/ 249238 w 858838"/>
                <a:gd name="connsiteY632" fmla="*/ 53975 h 455613"/>
                <a:gd name="connsiteX633" fmla="*/ 249238 w 858838"/>
                <a:gd name="connsiteY633" fmla="*/ 52387 h 455613"/>
                <a:gd name="connsiteX634" fmla="*/ 242888 w 858838"/>
                <a:gd name="connsiteY634" fmla="*/ 33337 h 455613"/>
                <a:gd name="connsiteX635" fmla="*/ 239713 w 858838"/>
                <a:gd name="connsiteY635" fmla="*/ 31750 h 455613"/>
                <a:gd name="connsiteX636" fmla="*/ 234950 w 858838"/>
                <a:gd name="connsiteY636" fmla="*/ 30162 h 455613"/>
                <a:gd name="connsiteX637" fmla="*/ 233363 w 858838"/>
                <a:gd name="connsiteY637" fmla="*/ 30162 h 455613"/>
                <a:gd name="connsiteX638" fmla="*/ 231775 w 858838"/>
                <a:gd name="connsiteY638" fmla="*/ 31750 h 455613"/>
                <a:gd name="connsiteX639" fmla="*/ 231775 w 858838"/>
                <a:gd name="connsiteY639" fmla="*/ 33337 h 455613"/>
                <a:gd name="connsiteX640" fmla="*/ 227013 w 858838"/>
                <a:gd name="connsiteY640" fmla="*/ 31750 h 455613"/>
                <a:gd name="connsiteX641" fmla="*/ 222250 w 858838"/>
                <a:gd name="connsiteY641" fmla="*/ 26987 h 455613"/>
                <a:gd name="connsiteX642" fmla="*/ 209550 w 858838"/>
                <a:gd name="connsiteY642" fmla="*/ 9525 h 455613"/>
                <a:gd name="connsiteX643" fmla="*/ 209550 w 858838"/>
                <a:gd name="connsiteY643" fmla="*/ 7937 h 455613"/>
                <a:gd name="connsiteX644" fmla="*/ 211138 w 858838"/>
                <a:gd name="connsiteY644" fmla="*/ 4762 h 455613"/>
                <a:gd name="connsiteX645" fmla="*/ 212725 w 858838"/>
                <a:gd name="connsiteY645" fmla="*/ 4762 h 455613"/>
                <a:gd name="connsiteX646" fmla="*/ 215900 w 858838"/>
                <a:gd name="connsiteY646" fmla="*/ 4762 h 455613"/>
                <a:gd name="connsiteX647" fmla="*/ 217488 w 858838"/>
                <a:gd name="connsiteY647" fmla="*/ 4762 h 455613"/>
                <a:gd name="connsiteX648" fmla="*/ 177800 w 858838"/>
                <a:gd name="connsiteY648" fmla="*/ 0 h 455613"/>
                <a:gd name="connsiteX649" fmla="*/ 184150 w 858838"/>
                <a:gd name="connsiteY649" fmla="*/ 0 h 455613"/>
                <a:gd name="connsiteX650" fmla="*/ 184150 w 858838"/>
                <a:gd name="connsiteY650" fmla="*/ 3175 h 455613"/>
                <a:gd name="connsiteX651" fmla="*/ 182563 w 858838"/>
                <a:gd name="connsiteY651" fmla="*/ 3175 h 455613"/>
                <a:gd name="connsiteX652" fmla="*/ 177800 w 858838"/>
                <a:gd name="connsiteY652" fmla="*/ 3175 h 455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</a:cxnLst>
              <a:rect l="l" t="t" r="r" b="b"/>
              <a:pathLst>
                <a:path w="858838" h="455613">
                  <a:moveTo>
                    <a:pt x="85725" y="450850"/>
                  </a:moveTo>
                  <a:lnTo>
                    <a:pt x="85725" y="452438"/>
                  </a:lnTo>
                  <a:lnTo>
                    <a:pt x="84137" y="455613"/>
                  </a:lnTo>
                  <a:lnTo>
                    <a:pt x="84137" y="452438"/>
                  </a:lnTo>
                  <a:close/>
                  <a:moveTo>
                    <a:pt x="79375" y="325438"/>
                  </a:moveTo>
                  <a:lnTo>
                    <a:pt x="82550" y="325438"/>
                  </a:lnTo>
                  <a:lnTo>
                    <a:pt x="82550" y="328613"/>
                  </a:lnTo>
                  <a:lnTo>
                    <a:pt x="85725" y="330201"/>
                  </a:lnTo>
                  <a:lnTo>
                    <a:pt x="85725" y="334963"/>
                  </a:lnTo>
                  <a:lnTo>
                    <a:pt x="85725" y="336551"/>
                  </a:lnTo>
                  <a:lnTo>
                    <a:pt x="84138" y="336551"/>
                  </a:lnTo>
                  <a:lnTo>
                    <a:pt x="79375" y="331788"/>
                  </a:lnTo>
                  <a:lnTo>
                    <a:pt x="79375" y="328613"/>
                  </a:lnTo>
                  <a:close/>
                  <a:moveTo>
                    <a:pt x="238125" y="168275"/>
                  </a:moveTo>
                  <a:lnTo>
                    <a:pt x="242888" y="168275"/>
                  </a:lnTo>
                  <a:lnTo>
                    <a:pt x="242888" y="169862"/>
                  </a:lnTo>
                  <a:lnTo>
                    <a:pt x="244475" y="179388"/>
                  </a:lnTo>
                  <a:lnTo>
                    <a:pt x="244475" y="182563"/>
                  </a:lnTo>
                  <a:lnTo>
                    <a:pt x="242888" y="182563"/>
                  </a:lnTo>
                  <a:lnTo>
                    <a:pt x="238125" y="180975"/>
                  </a:lnTo>
                  <a:lnTo>
                    <a:pt x="233362" y="174625"/>
                  </a:lnTo>
                  <a:close/>
                  <a:moveTo>
                    <a:pt x="220662" y="115888"/>
                  </a:moveTo>
                  <a:lnTo>
                    <a:pt x="222250" y="115888"/>
                  </a:lnTo>
                  <a:lnTo>
                    <a:pt x="223837" y="119063"/>
                  </a:lnTo>
                  <a:lnTo>
                    <a:pt x="223837" y="120651"/>
                  </a:lnTo>
                  <a:lnTo>
                    <a:pt x="223837" y="125413"/>
                  </a:lnTo>
                  <a:lnTo>
                    <a:pt x="223837" y="127001"/>
                  </a:lnTo>
                  <a:lnTo>
                    <a:pt x="222250" y="127001"/>
                  </a:lnTo>
                  <a:lnTo>
                    <a:pt x="220662" y="125413"/>
                  </a:lnTo>
                  <a:lnTo>
                    <a:pt x="217487" y="120651"/>
                  </a:lnTo>
                  <a:lnTo>
                    <a:pt x="217487" y="119063"/>
                  </a:lnTo>
                  <a:close/>
                  <a:moveTo>
                    <a:pt x="201612" y="57150"/>
                  </a:moveTo>
                  <a:lnTo>
                    <a:pt x="201612" y="58737"/>
                  </a:lnTo>
                  <a:lnTo>
                    <a:pt x="204787" y="63500"/>
                  </a:lnTo>
                  <a:lnTo>
                    <a:pt x="209550" y="69850"/>
                  </a:lnTo>
                  <a:lnTo>
                    <a:pt x="209550" y="71437"/>
                  </a:lnTo>
                  <a:lnTo>
                    <a:pt x="209550" y="74612"/>
                  </a:lnTo>
                  <a:lnTo>
                    <a:pt x="209550" y="76200"/>
                  </a:lnTo>
                  <a:lnTo>
                    <a:pt x="206375" y="76200"/>
                  </a:lnTo>
                  <a:lnTo>
                    <a:pt x="201612" y="76200"/>
                  </a:lnTo>
                  <a:lnTo>
                    <a:pt x="195262" y="71437"/>
                  </a:lnTo>
                  <a:lnTo>
                    <a:pt x="195262" y="69850"/>
                  </a:lnTo>
                  <a:lnTo>
                    <a:pt x="195262" y="68262"/>
                  </a:lnTo>
                  <a:lnTo>
                    <a:pt x="198437" y="60325"/>
                  </a:lnTo>
                  <a:close/>
                  <a:moveTo>
                    <a:pt x="171450" y="49213"/>
                  </a:moveTo>
                  <a:lnTo>
                    <a:pt x="173038" y="49213"/>
                  </a:lnTo>
                  <a:lnTo>
                    <a:pt x="176213" y="49213"/>
                  </a:lnTo>
                  <a:lnTo>
                    <a:pt x="176213" y="52388"/>
                  </a:lnTo>
                  <a:lnTo>
                    <a:pt x="177800" y="52388"/>
                  </a:lnTo>
                  <a:lnTo>
                    <a:pt x="184150" y="58738"/>
                  </a:lnTo>
                  <a:lnTo>
                    <a:pt x="188913" y="60325"/>
                  </a:lnTo>
                  <a:lnTo>
                    <a:pt x="190500" y="71438"/>
                  </a:lnTo>
                  <a:lnTo>
                    <a:pt x="188913" y="71438"/>
                  </a:lnTo>
                  <a:lnTo>
                    <a:pt x="187325" y="71438"/>
                  </a:lnTo>
                  <a:lnTo>
                    <a:pt x="177800" y="69850"/>
                  </a:lnTo>
                  <a:lnTo>
                    <a:pt x="176213" y="68263"/>
                  </a:lnTo>
                  <a:lnTo>
                    <a:pt x="173038" y="68263"/>
                  </a:lnTo>
                  <a:lnTo>
                    <a:pt x="171450" y="65088"/>
                  </a:lnTo>
                  <a:lnTo>
                    <a:pt x="168275" y="58738"/>
                  </a:lnTo>
                  <a:lnTo>
                    <a:pt x="168275" y="53975"/>
                  </a:lnTo>
                  <a:close/>
                  <a:moveTo>
                    <a:pt x="195263" y="38100"/>
                  </a:moveTo>
                  <a:lnTo>
                    <a:pt x="200025" y="38100"/>
                  </a:lnTo>
                  <a:lnTo>
                    <a:pt x="204788" y="38100"/>
                  </a:lnTo>
                  <a:lnTo>
                    <a:pt x="211138" y="42862"/>
                  </a:lnTo>
                  <a:lnTo>
                    <a:pt x="215900" y="46037"/>
                  </a:lnTo>
                  <a:lnTo>
                    <a:pt x="215900" y="47625"/>
                  </a:lnTo>
                  <a:lnTo>
                    <a:pt x="209550" y="52387"/>
                  </a:lnTo>
                  <a:lnTo>
                    <a:pt x="201613" y="53975"/>
                  </a:lnTo>
                  <a:lnTo>
                    <a:pt x="200025" y="53975"/>
                  </a:lnTo>
                  <a:lnTo>
                    <a:pt x="198438" y="53975"/>
                  </a:lnTo>
                  <a:lnTo>
                    <a:pt x="188913" y="52387"/>
                  </a:lnTo>
                  <a:lnTo>
                    <a:pt x="187325" y="52387"/>
                  </a:lnTo>
                  <a:lnTo>
                    <a:pt x="184150" y="49212"/>
                  </a:lnTo>
                  <a:lnTo>
                    <a:pt x="187325" y="47625"/>
                  </a:lnTo>
                  <a:close/>
                  <a:moveTo>
                    <a:pt x="215900" y="0"/>
                  </a:moveTo>
                  <a:lnTo>
                    <a:pt x="220663" y="0"/>
                  </a:lnTo>
                  <a:lnTo>
                    <a:pt x="398463" y="0"/>
                  </a:lnTo>
                  <a:lnTo>
                    <a:pt x="458788" y="0"/>
                  </a:lnTo>
                  <a:lnTo>
                    <a:pt x="754063" y="0"/>
                  </a:lnTo>
                  <a:lnTo>
                    <a:pt x="823913" y="0"/>
                  </a:lnTo>
                  <a:lnTo>
                    <a:pt x="838201" y="0"/>
                  </a:lnTo>
                  <a:lnTo>
                    <a:pt x="841376" y="0"/>
                  </a:lnTo>
                  <a:lnTo>
                    <a:pt x="841376" y="3175"/>
                  </a:lnTo>
                  <a:lnTo>
                    <a:pt x="841376" y="141287"/>
                  </a:lnTo>
                  <a:lnTo>
                    <a:pt x="841376" y="142875"/>
                  </a:lnTo>
                  <a:lnTo>
                    <a:pt x="841376" y="169862"/>
                  </a:lnTo>
                  <a:lnTo>
                    <a:pt x="841376" y="241300"/>
                  </a:lnTo>
                  <a:lnTo>
                    <a:pt x="841376" y="242887"/>
                  </a:lnTo>
                  <a:lnTo>
                    <a:pt x="841376" y="314325"/>
                  </a:lnTo>
                  <a:lnTo>
                    <a:pt x="842963" y="339725"/>
                  </a:lnTo>
                  <a:lnTo>
                    <a:pt x="846138" y="350837"/>
                  </a:lnTo>
                  <a:lnTo>
                    <a:pt x="847726" y="352425"/>
                  </a:lnTo>
                  <a:lnTo>
                    <a:pt x="852488" y="358775"/>
                  </a:lnTo>
                  <a:lnTo>
                    <a:pt x="854076" y="369887"/>
                  </a:lnTo>
                  <a:lnTo>
                    <a:pt x="854076" y="373062"/>
                  </a:lnTo>
                  <a:lnTo>
                    <a:pt x="854076" y="374650"/>
                  </a:lnTo>
                  <a:lnTo>
                    <a:pt x="852488" y="376237"/>
                  </a:lnTo>
                  <a:lnTo>
                    <a:pt x="858838" y="392112"/>
                  </a:lnTo>
                  <a:lnTo>
                    <a:pt x="852488" y="392112"/>
                  </a:lnTo>
                  <a:lnTo>
                    <a:pt x="627063" y="395287"/>
                  </a:lnTo>
                  <a:lnTo>
                    <a:pt x="625476" y="395287"/>
                  </a:lnTo>
                  <a:lnTo>
                    <a:pt x="622301" y="396875"/>
                  </a:lnTo>
                  <a:lnTo>
                    <a:pt x="620713" y="398462"/>
                  </a:lnTo>
                  <a:lnTo>
                    <a:pt x="619126" y="398462"/>
                  </a:lnTo>
                  <a:lnTo>
                    <a:pt x="615951" y="398462"/>
                  </a:lnTo>
                  <a:lnTo>
                    <a:pt x="614363" y="401637"/>
                  </a:lnTo>
                  <a:lnTo>
                    <a:pt x="611188" y="401637"/>
                  </a:lnTo>
                  <a:lnTo>
                    <a:pt x="608013" y="401637"/>
                  </a:lnTo>
                  <a:lnTo>
                    <a:pt x="600076" y="398462"/>
                  </a:lnTo>
                  <a:lnTo>
                    <a:pt x="593726" y="398462"/>
                  </a:lnTo>
                  <a:lnTo>
                    <a:pt x="577850" y="401637"/>
                  </a:lnTo>
                  <a:lnTo>
                    <a:pt x="565150" y="401637"/>
                  </a:lnTo>
                  <a:lnTo>
                    <a:pt x="563563" y="403225"/>
                  </a:lnTo>
                  <a:lnTo>
                    <a:pt x="560388" y="403225"/>
                  </a:lnTo>
                  <a:lnTo>
                    <a:pt x="558800" y="406400"/>
                  </a:lnTo>
                  <a:lnTo>
                    <a:pt x="558800" y="407987"/>
                  </a:lnTo>
                  <a:lnTo>
                    <a:pt x="555625" y="407987"/>
                  </a:lnTo>
                  <a:lnTo>
                    <a:pt x="555625" y="409575"/>
                  </a:lnTo>
                  <a:lnTo>
                    <a:pt x="554038" y="409575"/>
                  </a:lnTo>
                  <a:lnTo>
                    <a:pt x="552450" y="412750"/>
                  </a:lnTo>
                  <a:lnTo>
                    <a:pt x="544513" y="412750"/>
                  </a:lnTo>
                  <a:lnTo>
                    <a:pt x="536575" y="412750"/>
                  </a:lnTo>
                  <a:lnTo>
                    <a:pt x="522288" y="414337"/>
                  </a:lnTo>
                  <a:lnTo>
                    <a:pt x="500063" y="420687"/>
                  </a:lnTo>
                  <a:lnTo>
                    <a:pt x="498475" y="423862"/>
                  </a:lnTo>
                  <a:lnTo>
                    <a:pt x="495300" y="425450"/>
                  </a:lnTo>
                  <a:lnTo>
                    <a:pt x="493713" y="425450"/>
                  </a:lnTo>
                  <a:lnTo>
                    <a:pt x="493713" y="428625"/>
                  </a:lnTo>
                  <a:lnTo>
                    <a:pt x="492125" y="428625"/>
                  </a:lnTo>
                  <a:lnTo>
                    <a:pt x="481013" y="430212"/>
                  </a:lnTo>
                  <a:lnTo>
                    <a:pt x="477838" y="430212"/>
                  </a:lnTo>
                  <a:lnTo>
                    <a:pt x="473075" y="430212"/>
                  </a:lnTo>
                  <a:lnTo>
                    <a:pt x="469900" y="431800"/>
                  </a:lnTo>
                  <a:lnTo>
                    <a:pt x="466725" y="431800"/>
                  </a:lnTo>
                  <a:lnTo>
                    <a:pt x="466725" y="430212"/>
                  </a:lnTo>
                  <a:lnTo>
                    <a:pt x="465138" y="430212"/>
                  </a:lnTo>
                  <a:lnTo>
                    <a:pt x="461963" y="430212"/>
                  </a:lnTo>
                  <a:lnTo>
                    <a:pt x="460375" y="428625"/>
                  </a:lnTo>
                  <a:lnTo>
                    <a:pt x="458788" y="425450"/>
                  </a:lnTo>
                  <a:lnTo>
                    <a:pt x="455613" y="425450"/>
                  </a:lnTo>
                  <a:lnTo>
                    <a:pt x="454025" y="425450"/>
                  </a:lnTo>
                  <a:lnTo>
                    <a:pt x="449263" y="425450"/>
                  </a:lnTo>
                  <a:lnTo>
                    <a:pt x="447675" y="425450"/>
                  </a:lnTo>
                  <a:lnTo>
                    <a:pt x="431800" y="431800"/>
                  </a:lnTo>
                  <a:lnTo>
                    <a:pt x="420688" y="436562"/>
                  </a:lnTo>
                  <a:lnTo>
                    <a:pt x="417513" y="439737"/>
                  </a:lnTo>
                  <a:lnTo>
                    <a:pt x="400050" y="436562"/>
                  </a:lnTo>
                  <a:lnTo>
                    <a:pt x="387350" y="434975"/>
                  </a:lnTo>
                  <a:lnTo>
                    <a:pt x="384175" y="434975"/>
                  </a:lnTo>
                  <a:lnTo>
                    <a:pt x="382588" y="434975"/>
                  </a:lnTo>
                  <a:lnTo>
                    <a:pt x="377825" y="431800"/>
                  </a:lnTo>
                  <a:lnTo>
                    <a:pt x="376238" y="430212"/>
                  </a:lnTo>
                  <a:lnTo>
                    <a:pt x="373063" y="430212"/>
                  </a:lnTo>
                  <a:lnTo>
                    <a:pt x="354013" y="428625"/>
                  </a:lnTo>
                  <a:lnTo>
                    <a:pt x="320675" y="430212"/>
                  </a:lnTo>
                  <a:lnTo>
                    <a:pt x="317500" y="430212"/>
                  </a:lnTo>
                  <a:lnTo>
                    <a:pt x="315913" y="430212"/>
                  </a:lnTo>
                  <a:lnTo>
                    <a:pt x="314325" y="431800"/>
                  </a:lnTo>
                  <a:lnTo>
                    <a:pt x="311150" y="434975"/>
                  </a:lnTo>
                  <a:lnTo>
                    <a:pt x="306388" y="436562"/>
                  </a:lnTo>
                  <a:lnTo>
                    <a:pt x="306388" y="439737"/>
                  </a:lnTo>
                  <a:lnTo>
                    <a:pt x="300038" y="441325"/>
                  </a:lnTo>
                  <a:lnTo>
                    <a:pt x="295275" y="442912"/>
                  </a:lnTo>
                  <a:lnTo>
                    <a:pt x="288925" y="442912"/>
                  </a:lnTo>
                  <a:lnTo>
                    <a:pt x="277813" y="447675"/>
                  </a:lnTo>
                  <a:lnTo>
                    <a:pt x="273050" y="450850"/>
                  </a:lnTo>
                  <a:lnTo>
                    <a:pt x="271463" y="450850"/>
                  </a:lnTo>
                  <a:lnTo>
                    <a:pt x="266700" y="450850"/>
                  </a:lnTo>
                  <a:lnTo>
                    <a:pt x="265113" y="447675"/>
                  </a:lnTo>
                  <a:lnTo>
                    <a:pt x="255588" y="446087"/>
                  </a:lnTo>
                  <a:lnTo>
                    <a:pt x="246063" y="446087"/>
                  </a:lnTo>
                  <a:lnTo>
                    <a:pt x="231775" y="442912"/>
                  </a:lnTo>
                  <a:lnTo>
                    <a:pt x="228600" y="442912"/>
                  </a:lnTo>
                  <a:lnTo>
                    <a:pt x="227013" y="442912"/>
                  </a:lnTo>
                  <a:lnTo>
                    <a:pt x="223838" y="441325"/>
                  </a:lnTo>
                  <a:lnTo>
                    <a:pt x="222250" y="441325"/>
                  </a:lnTo>
                  <a:lnTo>
                    <a:pt x="217488" y="436562"/>
                  </a:lnTo>
                  <a:lnTo>
                    <a:pt x="215900" y="436562"/>
                  </a:lnTo>
                  <a:lnTo>
                    <a:pt x="215900" y="434975"/>
                  </a:lnTo>
                  <a:lnTo>
                    <a:pt x="215900" y="431800"/>
                  </a:lnTo>
                  <a:lnTo>
                    <a:pt x="215900" y="428625"/>
                  </a:lnTo>
                  <a:lnTo>
                    <a:pt x="215900" y="425450"/>
                  </a:lnTo>
                  <a:lnTo>
                    <a:pt x="212725" y="409575"/>
                  </a:lnTo>
                  <a:lnTo>
                    <a:pt x="209550" y="396875"/>
                  </a:lnTo>
                  <a:lnTo>
                    <a:pt x="209550" y="395287"/>
                  </a:lnTo>
                  <a:lnTo>
                    <a:pt x="201613" y="384175"/>
                  </a:lnTo>
                  <a:lnTo>
                    <a:pt x="200025" y="384175"/>
                  </a:lnTo>
                  <a:lnTo>
                    <a:pt x="198438" y="379412"/>
                  </a:lnTo>
                  <a:lnTo>
                    <a:pt x="195263" y="376237"/>
                  </a:lnTo>
                  <a:lnTo>
                    <a:pt x="193675" y="376237"/>
                  </a:lnTo>
                  <a:lnTo>
                    <a:pt x="176213" y="368300"/>
                  </a:lnTo>
                  <a:lnTo>
                    <a:pt x="171450" y="368300"/>
                  </a:lnTo>
                  <a:lnTo>
                    <a:pt x="160338" y="369887"/>
                  </a:lnTo>
                  <a:lnTo>
                    <a:pt x="157163" y="369887"/>
                  </a:lnTo>
                  <a:lnTo>
                    <a:pt x="155575" y="369887"/>
                  </a:lnTo>
                  <a:lnTo>
                    <a:pt x="149225" y="363537"/>
                  </a:lnTo>
                  <a:lnTo>
                    <a:pt x="146050" y="363537"/>
                  </a:lnTo>
                  <a:lnTo>
                    <a:pt x="144463" y="361950"/>
                  </a:lnTo>
                  <a:lnTo>
                    <a:pt x="144463" y="358775"/>
                  </a:lnTo>
                  <a:lnTo>
                    <a:pt x="144463" y="357187"/>
                  </a:lnTo>
                  <a:lnTo>
                    <a:pt x="142875" y="357187"/>
                  </a:lnTo>
                  <a:lnTo>
                    <a:pt x="142875" y="354012"/>
                  </a:lnTo>
                  <a:lnTo>
                    <a:pt x="139700" y="354012"/>
                  </a:lnTo>
                  <a:lnTo>
                    <a:pt x="138113" y="354012"/>
                  </a:lnTo>
                  <a:lnTo>
                    <a:pt x="134938" y="354012"/>
                  </a:lnTo>
                  <a:lnTo>
                    <a:pt x="131763" y="357187"/>
                  </a:lnTo>
                  <a:lnTo>
                    <a:pt x="128588" y="357187"/>
                  </a:lnTo>
                  <a:lnTo>
                    <a:pt x="127000" y="357187"/>
                  </a:lnTo>
                  <a:lnTo>
                    <a:pt x="123825" y="357187"/>
                  </a:lnTo>
                  <a:lnTo>
                    <a:pt x="122238" y="357187"/>
                  </a:lnTo>
                  <a:lnTo>
                    <a:pt x="120650" y="357187"/>
                  </a:lnTo>
                  <a:lnTo>
                    <a:pt x="117475" y="354012"/>
                  </a:lnTo>
                  <a:lnTo>
                    <a:pt x="115888" y="354012"/>
                  </a:lnTo>
                  <a:lnTo>
                    <a:pt x="111125" y="354012"/>
                  </a:lnTo>
                  <a:lnTo>
                    <a:pt x="106363" y="354012"/>
                  </a:lnTo>
                  <a:lnTo>
                    <a:pt x="98425" y="357187"/>
                  </a:lnTo>
                  <a:lnTo>
                    <a:pt x="95250" y="358775"/>
                  </a:lnTo>
                  <a:lnTo>
                    <a:pt x="93663" y="358775"/>
                  </a:lnTo>
                  <a:lnTo>
                    <a:pt x="90488" y="358775"/>
                  </a:lnTo>
                  <a:lnTo>
                    <a:pt x="88900" y="358775"/>
                  </a:lnTo>
                  <a:lnTo>
                    <a:pt x="77787" y="350837"/>
                  </a:lnTo>
                  <a:lnTo>
                    <a:pt x="74612" y="339725"/>
                  </a:lnTo>
                  <a:lnTo>
                    <a:pt x="73025" y="312737"/>
                  </a:lnTo>
                  <a:lnTo>
                    <a:pt x="73025" y="307975"/>
                  </a:lnTo>
                  <a:lnTo>
                    <a:pt x="74612" y="306387"/>
                  </a:lnTo>
                  <a:lnTo>
                    <a:pt x="74612" y="307975"/>
                  </a:lnTo>
                  <a:lnTo>
                    <a:pt x="77787" y="307975"/>
                  </a:lnTo>
                  <a:lnTo>
                    <a:pt x="77787" y="317500"/>
                  </a:lnTo>
                  <a:lnTo>
                    <a:pt x="77787" y="319087"/>
                  </a:lnTo>
                  <a:lnTo>
                    <a:pt x="77787" y="320675"/>
                  </a:lnTo>
                  <a:lnTo>
                    <a:pt x="77787" y="325437"/>
                  </a:lnTo>
                  <a:lnTo>
                    <a:pt x="77787" y="328612"/>
                  </a:lnTo>
                  <a:lnTo>
                    <a:pt x="79375" y="341312"/>
                  </a:lnTo>
                  <a:lnTo>
                    <a:pt x="84138" y="341312"/>
                  </a:lnTo>
                  <a:lnTo>
                    <a:pt x="85725" y="341312"/>
                  </a:lnTo>
                  <a:lnTo>
                    <a:pt x="88900" y="334962"/>
                  </a:lnTo>
                  <a:lnTo>
                    <a:pt x="90488" y="323850"/>
                  </a:lnTo>
                  <a:lnTo>
                    <a:pt x="90488" y="320675"/>
                  </a:lnTo>
                  <a:lnTo>
                    <a:pt x="90488" y="319087"/>
                  </a:lnTo>
                  <a:lnTo>
                    <a:pt x="88900" y="314325"/>
                  </a:lnTo>
                  <a:lnTo>
                    <a:pt x="88900" y="312737"/>
                  </a:lnTo>
                  <a:lnTo>
                    <a:pt x="85725" y="312737"/>
                  </a:lnTo>
                  <a:lnTo>
                    <a:pt x="84138" y="309562"/>
                  </a:lnTo>
                  <a:lnTo>
                    <a:pt x="88900" y="303212"/>
                  </a:lnTo>
                  <a:lnTo>
                    <a:pt x="90488" y="303212"/>
                  </a:lnTo>
                  <a:lnTo>
                    <a:pt x="95250" y="298450"/>
                  </a:lnTo>
                  <a:lnTo>
                    <a:pt x="98425" y="298450"/>
                  </a:lnTo>
                  <a:lnTo>
                    <a:pt x="100013" y="301625"/>
                  </a:lnTo>
                  <a:lnTo>
                    <a:pt x="100013" y="303212"/>
                  </a:lnTo>
                  <a:lnTo>
                    <a:pt x="101600" y="306387"/>
                  </a:lnTo>
                  <a:lnTo>
                    <a:pt x="104775" y="303212"/>
                  </a:lnTo>
                  <a:lnTo>
                    <a:pt x="106363" y="303212"/>
                  </a:lnTo>
                  <a:lnTo>
                    <a:pt x="106363" y="301625"/>
                  </a:lnTo>
                  <a:lnTo>
                    <a:pt x="95250" y="295275"/>
                  </a:lnTo>
                  <a:lnTo>
                    <a:pt x="93663" y="295275"/>
                  </a:lnTo>
                  <a:lnTo>
                    <a:pt x="90488" y="295275"/>
                  </a:lnTo>
                  <a:lnTo>
                    <a:pt x="88900" y="296862"/>
                  </a:lnTo>
                  <a:lnTo>
                    <a:pt x="84138" y="298450"/>
                  </a:lnTo>
                  <a:lnTo>
                    <a:pt x="82550" y="298450"/>
                  </a:lnTo>
                  <a:lnTo>
                    <a:pt x="73025" y="296862"/>
                  </a:lnTo>
                  <a:lnTo>
                    <a:pt x="71437" y="296862"/>
                  </a:lnTo>
                  <a:lnTo>
                    <a:pt x="71437" y="295275"/>
                  </a:lnTo>
                  <a:lnTo>
                    <a:pt x="68262" y="295275"/>
                  </a:lnTo>
                  <a:lnTo>
                    <a:pt x="68262" y="280987"/>
                  </a:lnTo>
                  <a:lnTo>
                    <a:pt x="68262" y="276225"/>
                  </a:lnTo>
                  <a:lnTo>
                    <a:pt x="82550" y="269875"/>
                  </a:lnTo>
                  <a:lnTo>
                    <a:pt x="84138" y="269875"/>
                  </a:lnTo>
                  <a:lnTo>
                    <a:pt x="93663" y="268287"/>
                  </a:lnTo>
                  <a:lnTo>
                    <a:pt x="100013" y="265112"/>
                  </a:lnTo>
                  <a:lnTo>
                    <a:pt x="88900" y="263525"/>
                  </a:lnTo>
                  <a:lnTo>
                    <a:pt x="84138" y="263525"/>
                  </a:lnTo>
                  <a:lnTo>
                    <a:pt x="82550" y="263525"/>
                  </a:lnTo>
                  <a:lnTo>
                    <a:pt x="79375" y="261937"/>
                  </a:lnTo>
                  <a:lnTo>
                    <a:pt x="77787" y="258762"/>
                  </a:lnTo>
                  <a:lnTo>
                    <a:pt x="77787" y="257175"/>
                  </a:lnTo>
                  <a:lnTo>
                    <a:pt x="74612" y="254000"/>
                  </a:lnTo>
                  <a:lnTo>
                    <a:pt x="73025" y="254000"/>
                  </a:lnTo>
                  <a:lnTo>
                    <a:pt x="71437" y="254000"/>
                  </a:lnTo>
                  <a:lnTo>
                    <a:pt x="68262" y="254000"/>
                  </a:lnTo>
                  <a:lnTo>
                    <a:pt x="66675" y="254000"/>
                  </a:lnTo>
                  <a:lnTo>
                    <a:pt x="63500" y="254000"/>
                  </a:lnTo>
                  <a:lnTo>
                    <a:pt x="63500" y="257175"/>
                  </a:lnTo>
                  <a:lnTo>
                    <a:pt x="63500" y="261937"/>
                  </a:lnTo>
                  <a:lnTo>
                    <a:pt x="66675" y="263525"/>
                  </a:lnTo>
                  <a:lnTo>
                    <a:pt x="66675" y="265112"/>
                  </a:lnTo>
                  <a:lnTo>
                    <a:pt x="61912" y="269875"/>
                  </a:lnTo>
                  <a:lnTo>
                    <a:pt x="60325" y="269875"/>
                  </a:lnTo>
                  <a:lnTo>
                    <a:pt x="61912" y="265112"/>
                  </a:lnTo>
                  <a:lnTo>
                    <a:pt x="61912" y="261937"/>
                  </a:lnTo>
                  <a:lnTo>
                    <a:pt x="61912" y="257175"/>
                  </a:lnTo>
                  <a:lnTo>
                    <a:pt x="61912" y="254000"/>
                  </a:lnTo>
                  <a:lnTo>
                    <a:pt x="61912" y="250825"/>
                  </a:lnTo>
                  <a:lnTo>
                    <a:pt x="57150" y="231775"/>
                  </a:lnTo>
                  <a:lnTo>
                    <a:pt x="55562" y="225425"/>
                  </a:lnTo>
                  <a:lnTo>
                    <a:pt x="55562" y="220662"/>
                  </a:lnTo>
                  <a:lnTo>
                    <a:pt x="52387" y="220662"/>
                  </a:lnTo>
                  <a:lnTo>
                    <a:pt x="49212" y="215900"/>
                  </a:lnTo>
                  <a:lnTo>
                    <a:pt x="46037" y="214312"/>
                  </a:lnTo>
                  <a:lnTo>
                    <a:pt x="46037" y="212725"/>
                  </a:lnTo>
                  <a:lnTo>
                    <a:pt x="44450" y="204787"/>
                  </a:lnTo>
                  <a:lnTo>
                    <a:pt x="41275" y="192087"/>
                  </a:lnTo>
                  <a:lnTo>
                    <a:pt x="39687" y="176212"/>
                  </a:lnTo>
                  <a:lnTo>
                    <a:pt x="39687" y="174625"/>
                  </a:lnTo>
                  <a:lnTo>
                    <a:pt x="34925" y="168275"/>
                  </a:lnTo>
                  <a:lnTo>
                    <a:pt x="28575" y="153987"/>
                  </a:lnTo>
                  <a:lnTo>
                    <a:pt x="23812" y="149225"/>
                  </a:lnTo>
                  <a:lnTo>
                    <a:pt x="22225" y="147637"/>
                  </a:lnTo>
                  <a:lnTo>
                    <a:pt x="19050" y="147637"/>
                  </a:lnTo>
                  <a:lnTo>
                    <a:pt x="17462" y="146050"/>
                  </a:lnTo>
                  <a:lnTo>
                    <a:pt x="15875" y="147637"/>
                  </a:lnTo>
                  <a:lnTo>
                    <a:pt x="15875" y="146050"/>
                  </a:lnTo>
                  <a:lnTo>
                    <a:pt x="12700" y="146050"/>
                  </a:lnTo>
                  <a:lnTo>
                    <a:pt x="11112" y="141287"/>
                  </a:lnTo>
                  <a:lnTo>
                    <a:pt x="7937" y="134937"/>
                  </a:lnTo>
                  <a:lnTo>
                    <a:pt x="6350" y="131762"/>
                  </a:lnTo>
                  <a:lnTo>
                    <a:pt x="6350" y="127000"/>
                  </a:lnTo>
                  <a:lnTo>
                    <a:pt x="4762" y="125412"/>
                  </a:lnTo>
                  <a:lnTo>
                    <a:pt x="4762" y="123825"/>
                  </a:lnTo>
                  <a:lnTo>
                    <a:pt x="4762" y="114300"/>
                  </a:lnTo>
                  <a:lnTo>
                    <a:pt x="4762" y="107950"/>
                  </a:lnTo>
                  <a:lnTo>
                    <a:pt x="4762" y="98425"/>
                  </a:lnTo>
                  <a:lnTo>
                    <a:pt x="1587" y="82550"/>
                  </a:lnTo>
                  <a:lnTo>
                    <a:pt x="0" y="79375"/>
                  </a:lnTo>
                  <a:lnTo>
                    <a:pt x="7937" y="79375"/>
                  </a:lnTo>
                  <a:lnTo>
                    <a:pt x="17462" y="80962"/>
                  </a:lnTo>
                  <a:lnTo>
                    <a:pt x="19050" y="82550"/>
                  </a:lnTo>
                  <a:lnTo>
                    <a:pt x="26987" y="85725"/>
                  </a:lnTo>
                  <a:lnTo>
                    <a:pt x="33337" y="90487"/>
                  </a:lnTo>
                  <a:lnTo>
                    <a:pt x="44450" y="93662"/>
                  </a:lnTo>
                  <a:lnTo>
                    <a:pt x="52387" y="93662"/>
                  </a:lnTo>
                  <a:lnTo>
                    <a:pt x="61912" y="98425"/>
                  </a:lnTo>
                  <a:lnTo>
                    <a:pt x="66675" y="101600"/>
                  </a:lnTo>
                  <a:lnTo>
                    <a:pt x="68262" y="101600"/>
                  </a:lnTo>
                  <a:lnTo>
                    <a:pt x="68262" y="103187"/>
                  </a:lnTo>
                  <a:lnTo>
                    <a:pt x="73025" y="104775"/>
                  </a:lnTo>
                  <a:lnTo>
                    <a:pt x="77787" y="104775"/>
                  </a:lnTo>
                  <a:lnTo>
                    <a:pt x="85725" y="107950"/>
                  </a:lnTo>
                  <a:lnTo>
                    <a:pt x="88900" y="107950"/>
                  </a:lnTo>
                  <a:lnTo>
                    <a:pt x="100013" y="109537"/>
                  </a:lnTo>
                  <a:lnTo>
                    <a:pt x="101600" y="109537"/>
                  </a:lnTo>
                  <a:lnTo>
                    <a:pt x="104775" y="109537"/>
                  </a:lnTo>
                  <a:lnTo>
                    <a:pt x="112713" y="109537"/>
                  </a:lnTo>
                  <a:lnTo>
                    <a:pt x="133350" y="112712"/>
                  </a:lnTo>
                  <a:lnTo>
                    <a:pt x="142875" y="114300"/>
                  </a:lnTo>
                  <a:lnTo>
                    <a:pt x="144463" y="114300"/>
                  </a:lnTo>
                  <a:lnTo>
                    <a:pt x="149225" y="114300"/>
                  </a:lnTo>
                  <a:lnTo>
                    <a:pt x="160338" y="114300"/>
                  </a:lnTo>
                  <a:lnTo>
                    <a:pt x="161925" y="114300"/>
                  </a:lnTo>
                  <a:lnTo>
                    <a:pt x="165100" y="114300"/>
                  </a:lnTo>
                  <a:lnTo>
                    <a:pt x="166688" y="112712"/>
                  </a:lnTo>
                  <a:lnTo>
                    <a:pt x="166688" y="109537"/>
                  </a:lnTo>
                  <a:lnTo>
                    <a:pt x="171450" y="107950"/>
                  </a:lnTo>
                  <a:lnTo>
                    <a:pt x="173038" y="107950"/>
                  </a:lnTo>
                  <a:lnTo>
                    <a:pt x="176213" y="104775"/>
                  </a:lnTo>
                  <a:lnTo>
                    <a:pt x="190500" y="115887"/>
                  </a:lnTo>
                  <a:lnTo>
                    <a:pt x="201613" y="119062"/>
                  </a:lnTo>
                  <a:lnTo>
                    <a:pt x="201613" y="115887"/>
                  </a:lnTo>
                  <a:lnTo>
                    <a:pt x="201613" y="114300"/>
                  </a:lnTo>
                  <a:lnTo>
                    <a:pt x="204788" y="114300"/>
                  </a:lnTo>
                  <a:lnTo>
                    <a:pt x="206375" y="112712"/>
                  </a:lnTo>
                  <a:lnTo>
                    <a:pt x="209550" y="112712"/>
                  </a:lnTo>
                  <a:lnTo>
                    <a:pt x="211138" y="109537"/>
                  </a:lnTo>
                  <a:lnTo>
                    <a:pt x="212725" y="109537"/>
                  </a:lnTo>
                  <a:lnTo>
                    <a:pt x="215900" y="109537"/>
                  </a:lnTo>
                  <a:lnTo>
                    <a:pt x="215900" y="112712"/>
                  </a:lnTo>
                  <a:lnTo>
                    <a:pt x="215900" y="114300"/>
                  </a:lnTo>
                  <a:lnTo>
                    <a:pt x="212725" y="114300"/>
                  </a:lnTo>
                  <a:lnTo>
                    <a:pt x="212725" y="115887"/>
                  </a:lnTo>
                  <a:lnTo>
                    <a:pt x="211138" y="115887"/>
                  </a:lnTo>
                  <a:lnTo>
                    <a:pt x="211138" y="119062"/>
                  </a:lnTo>
                  <a:lnTo>
                    <a:pt x="212725" y="119062"/>
                  </a:lnTo>
                  <a:lnTo>
                    <a:pt x="220663" y="130175"/>
                  </a:lnTo>
                  <a:lnTo>
                    <a:pt x="222250" y="131762"/>
                  </a:lnTo>
                  <a:lnTo>
                    <a:pt x="223838" y="131762"/>
                  </a:lnTo>
                  <a:lnTo>
                    <a:pt x="223838" y="134937"/>
                  </a:lnTo>
                  <a:lnTo>
                    <a:pt x="228600" y="142875"/>
                  </a:lnTo>
                  <a:lnTo>
                    <a:pt x="223838" y="149225"/>
                  </a:lnTo>
                  <a:lnTo>
                    <a:pt x="215900" y="163512"/>
                  </a:lnTo>
                  <a:lnTo>
                    <a:pt x="211138" y="160337"/>
                  </a:lnTo>
                  <a:lnTo>
                    <a:pt x="211138" y="157162"/>
                  </a:lnTo>
                  <a:lnTo>
                    <a:pt x="211138" y="153987"/>
                  </a:lnTo>
                  <a:lnTo>
                    <a:pt x="211138" y="152400"/>
                  </a:lnTo>
                  <a:lnTo>
                    <a:pt x="211138" y="149225"/>
                  </a:lnTo>
                  <a:lnTo>
                    <a:pt x="204788" y="152400"/>
                  </a:lnTo>
                  <a:lnTo>
                    <a:pt x="204788" y="153987"/>
                  </a:lnTo>
                  <a:lnTo>
                    <a:pt x="204788" y="157162"/>
                  </a:lnTo>
                  <a:lnTo>
                    <a:pt x="204788" y="158750"/>
                  </a:lnTo>
                  <a:lnTo>
                    <a:pt x="204788" y="163512"/>
                  </a:lnTo>
                  <a:lnTo>
                    <a:pt x="201613" y="169862"/>
                  </a:lnTo>
                  <a:lnTo>
                    <a:pt x="200025" y="174625"/>
                  </a:lnTo>
                  <a:lnTo>
                    <a:pt x="198438" y="176212"/>
                  </a:lnTo>
                  <a:lnTo>
                    <a:pt x="190500" y="180975"/>
                  </a:lnTo>
                  <a:lnTo>
                    <a:pt x="188913" y="182562"/>
                  </a:lnTo>
                  <a:lnTo>
                    <a:pt x="187325" y="187325"/>
                  </a:lnTo>
                  <a:lnTo>
                    <a:pt x="176213" y="201612"/>
                  </a:lnTo>
                  <a:lnTo>
                    <a:pt x="171450" y="212725"/>
                  </a:lnTo>
                  <a:lnTo>
                    <a:pt x="171450" y="214312"/>
                  </a:lnTo>
                  <a:lnTo>
                    <a:pt x="173038" y="214312"/>
                  </a:lnTo>
                  <a:lnTo>
                    <a:pt x="176213" y="214312"/>
                  </a:lnTo>
                  <a:lnTo>
                    <a:pt x="177800" y="214312"/>
                  </a:lnTo>
                  <a:lnTo>
                    <a:pt x="187325" y="214312"/>
                  </a:lnTo>
                  <a:lnTo>
                    <a:pt x="198438" y="209550"/>
                  </a:lnTo>
                  <a:lnTo>
                    <a:pt x="201613" y="207962"/>
                  </a:lnTo>
                  <a:lnTo>
                    <a:pt x="204788" y="204787"/>
                  </a:lnTo>
                  <a:lnTo>
                    <a:pt x="206375" y="204787"/>
                  </a:lnTo>
                  <a:lnTo>
                    <a:pt x="206375" y="203200"/>
                  </a:lnTo>
                  <a:lnTo>
                    <a:pt x="204788" y="203200"/>
                  </a:lnTo>
                  <a:lnTo>
                    <a:pt x="201613" y="203200"/>
                  </a:lnTo>
                  <a:lnTo>
                    <a:pt x="198438" y="204787"/>
                  </a:lnTo>
                  <a:lnTo>
                    <a:pt x="193675" y="207962"/>
                  </a:lnTo>
                  <a:lnTo>
                    <a:pt x="188913" y="209550"/>
                  </a:lnTo>
                  <a:lnTo>
                    <a:pt x="188913" y="212725"/>
                  </a:lnTo>
                  <a:lnTo>
                    <a:pt x="187325" y="212725"/>
                  </a:lnTo>
                  <a:lnTo>
                    <a:pt x="179388" y="212725"/>
                  </a:lnTo>
                  <a:lnTo>
                    <a:pt x="177800" y="209550"/>
                  </a:lnTo>
                  <a:lnTo>
                    <a:pt x="177800" y="207962"/>
                  </a:lnTo>
                  <a:lnTo>
                    <a:pt x="177800" y="203200"/>
                  </a:lnTo>
                  <a:lnTo>
                    <a:pt x="188913" y="190500"/>
                  </a:lnTo>
                  <a:lnTo>
                    <a:pt x="193675" y="182562"/>
                  </a:lnTo>
                  <a:lnTo>
                    <a:pt x="195263" y="182562"/>
                  </a:lnTo>
                  <a:lnTo>
                    <a:pt x="198438" y="179387"/>
                  </a:lnTo>
                  <a:lnTo>
                    <a:pt x="200025" y="179387"/>
                  </a:lnTo>
                  <a:lnTo>
                    <a:pt x="206375" y="176212"/>
                  </a:lnTo>
                  <a:lnTo>
                    <a:pt x="217488" y="168275"/>
                  </a:lnTo>
                  <a:lnTo>
                    <a:pt x="217488" y="165100"/>
                  </a:lnTo>
                  <a:lnTo>
                    <a:pt x="217488" y="163512"/>
                  </a:lnTo>
                  <a:lnTo>
                    <a:pt x="234950" y="138112"/>
                  </a:lnTo>
                  <a:lnTo>
                    <a:pt x="239713" y="141287"/>
                  </a:lnTo>
                  <a:lnTo>
                    <a:pt x="242888" y="141287"/>
                  </a:lnTo>
                  <a:lnTo>
                    <a:pt x="242888" y="142875"/>
                  </a:lnTo>
                  <a:lnTo>
                    <a:pt x="246063" y="160337"/>
                  </a:lnTo>
                  <a:lnTo>
                    <a:pt x="246063" y="163512"/>
                  </a:lnTo>
                  <a:lnTo>
                    <a:pt x="238125" y="165100"/>
                  </a:lnTo>
                  <a:lnTo>
                    <a:pt x="233363" y="169862"/>
                  </a:lnTo>
                  <a:lnTo>
                    <a:pt x="231775" y="169862"/>
                  </a:lnTo>
                  <a:lnTo>
                    <a:pt x="233363" y="176212"/>
                  </a:lnTo>
                  <a:lnTo>
                    <a:pt x="233363" y="179387"/>
                  </a:lnTo>
                  <a:lnTo>
                    <a:pt x="233363" y="180975"/>
                  </a:lnTo>
                  <a:lnTo>
                    <a:pt x="233363" y="182562"/>
                  </a:lnTo>
                  <a:lnTo>
                    <a:pt x="231775" y="182562"/>
                  </a:lnTo>
                  <a:lnTo>
                    <a:pt x="228600" y="180975"/>
                  </a:lnTo>
                  <a:lnTo>
                    <a:pt x="227013" y="180975"/>
                  </a:lnTo>
                  <a:lnTo>
                    <a:pt x="227013" y="179387"/>
                  </a:lnTo>
                  <a:lnTo>
                    <a:pt x="223838" y="179387"/>
                  </a:lnTo>
                  <a:lnTo>
                    <a:pt x="223838" y="176212"/>
                  </a:lnTo>
                  <a:lnTo>
                    <a:pt x="222250" y="176212"/>
                  </a:lnTo>
                  <a:lnTo>
                    <a:pt x="222250" y="179387"/>
                  </a:lnTo>
                  <a:lnTo>
                    <a:pt x="222250" y="180975"/>
                  </a:lnTo>
                  <a:lnTo>
                    <a:pt x="223838" y="190500"/>
                  </a:lnTo>
                  <a:lnTo>
                    <a:pt x="231775" y="187325"/>
                  </a:lnTo>
                  <a:lnTo>
                    <a:pt x="233363" y="187325"/>
                  </a:lnTo>
                  <a:lnTo>
                    <a:pt x="234950" y="185737"/>
                  </a:lnTo>
                  <a:lnTo>
                    <a:pt x="238125" y="185737"/>
                  </a:lnTo>
                  <a:lnTo>
                    <a:pt x="239713" y="182562"/>
                  </a:lnTo>
                  <a:lnTo>
                    <a:pt x="239713" y="185737"/>
                  </a:lnTo>
                  <a:lnTo>
                    <a:pt x="242888" y="196850"/>
                  </a:lnTo>
                  <a:lnTo>
                    <a:pt x="240221" y="211961"/>
                  </a:lnTo>
                  <a:lnTo>
                    <a:pt x="242887" y="207962"/>
                  </a:lnTo>
                  <a:lnTo>
                    <a:pt x="242887" y="201612"/>
                  </a:lnTo>
                  <a:lnTo>
                    <a:pt x="246062" y="193675"/>
                  </a:lnTo>
                  <a:lnTo>
                    <a:pt x="249237" y="193675"/>
                  </a:lnTo>
                  <a:lnTo>
                    <a:pt x="249237" y="198437"/>
                  </a:lnTo>
                  <a:lnTo>
                    <a:pt x="250825" y="204787"/>
                  </a:lnTo>
                  <a:lnTo>
                    <a:pt x="250825" y="207962"/>
                  </a:lnTo>
                  <a:lnTo>
                    <a:pt x="255587" y="209550"/>
                  </a:lnTo>
                  <a:lnTo>
                    <a:pt x="254000" y="212725"/>
                  </a:lnTo>
                  <a:lnTo>
                    <a:pt x="244475" y="215900"/>
                  </a:lnTo>
                  <a:lnTo>
                    <a:pt x="242887" y="215900"/>
                  </a:lnTo>
                  <a:lnTo>
                    <a:pt x="239799" y="214356"/>
                  </a:lnTo>
                  <a:lnTo>
                    <a:pt x="238125" y="223837"/>
                  </a:lnTo>
                  <a:lnTo>
                    <a:pt x="238125" y="225425"/>
                  </a:lnTo>
                  <a:lnTo>
                    <a:pt x="234950" y="225425"/>
                  </a:lnTo>
                  <a:lnTo>
                    <a:pt x="233363" y="225425"/>
                  </a:lnTo>
                  <a:lnTo>
                    <a:pt x="223838" y="223837"/>
                  </a:lnTo>
                  <a:lnTo>
                    <a:pt x="223838" y="220662"/>
                  </a:lnTo>
                  <a:lnTo>
                    <a:pt x="223838" y="219075"/>
                  </a:lnTo>
                  <a:lnTo>
                    <a:pt x="227013" y="215900"/>
                  </a:lnTo>
                  <a:lnTo>
                    <a:pt x="231775" y="212725"/>
                  </a:lnTo>
                  <a:lnTo>
                    <a:pt x="231775" y="209550"/>
                  </a:lnTo>
                  <a:lnTo>
                    <a:pt x="228600" y="207962"/>
                  </a:lnTo>
                  <a:lnTo>
                    <a:pt x="220663" y="214312"/>
                  </a:lnTo>
                  <a:lnTo>
                    <a:pt x="220663" y="215900"/>
                  </a:lnTo>
                  <a:lnTo>
                    <a:pt x="215900" y="223837"/>
                  </a:lnTo>
                  <a:lnTo>
                    <a:pt x="217488" y="225425"/>
                  </a:lnTo>
                  <a:lnTo>
                    <a:pt x="217488" y="227012"/>
                  </a:lnTo>
                  <a:lnTo>
                    <a:pt x="220663" y="227012"/>
                  </a:lnTo>
                  <a:lnTo>
                    <a:pt x="220663" y="230187"/>
                  </a:lnTo>
                  <a:lnTo>
                    <a:pt x="217488" y="234950"/>
                  </a:lnTo>
                  <a:lnTo>
                    <a:pt x="215900" y="236537"/>
                  </a:lnTo>
                  <a:lnTo>
                    <a:pt x="212725" y="236537"/>
                  </a:lnTo>
                  <a:lnTo>
                    <a:pt x="211138" y="234950"/>
                  </a:lnTo>
                  <a:lnTo>
                    <a:pt x="211138" y="231775"/>
                  </a:lnTo>
                  <a:lnTo>
                    <a:pt x="209550" y="227012"/>
                  </a:lnTo>
                  <a:lnTo>
                    <a:pt x="209550" y="225425"/>
                  </a:lnTo>
                  <a:lnTo>
                    <a:pt x="211138" y="223837"/>
                  </a:lnTo>
                  <a:lnTo>
                    <a:pt x="212725" y="220662"/>
                  </a:lnTo>
                  <a:lnTo>
                    <a:pt x="212725" y="219075"/>
                  </a:lnTo>
                  <a:lnTo>
                    <a:pt x="212725" y="214312"/>
                  </a:lnTo>
                  <a:lnTo>
                    <a:pt x="212725" y="212725"/>
                  </a:lnTo>
                  <a:lnTo>
                    <a:pt x="211138" y="209550"/>
                  </a:lnTo>
                  <a:lnTo>
                    <a:pt x="209550" y="214312"/>
                  </a:lnTo>
                  <a:lnTo>
                    <a:pt x="204788" y="220662"/>
                  </a:lnTo>
                  <a:lnTo>
                    <a:pt x="198438" y="223837"/>
                  </a:lnTo>
                  <a:lnTo>
                    <a:pt x="198438" y="223838"/>
                  </a:lnTo>
                  <a:lnTo>
                    <a:pt x="200025" y="223838"/>
                  </a:lnTo>
                  <a:lnTo>
                    <a:pt x="201612" y="223838"/>
                  </a:lnTo>
                  <a:lnTo>
                    <a:pt x="204788" y="220663"/>
                  </a:lnTo>
                  <a:lnTo>
                    <a:pt x="204788" y="223838"/>
                  </a:lnTo>
                  <a:lnTo>
                    <a:pt x="206375" y="231775"/>
                  </a:lnTo>
                  <a:lnTo>
                    <a:pt x="204788" y="234950"/>
                  </a:lnTo>
                  <a:lnTo>
                    <a:pt x="204788" y="236538"/>
                  </a:lnTo>
                  <a:lnTo>
                    <a:pt x="198437" y="227013"/>
                  </a:lnTo>
                  <a:lnTo>
                    <a:pt x="198437" y="225426"/>
                  </a:lnTo>
                  <a:lnTo>
                    <a:pt x="195263" y="230187"/>
                  </a:lnTo>
                  <a:lnTo>
                    <a:pt x="195263" y="234950"/>
                  </a:lnTo>
                  <a:lnTo>
                    <a:pt x="193675" y="236537"/>
                  </a:lnTo>
                  <a:lnTo>
                    <a:pt x="190500" y="238125"/>
                  </a:lnTo>
                  <a:lnTo>
                    <a:pt x="188913" y="238125"/>
                  </a:lnTo>
                  <a:lnTo>
                    <a:pt x="184150" y="238125"/>
                  </a:lnTo>
                  <a:lnTo>
                    <a:pt x="182563" y="241300"/>
                  </a:lnTo>
                  <a:lnTo>
                    <a:pt x="179388" y="241300"/>
                  </a:lnTo>
                  <a:lnTo>
                    <a:pt x="179388" y="242887"/>
                  </a:lnTo>
                  <a:lnTo>
                    <a:pt x="179388" y="247650"/>
                  </a:lnTo>
                  <a:lnTo>
                    <a:pt x="182563" y="247650"/>
                  </a:lnTo>
                  <a:lnTo>
                    <a:pt x="184150" y="246062"/>
                  </a:lnTo>
                  <a:lnTo>
                    <a:pt x="193675" y="242887"/>
                  </a:lnTo>
                  <a:lnTo>
                    <a:pt x="198438" y="252412"/>
                  </a:lnTo>
                  <a:lnTo>
                    <a:pt x="200025" y="254000"/>
                  </a:lnTo>
                  <a:lnTo>
                    <a:pt x="201613" y="254000"/>
                  </a:lnTo>
                  <a:lnTo>
                    <a:pt x="200025" y="242887"/>
                  </a:lnTo>
                  <a:lnTo>
                    <a:pt x="200025" y="241300"/>
                  </a:lnTo>
                  <a:lnTo>
                    <a:pt x="204788" y="238125"/>
                  </a:lnTo>
                  <a:lnTo>
                    <a:pt x="206375" y="238125"/>
                  </a:lnTo>
                  <a:lnTo>
                    <a:pt x="209550" y="236537"/>
                  </a:lnTo>
                  <a:lnTo>
                    <a:pt x="211138" y="238125"/>
                  </a:lnTo>
                  <a:lnTo>
                    <a:pt x="217488" y="246062"/>
                  </a:lnTo>
                  <a:lnTo>
                    <a:pt x="220663" y="247650"/>
                  </a:lnTo>
                  <a:lnTo>
                    <a:pt x="227013" y="241300"/>
                  </a:lnTo>
                  <a:lnTo>
                    <a:pt x="231775" y="238125"/>
                  </a:lnTo>
                  <a:lnTo>
                    <a:pt x="233363" y="236537"/>
                  </a:lnTo>
                  <a:lnTo>
                    <a:pt x="234950" y="231775"/>
                  </a:lnTo>
                  <a:lnTo>
                    <a:pt x="239713" y="225425"/>
                  </a:lnTo>
                  <a:lnTo>
                    <a:pt x="246063" y="223837"/>
                  </a:lnTo>
                  <a:lnTo>
                    <a:pt x="250825" y="220662"/>
                  </a:lnTo>
                  <a:lnTo>
                    <a:pt x="261938" y="214312"/>
                  </a:lnTo>
                  <a:lnTo>
                    <a:pt x="265113" y="212725"/>
                  </a:lnTo>
                  <a:lnTo>
                    <a:pt x="265113" y="209550"/>
                  </a:lnTo>
                  <a:lnTo>
                    <a:pt x="265113" y="207962"/>
                  </a:lnTo>
                  <a:lnTo>
                    <a:pt x="260350" y="198437"/>
                  </a:lnTo>
                  <a:lnTo>
                    <a:pt x="255588" y="190500"/>
                  </a:lnTo>
                  <a:lnTo>
                    <a:pt x="254000" y="185737"/>
                  </a:lnTo>
                  <a:lnTo>
                    <a:pt x="250825" y="174625"/>
                  </a:lnTo>
                  <a:lnTo>
                    <a:pt x="255588" y="153987"/>
                  </a:lnTo>
                  <a:lnTo>
                    <a:pt x="257175" y="152400"/>
                  </a:lnTo>
                  <a:lnTo>
                    <a:pt x="265113" y="136525"/>
                  </a:lnTo>
                  <a:lnTo>
                    <a:pt x="266700" y="136525"/>
                  </a:lnTo>
                  <a:lnTo>
                    <a:pt x="261938" y="120650"/>
                  </a:lnTo>
                  <a:lnTo>
                    <a:pt x="257175" y="104775"/>
                  </a:lnTo>
                  <a:lnTo>
                    <a:pt x="257175" y="103187"/>
                  </a:lnTo>
                  <a:lnTo>
                    <a:pt x="255588" y="103187"/>
                  </a:lnTo>
                  <a:lnTo>
                    <a:pt x="250825" y="101600"/>
                  </a:lnTo>
                  <a:lnTo>
                    <a:pt x="249238" y="101600"/>
                  </a:lnTo>
                  <a:lnTo>
                    <a:pt x="249238" y="103187"/>
                  </a:lnTo>
                  <a:lnTo>
                    <a:pt x="246063" y="107950"/>
                  </a:lnTo>
                  <a:lnTo>
                    <a:pt x="246063" y="109537"/>
                  </a:lnTo>
                  <a:lnTo>
                    <a:pt x="249238" y="114300"/>
                  </a:lnTo>
                  <a:lnTo>
                    <a:pt x="250825" y="115887"/>
                  </a:lnTo>
                  <a:lnTo>
                    <a:pt x="249238" y="115887"/>
                  </a:lnTo>
                  <a:lnTo>
                    <a:pt x="244475" y="115887"/>
                  </a:lnTo>
                  <a:lnTo>
                    <a:pt x="244475" y="114300"/>
                  </a:lnTo>
                  <a:lnTo>
                    <a:pt x="242888" y="114300"/>
                  </a:lnTo>
                  <a:lnTo>
                    <a:pt x="239713" y="107950"/>
                  </a:lnTo>
                  <a:lnTo>
                    <a:pt x="239713" y="104775"/>
                  </a:lnTo>
                  <a:lnTo>
                    <a:pt x="239713" y="101600"/>
                  </a:lnTo>
                  <a:lnTo>
                    <a:pt x="242888" y="98425"/>
                  </a:lnTo>
                  <a:lnTo>
                    <a:pt x="246063" y="98425"/>
                  </a:lnTo>
                  <a:lnTo>
                    <a:pt x="249238" y="98425"/>
                  </a:lnTo>
                  <a:lnTo>
                    <a:pt x="250825" y="98425"/>
                  </a:lnTo>
                  <a:lnTo>
                    <a:pt x="254000" y="98425"/>
                  </a:lnTo>
                  <a:lnTo>
                    <a:pt x="254000" y="101600"/>
                  </a:lnTo>
                  <a:lnTo>
                    <a:pt x="255588" y="101600"/>
                  </a:lnTo>
                  <a:lnTo>
                    <a:pt x="255588" y="93662"/>
                  </a:lnTo>
                  <a:lnTo>
                    <a:pt x="255588" y="92075"/>
                  </a:lnTo>
                  <a:lnTo>
                    <a:pt x="254000" y="90487"/>
                  </a:lnTo>
                  <a:lnTo>
                    <a:pt x="233363" y="74612"/>
                  </a:lnTo>
                  <a:lnTo>
                    <a:pt x="233363" y="76200"/>
                  </a:lnTo>
                  <a:lnTo>
                    <a:pt x="231775" y="76200"/>
                  </a:lnTo>
                  <a:lnTo>
                    <a:pt x="231775" y="79375"/>
                  </a:lnTo>
                  <a:lnTo>
                    <a:pt x="233363" y="79375"/>
                  </a:lnTo>
                  <a:lnTo>
                    <a:pt x="233363" y="80962"/>
                  </a:lnTo>
                  <a:lnTo>
                    <a:pt x="239713" y="87313"/>
                  </a:lnTo>
                  <a:lnTo>
                    <a:pt x="242888" y="90488"/>
                  </a:lnTo>
                  <a:lnTo>
                    <a:pt x="242888" y="92075"/>
                  </a:lnTo>
                  <a:lnTo>
                    <a:pt x="239713" y="92075"/>
                  </a:lnTo>
                  <a:lnTo>
                    <a:pt x="238125" y="93663"/>
                  </a:lnTo>
                  <a:lnTo>
                    <a:pt x="234950" y="93663"/>
                  </a:lnTo>
                  <a:lnTo>
                    <a:pt x="234950" y="92075"/>
                  </a:lnTo>
                  <a:lnTo>
                    <a:pt x="233363" y="92075"/>
                  </a:lnTo>
                  <a:lnTo>
                    <a:pt x="231775" y="92075"/>
                  </a:lnTo>
                  <a:lnTo>
                    <a:pt x="228600" y="92075"/>
                  </a:lnTo>
                  <a:lnTo>
                    <a:pt x="223838" y="98425"/>
                  </a:lnTo>
                  <a:lnTo>
                    <a:pt x="227013" y="101600"/>
                  </a:lnTo>
                  <a:lnTo>
                    <a:pt x="228600" y="103188"/>
                  </a:lnTo>
                  <a:lnTo>
                    <a:pt x="231775" y="103188"/>
                  </a:lnTo>
                  <a:lnTo>
                    <a:pt x="233363" y="104775"/>
                  </a:lnTo>
                  <a:lnTo>
                    <a:pt x="244475" y="119063"/>
                  </a:lnTo>
                  <a:lnTo>
                    <a:pt x="257175" y="125413"/>
                  </a:lnTo>
                  <a:lnTo>
                    <a:pt x="260350" y="134938"/>
                  </a:lnTo>
                  <a:lnTo>
                    <a:pt x="260350" y="136525"/>
                  </a:lnTo>
                  <a:lnTo>
                    <a:pt x="257175" y="141288"/>
                  </a:lnTo>
                  <a:lnTo>
                    <a:pt x="250825" y="141288"/>
                  </a:lnTo>
                  <a:lnTo>
                    <a:pt x="239713" y="134938"/>
                  </a:lnTo>
                  <a:lnTo>
                    <a:pt x="234950" y="127000"/>
                  </a:lnTo>
                  <a:lnTo>
                    <a:pt x="231775" y="119063"/>
                  </a:lnTo>
                  <a:lnTo>
                    <a:pt x="215900" y="103188"/>
                  </a:lnTo>
                  <a:lnTo>
                    <a:pt x="215900" y="101600"/>
                  </a:lnTo>
                  <a:lnTo>
                    <a:pt x="215900" y="98425"/>
                  </a:lnTo>
                  <a:lnTo>
                    <a:pt x="223838" y="80962"/>
                  </a:lnTo>
                  <a:lnTo>
                    <a:pt x="231775" y="79375"/>
                  </a:lnTo>
                  <a:lnTo>
                    <a:pt x="228600" y="79375"/>
                  </a:lnTo>
                  <a:lnTo>
                    <a:pt x="227013" y="79375"/>
                  </a:lnTo>
                  <a:lnTo>
                    <a:pt x="223838" y="79375"/>
                  </a:lnTo>
                  <a:lnTo>
                    <a:pt x="222250" y="76200"/>
                  </a:lnTo>
                  <a:lnTo>
                    <a:pt x="220663" y="68262"/>
                  </a:lnTo>
                  <a:lnTo>
                    <a:pt x="222250" y="65087"/>
                  </a:lnTo>
                  <a:lnTo>
                    <a:pt x="228600" y="65087"/>
                  </a:lnTo>
                  <a:lnTo>
                    <a:pt x="231775" y="65087"/>
                  </a:lnTo>
                  <a:lnTo>
                    <a:pt x="238125" y="68262"/>
                  </a:lnTo>
                  <a:lnTo>
                    <a:pt x="238125" y="69850"/>
                  </a:lnTo>
                  <a:lnTo>
                    <a:pt x="239713" y="71437"/>
                  </a:lnTo>
                  <a:lnTo>
                    <a:pt x="242888" y="71437"/>
                  </a:lnTo>
                  <a:lnTo>
                    <a:pt x="244475" y="71437"/>
                  </a:lnTo>
                  <a:lnTo>
                    <a:pt x="249238" y="53975"/>
                  </a:lnTo>
                  <a:lnTo>
                    <a:pt x="249238" y="52387"/>
                  </a:lnTo>
                  <a:lnTo>
                    <a:pt x="242888" y="33337"/>
                  </a:lnTo>
                  <a:lnTo>
                    <a:pt x="239713" y="31750"/>
                  </a:lnTo>
                  <a:lnTo>
                    <a:pt x="234950" y="30162"/>
                  </a:lnTo>
                  <a:lnTo>
                    <a:pt x="233363" y="30162"/>
                  </a:lnTo>
                  <a:lnTo>
                    <a:pt x="231775" y="31750"/>
                  </a:lnTo>
                  <a:lnTo>
                    <a:pt x="231775" y="33337"/>
                  </a:lnTo>
                  <a:lnTo>
                    <a:pt x="227013" y="31750"/>
                  </a:lnTo>
                  <a:lnTo>
                    <a:pt x="222250" y="26987"/>
                  </a:lnTo>
                  <a:lnTo>
                    <a:pt x="209550" y="9525"/>
                  </a:lnTo>
                  <a:lnTo>
                    <a:pt x="209550" y="7937"/>
                  </a:lnTo>
                  <a:lnTo>
                    <a:pt x="211138" y="4762"/>
                  </a:lnTo>
                  <a:lnTo>
                    <a:pt x="212725" y="4762"/>
                  </a:lnTo>
                  <a:lnTo>
                    <a:pt x="215900" y="4762"/>
                  </a:lnTo>
                  <a:lnTo>
                    <a:pt x="217488" y="4762"/>
                  </a:lnTo>
                  <a:close/>
                  <a:moveTo>
                    <a:pt x="177800" y="0"/>
                  </a:moveTo>
                  <a:lnTo>
                    <a:pt x="184150" y="0"/>
                  </a:lnTo>
                  <a:lnTo>
                    <a:pt x="184150" y="3175"/>
                  </a:lnTo>
                  <a:lnTo>
                    <a:pt x="182563" y="3175"/>
                  </a:lnTo>
                  <a:lnTo>
                    <a:pt x="177800" y="3175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69" name="Freeform 68"/>
            <p:cNvSpPr>
              <a:spLocks/>
            </p:cNvSpPr>
            <p:nvPr/>
          </p:nvSpPr>
          <p:spPr bwMode="auto">
            <a:xfrm>
              <a:off x="4194036" y="3215852"/>
              <a:ext cx="845483" cy="575857"/>
            </a:xfrm>
            <a:custGeom>
              <a:avLst/>
              <a:gdLst>
                <a:gd name="T0" fmla="*/ 0 w 486"/>
                <a:gd name="T1" fmla="*/ 327 h 331"/>
                <a:gd name="T2" fmla="*/ 0 w 486"/>
                <a:gd name="T3" fmla="*/ 226 h 331"/>
                <a:gd name="T4" fmla="*/ 0 w 486"/>
                <a:gd name="T5" fmla="*/ 225 h 331"/>
                <a:gd name="T6" fmla="*/ 0 w 486"/>
                <a:gd name="T7" fmla="*/ 197 h 331"/>
                <a:gd name="T8" fmla="*/ 0 w 486"/>
                <a:gd name="T9" fmla="*/ 169 h 331"/>
                <a:gd name="T10" fmla="*/ 0 w 486"/>
                <a:gd name="T11" fmla="*/ 139 h 331"/>
                <a:gd name="T12" fmla="*/ 0 w 486"/>
                <a:gd name="T13" fmla="*/ 24 h 331"/>
                <a:gd name="T14" fmla="*/ 0 w 486"/>
                <a:gd name="T15" fmla="*/ 7 h 331"/>
                <a:gd name="T16" fmla="*/ 0 w 486"/>
                <a:gd name="T17" fmla="*/ 0 h 331"/>
                <a:gd name="T18" fmla="*/ 383 w 486"/>
                <a:gd name="T19" fmla="*/ 0 h 331"/>
                <a:gd name="T20" fmla="*/ 460 w 486"/>
                <a:gd name="T21" fmla="*/ 0 h 331"/>
                <a:gd name="T22" fmla="*/ 485 w 486"/>
                <a:gd name="T23" fmla="*/ 0 h 331"/>
                <a:gd name="T24" fmla="*/ 485 w 486"/>
                <a:gd name="T25" fmla="*/ 33 h 331"/>
                <a:gd name="T26" fmla="*/ 485 w 486"/>
                <a:gd name="T27" fmla="*/ 51 h 331"/>
                <a:gd name="T28" fmla="*/ 485 w 486"/>
                <a:gd name="T29" fmla="*/ 79 h 331"/>
                <a:gd name="T30" fmla="*/ 485 w 486"/>
                <a:gd name="T31" fmla="*/ 83 h 331"/>
                <a:gd name="T32" fmla="*/ 485 w 486"/>
                <a:gd name="T33" fmla="*/ 89 h 331"/>
                <a:gd name="T34" fmla="*/ 485 w 486"/>
                <a:gd name="T35" fmla="*/ 106 h 331"/>
                <a:gd name="T36" fmla="*/ 485 w 486"/>
                <a:gd name="T37" fmla="*/ 113 h 331"/>
                <a:gd name="T38" fmla="*/ 485 w 486"/>
                <a:gd name="T39" fmla="*/ 124 h 331"/>
                <a:gd name="T40" fmla="*/ 485 w 486"/>
                <a:gd name="T41" fmla="*/ 132 h 331"/>
                <a:gd name="T42" fmla="*/ 485 w 486"/>
                <a:gd name="T43" fmla="*/ 138 h 331"/>
                <a:gd name="T44" fmla="*/ 485 w 486"/>
                <a:gd name="T45" fmla="*/ 198 h 331"/>
                <a:gd name="T46" fmla="*/ 485 w 486"/>
                <a:gd name="T47" fmla="*/ 208 h 331"/>
                <a:gd name="T48" fmla="*/ 485 w 486"/>
                <a:gd name="T49" fmla="*/ 253 h 331"/>
                <a:gd name="T50" fmla="*/ 486 w 486"/>
                <a:gd name="T51" fmla="*/ 330 h 331"/>
                <a:gd name="T52" fmla="*/ 486 w 486"/>
                <a:gd name="T53" fmla="*/ 331 h 331"/>
                <a:gd name="T54" fmla="*/ 453 w 486"/>
                <a:gd name="T55" fmla="*/ 331 h 331"/>
                <a:gd name="T56" fmla="*/ 440 w 486"/>
                <a:gd name="T57" fmla="*/ 331 h 331"/>
                <a:gd name="T58" fmla="*/ 421 w 486"/>
                <a:gd name="T59" fmla="*/ 331 h 331"/>
                <a:gd name="T60" fmla="*/ 405 w 486"/>
                <a:gd name="T61" fmla="*/ 331 h 331"/>
                <a:gd name="T62" fmla="*/ 398 w 486"/>
                <a:gd name="T63" fmla="*/ 331 h 331"/>
                <a:gd name="T64" fmla="*/ 223 w 486"/>
                <a:gd name="T65" fmla="*/ 331 h 331"/>
                <a:gd name="T66" fmla="*/ 0 w 486"/>
                <a:gd name="T67" fmla="*/ 331 h 331"/>
                <a:gd name="T68" fmla="*/ 0 w 486"/>
                <a:gd name="T69" fmla="*/ 32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86" h="331">
                  <a:moveTo>
                    <a:pt x="0" y="327"/>
                  </a:moveTo>
                  <a:lnTo>
                    <a:pt x="0" y="226"/>
                  </a:lnTo>
                  <a:lnTo>
                    <a:pt x="0" y="225"/>
                  </a:lnTo>
                  <a:lnTo>
                    <a:pt x="0" y="197"/>
                  </a:lnTo>
                  <a:lnTo>
                    <a:pt x="0" y="169"/>
                  </a:lnTo>
                  <a:lnTo>
                    <a:pt x="0" y="139"/>
                  </a:lnTo>
                  <a:lnTo>
                    <a:pt x="0" y="24"/>
                  </a:lnTo>
                  <a:lnTo>
                    <a:pt x="0" y="7"/>
                  </a:lnTo>
                  <a:lnTo>
                    <a:pt x="0" y="0"/>
                  </a:lnTo>
                  <a:lnTo>
                    <a:pt x="383" y="0"/>
                  </a:lnTo>
                  <a:lnTo>
                    <a:pt x="460" y="0"/>
                  </a:lnTo>
                  <a:lnTo>
                    <a:pt x="485" y="0"/>
                  </a:lnTo>
                  <a:lnTo>
                    <a:pt x="485" y="33"/>
                  </a:lnTo>
                  <a:lnTo>
                    <a:pt x="485" y="51"/>
                  </a:lnTo>
                  <a:lnTo>
                    <a:pt x="485" y="79"/>
                  </a:lnTo>
                  <a:lnTo>
                    <a:pt x="485" y="83"/>
                  </a:lnTo>
                  <a:lnTo>
                    <a:pt x="485" y="89"/>
                  </a:lnTo>
                  <a:lnTo>
                    <a:pt x="485" y="106"/>
                  </a:lnTo>
                  <a:lnTo>
                    <a:pt x="485" y="113"/>
                  </a:lnTo>
                  <a:lnTo>
                    <a:pt x="485" y="124"/>
                  </a:lnTo>
                  <a:lnTo>
                    <a:pt x="485" y="132"/>
                  </a:lnTo>
                  <a:lnTo>
                    <a:pt x="485" y="138"/>
                  </a:lnTo>
                  <a:lnTo>
                    <a:pt x="485" y="198"/>
                  </a:lnTo>
                  <a:lnTo>
                    <a:pt x="485" y="208"/>
                  </a:lnTo>
                  <a:lnTo>
                    <a:pt x="485" y="253"/>
                  </a:lnTo>
                  <a:lnTo>
                    <a:pt x="486" y="330"/>
                  </a:lnTo>
                  <a:lnTo>
                    <a:pt x="486" y="331"/>
                  </a:lnTo>
                  <a:lnTo>
                    <a:pt x="453" y="331"/>
                  </a:lnTo>
                  <a:lnTo>
                    <a:pt x="440" y="331"/>
                  </a:lnTo>
                  <a:lnTo>
                    <a:pt x="421" y="331"/>
                  </a:lnTo>
                  <a:lnTo>
                    <a:pt x="405" y="331"/>
                  </a:lnTo>
                  <a:lnTo>
                    <a:pt x="398" y="331"/>
                  </a:lnTo>
                  <a:lnTo>
                    <a:pt x="223" y="331"/>
                  </a:lnTo>
                  <a:lnTo>
                    <a:pt x="0" y="331"/>
                  </a:lnTo>
                  <a:lnTo>
                    <a:pt x="0" y="32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00">
                    <a:tint val="66000"/>
                    <a:satMod val="160000"/>
                  </a:srgbClr>
                </a:gs>
                <a:gs pos="50000">
                  <a:srgbClr val="FFFF00">
                    <a:tint val="44500"/>
                    <a:satMod val="160000"/>
                  </a:srgbClr>
                </a:gs>
                <a:gs pos="100000">
                  <a:srgbClr val="FFFF00">
                    <a:tint val="23500"/>
                    <a:satMod val="1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auto">
            <a:xfrm>
              <a:off x="4921222" y="3791709"/>
              <a:ext cx="1026409" cy="481911"/>
            </a:xfrm>
            <a:custGeom>
              <a:avLst/>
              <a:gdLst>
                <a:gd name="T0" fmla="*/ 0 w 590"/>
                <a:gd name="T1" fmla="*/ 31 h 277"/>
                <a:gd name="T2" fmla="*/ 0 w 590"/>
                <a:gd name="T3" fmla="*/ 23 h 277"/>
                <a:gd name="T4" fmla="*/ 0 w 590"/>
                <a:gd name="T5" fmla="*/ 0 h 277"/>
                <a:gd name="T6" fmla="*/ 92 w 590"/>
                <a:gd name="T7" fmla="*/ 0 h 277"/>
                <a:gd name="T8" fmla="*/ 443 w 590"/>
                <a:gd name="T9" fmla="*/ 0 h 277"/>
                <a:gd name="T10" fmla="*/ 579 w 590"/>
                <a:gd name="T11" fmla="*/ 41 h 277"/>
                <a:gd name="T12" fmla="*/ 590 w 590"/>
                <a:gd name="T13" fmla="*/ 121 h 277"/>
                <a:gd name="T14" fmla="*/ 590 w 590"/>
                <a:gd name="T15" fmla="*/ 176 h 277"/>
                <a:gd name="T16" fmla="*/ 586 w 590"/>
                <a:gd name="T17" fmla="*/ 277 h 277"/>
                <a:gd name="T18" fmla="*/ 552 w 590"/>
                <a:gd name="T19" fmla="*/ 260 h 277"/>
                <a:gd name="T20" fmla="*/ 535 w 590"/>
                <a:gd name="T21" fmla="*/ 250 h 277"/>
                <a:gd name="T22" fmla="*/ 534 w 590"/>
                <a:gd name="T23" fmla="*/ 254 h 277"/>
                <a:gd name="T24" fmla="*/ 528 w 590"/>
                <a:gd name="T25" fmla="*/ 257 h 277"/>
                <a:gd name="T26" fmla="*/ 514 w 590"/>
                <a:gd name="T27" fmla="*/ 257 h 277"/>
                <a:gd name="T28" fmla="*/ 514 w 590"/>
                <a:gd name="T29" fmla="*/ 254 h 277"/>
                <a:gd name="T30" fmla="*/ 512 w 590"/>
                <a:gd name="T31" fmla="*/ 251 h 277"/>
                <a:gd name="T32" fmla="*/ 486 w 590"/>
                <a:gd name="T33" fmla="*/ 258 h 277"/>
                <a:gd name="T34" fmla="*/ 472 w 590"/>
                <a:gd name="T35" fmla="*/ 263 h 277"/>
                <a:gd name="T36" fmla="*/ 471 w 590"/>
                <a:gd name="T37" fmla="*/ 267 h 277"/>
                <a:gd name="T38" fmla="*/ 460 w 590"/>
                <a:gd name="T39" fmla="*/ 272 h 277"/>
                <a:gd name="T40" fmla="*/ 432 w 590"/>
                <a:gd name="T41" fmla="*/ 260 h 277"/>
                <a:gd name="T42" fmla="*/ 423 w 590"/>
                <a:gd name="T43" fmla="*/ 256 h 277"/>
                <a:gd name="T44" fmla="*/ 422 w 590"/>
                <a:gd name="T45" fmla="*/ 253 h 277"/>
                <a:gd name="T46" fmla="*/ 418 w 590"/>
                <a:gd name="T47" fmla="*/ 251 h 277"/>
                <a:gd name="T48" fmla="*/ 408 w 590"/>
                <a:gd name="T49" fmla="*/ 268 h 277"/>
                <a:gd name="T50" fmla="*/ 401 w 590"/>
                <a:gd name="T51" fmla="*/ 268 h 277"/>
                <a:gd name="T52" fmla="*/ 399 w 590"/>
                <a:gd name="T53" fmla="*/ 263 h 277"/>
                <a:gd name="T54" fmla="*/ 388 w 590"/>
                <a:gd name="T55" fmla="*/ 261 h 277"/>
                <a:gd name="T56" fmla="*/ 383 w 590"/>
                <a:gd name="T57" fmla="*/ 261 h 277"/>
                <a:gd name="T58" fmla="*/ 369 w 590"/>
                <a:gd name="T59" fmla="*/ 249 h 277"/>
                <a:gd name="T60" fmla="*/ 361 w 590"/>
                <a:gd name="T61" fmla="*/ 254 h 277"/>
                <a:gd name="T62" fmla="*/ 354 w 590"/>
                <a:gd name="T63" fmla="*/ 258 h 277"/>
                <a:gd name="T64" fmla="*/ 347 w 590"/>
                <a:gd name="T65" fmla="*/ 257 h 277"/>
                <a:gd name="T66" fmla="*/ 349 w 590"/>
                <a:gd name="T67" fmla="*/ 253 h 277"/>
                <a:gd name="T68" fmla="*/ 347 w 590"/>
                <a:gd name="T69" fmla="*/ 247 h 277"/>
                <a:gd name="T70" fmla="*/ 342 w 590"/>
                <a:gd name="T71" fmla="*/ 247 h 277"/>
                <a:gd name="T72" fmla="*/ 339 w 590"/>
                <a:gd name="T73" fmla="*/ 244 h 277"/>
                <a:gd name="T74" fmla="*/ 339 w 590"/>
                <a:gd name="T75" fmla="*/ 242 h 277"/>
                <a:gd name="T76" fmla="*/ 317 w 590"/>
                <a:gd name="T77" fmla="*/ 240 h 277"/>
                <a:gd name="T78" fmla="*/ 312 w 590"/>
                <a:gd name="T79" fmla="*/ 242 h 277"/>
                <a:gd name="T80" fmla="*/ 308 w 590"/>
                <a:gd name="T81" fmla="*/ 239 h 277"/>
                <a:gd name="T82" fmla="*/ 304 w 590"/>
                <a:gd name="T83" fmla="*/ 235 h 277"/>
                <a:gd name="T84" fmla="*/ 298 w 590"/>
                <a:gd name="T85" fmla="*/ 235 h 277"/>
                <a:gd name="T86" fmla="*/ 287 w 590"/>
                <a:gd name="T87" fmla="*/ 235 h 277"/>
                <a:gd name="T88" fmla="*/ 263 w 590"/>
                <a:gd name="T89" fmla="*/ 229 h 277"/>
                <a:gd name="T90" fmla="*/ 262 w 590"/>
                <a:gd name="T91" fmla="*/ 226 h 277"/>
                <a:gd name="T92" fmla="*/ 258 w 590"/>
                <a:gd name="T93" fmla="*/ 215 h 277"/>
                <a:gd name="T94" fmla="*/ 234 w 590"/>
                <a:gd name="T95" fmla="*/ 216 h 277"/>
                <a:gd name="T96" fmla="*/ 228 w 590"/>
                <a:gd name="T97" fmla="*/ 214 h 277"/>
                <a:gd name="T98" fmla="*/ 216 w 590"/>
                <a:gd name="T99" fmla="*/ 202 h 277"/>
                <a:gd name="T100" fmla="*/ 211 w 590"/>
                <a:gd name="T101" fmla="*/ 200 h 277"/>
                <a:gd name="T102" fmla="*/ 207 w 590"/>
                <a:gd name="T103" fmla="*/ 200 h 277"/>
                <a:gd name="T104" fmla="*/ 207 w 590"/>
                <a:gd name="T105" fmla="*/ 56 h 277"/>
                <a:gd name="T106" fmla="*/ 18 w 590"/>
                <a:gd name="T107" fmla="*/ 41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90" h="277">
                  <a:moveTo>
                    <a:pt x="0" y="38"/>
                  </a:moveTo>
                  <a:lnTo>
                    <a:pt x="0" y="37"/>
                  </a:lnTo>
                  <a:lnTo>
                    <a:pt x="0" y="35"/>
                  </a:lnTo>
                  <a:lnTo>
                    <a:pt x="0" y="34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27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0"/>
                  </a:lnTo>
                  <a:lnTo>
                    <a:pt x="4" y="0"/>
                  </a:lnTo>
                  <a:lnTo>
                    <a:pt x="29" y="0"/>
                  </a:lnTo>
                  <a:lnTo>
                    <a:pt x="68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207" y="0"/>
                  </a:lnTo>
                  <a:lnTo>
                    <a:pt x="279" y="0"/>
                  </a:lnTo>
                  <a:lnTo>
                    <a:pt x="356" y="0"/>
                  </a:lnTo>
                  <a:lnTo>
                    <a:pt x="408" y="0"/>
                  </a:lnTo>
                  <a:lnTo>
                    <a:pt x="443" y="0"/>
                  </a:lnTo>
                  <a:lnTo>
                    <a:pt x="500" y="0"/>
                  </a:lnTo>
                  <a:lnTo>
                    <a:pt x="579" y="0"/>
                  </a:lnTo>
                  <a:lnTo>
                    <a:pt x="579" y="14"/>
                  </a:lnTo>
                  <a:lnTo>
                    <a:pt x="579" y="41"/>
                  </a:lnTo>
                  <a:lnTo>
                    <a:pt x="579" y="41"/>
                  </a:lnTo>
                  <a:lnTo>
                    <a:pt x="580" y="56"/>
                  </a:lnTo>
                  <a:lnTo>
                    <a:pt x="583" y="71"/>
                  </a:lnTo>
                  <a:lnTo>
                    <a:pt x="584" y="87"/>
                  </a:lnTo>
                  <a:lnTo>
                    <a:pt x="590" y="120"/>
                  </a:lnTo>
                  <a:lnTo>
                    <a:pt x="590" y="121"/>
                  </a:lnTo>
                  <a:lnTo>
                    <a:pt x="590" y="131"/>
                  </a:lnTo>
                  <a:lnTo>
                    <a:pt x="590" y="132"/>
                  </a:lnTo>
                  <a:lnTo>
                    <a:pt x="590" y="134"/>
                  </a:lnTo>
                  <a:lnTo>
                    <a:pt x="590" y="136"/>
                  </a:lnTo>
                  <a:lnTo>
                    <a:pt x="590" y="176"/>
                  </a:lnTo>
                  <a:lnTo>
                    <a:pt x="590" y="192"/>
                  </a:lnTo>
                  <a:lnTo>
                    <a:pt x="589" y="251"/>
                  </a:lnTo>
                  <a:lnTo>
                    <a:pt x="587" y="260"/>
                  </a:lnTo>
                  <a:lnTo>
                    <a:pt x="587" y="277"/>
                  </a:lnTo>
                  <a:lnTo>
                    <a:pt x="586" y="277"/>
                  </a:lnTo>
                  <a:lnTo>
                    <a:pt x="583" y="277"/>
                  </a:lnTo>
                  <a:lnTo>
                    <a:pt x="572" y="272"/>
                  </a:lnTo>
                  <a:lnTo>
                    <a:pt x="562" y="268"/>
                  </a:lnTo>
                  <a:lnTo>
                    <a:pt x="555" y="263"/>
                  </a:lnTo>
                  <a:lnTo>
                    <a:pt x="552" y="260"/>
                  </a:lnTo>
                  <a:lnTo>
                    <a:pt x="541" y="251"/>
                  </a:lnTo>
                  <a:lnTo>
                    <a:pt x="541" y="251"/>
                  </a:lnTo>
                  <a:lnTo>
                    <a:pt x="537" y="250"/>
                  </a:lnTo>
                  <a:lnTo>
                    <a:pt x="537" y="250"/>
                  </a:lnTo>
                  <a:lnTo>
                    <a:pt x="535" y="250"/>
                  </a:lnTo>
                  <a:lnTo>
                    <a:pt x="535" y="251"/>
                  </a:lnTo>
                  <a:lnTo>
                    <a:pt x="535" y="251"/>
                  </a:lnTo>
                  <a:lnTo>
                    <a:pt x="534" y="253"/>
                  </a:lnTo>
                  <a:lnTo>
                    <a:pt x="534" y="253"/>
                  </a:lnTo>
                  <a:lnTo>
                    <a:pt x="534" y="254"/>
                  </a:lnTo>
                  <a:lnTo>
                    <a:pt x="534" y="254"/>
                  </a:lnTo>
                  <a:lnTo>
                    <a:pt x="534" y="256"/>
                  </a:lnTo>
                  <a:lnTo>
                    <a:pt x="534" y="256"/>
                  </a:lnTo>
                  <a:lnTo>
                    <a:pt x="531" y="257"/>
                  </a:lnTo>
                  <a:lnTo>
                    <a:pt x="528" y="257"/>
                  </a:lnTo>
                  <a:lnTo>
                    <a:pt x="527" y="258"/>
                  </a:lnTo>
                  <a:lnTo>
                    <a:pt x="523" y="258"/>
                  </a:lnTo>
                  <a:lnTo>
                    <a:pt x="514" y="257"/>
                  </a:lnTo>
                  <a:lnTo>
                    <a:pt x="514" y="257"/>
                  </a:lnTo>
                  <a:lnTo>
                    <a:pt x="514" y="257"/>
                  </a:lnTo>
                  <a:lnTo>
                    <a:pt x="514" y="256"/>
                  </a:lnTo>
                  <a:lnTo>
                    <a:pt x="514" y="256"/>
                  </a:lnTo>
                  <a:lnTo>
                    <a:pt x="514" y="256"/>
                  </a:lnTo>
                  <a:lnTo>
                    <a:pt x="514" y="254"/>
                  </a:lnTo>
                  <a:lnTo>
                    <a:pt x="514" y="254"/>
                  </a:lnTo>
                  <a:lnTo>
                    <a:pt x="513" y="253"/>
                  </a:lnTo>
                  <a:lnTo>
                    <a:pt x="513" y="253"/>
                  </a:lnTo>
                  <a:lnTo>
                    <a:pt x="512" y="253"/>
                  </a:lnTo>
                  <a:lnTo>
                    <a:pt x="512" y="251"/>
                  </a:lnTo>
                  <a:lnTo>
                    <a:pt x="512" y="251"/>
                  </a:lnTo>
                  <a:lnTo>
                    <a:pt x="510" y="253"/>
                  </a:lnTo>
                  <a:lnTo>
                    <a:pt x="500" y="257"/>
                  </a:lnTo>
                  <a:lnTo>
                    <a:pt x="499" y="258"/>
                  </a:lnTo>
                  <a:lnTo>
                    <a:pt x="492" y="260"/>
                  </a:lnTo>
                  <a:lnTo>
                    <a:pt x="486" y="258"/>
                  </a:lnTo>
                  <a:lnTo>
                    <a:pt x="476" y="260"/>
                  </a:lnTo>
                  <a:lnTo>
                    <a:pt x="475" y="261"/>
                  </a:lnTo>
                  <a:lnTo>
                    <a:pt x="474" y="261"/>
                  </a:lnTo>
                  <a:lnTo>
                    <a:pt x="472" y="263"/>
                  </a:lnTo>
                  <a:lnTo>
                    <a:pt x="472" y="263"/>
                  </a:lnTo>
                  <a:lnTo>
                    <a:pt x="472" y="264"/>
                  </a:lnTo>
                  <a:lnTo>
                    <a:pt x="471" y="264"/>
                  </a:lnTo>
                  <a:lnTo>
                    <a:pt x="471" y="265"/>
                  </a:lnTo>
                  <a:lnTo>
                    <a:pt x="471" y="265"/>
                  </a:lnTo>
                  <a:lnTo>
                    <a:pt x="471" y="267"/>
                  </a:lnTo>
                  <a:lnTo>
                    <a:pt x="469" y="267"/>
                  </a:lnTo>
                  <a:lnTo>
                    <a:pt x="461" y="272"/>
                  </a:lnTo>
                  <a:lnTo>
                    <a:pt x="461" y="272"/>
                  </a:lnTo>
                  <a:lnTo>
                    <a:pt x="461" y="272"/>
                  </a:lnTo>
                  <a:lnTo>
                    <a:pt x="460" y="272"/>
                  </a:lnTo>
                  <a:lnTo>
                    <a:pt x="450" y="265"/>
                  </a:lnTo>
                  <a:lnTo>
                    <a:pt x="441" y="260"/>
                  </a:lnTo>
                  <a:lnTo>
                    <a:pt x="434" y="260"/>
                  </a:lnTo>
                  <a:lnTo>
                    <a:pt x="433" y="260"/>
                  </a:lnTo>
                  <a:lnTo>
                    <a:pt x="432" y="260"/>
                  </a:lnTo>
                  <a:lnTo>
                    <a:pt x="425" y="258"/>
                  </a:lnTo>
                  <a:lnTo>
                    <a:pt x="425" y="258"/>
                  </a:lnTo>
                  <a:lnTo>
                    <a:pt x="423" y="258"/>
                  </a:lnTo>
                  <a:lnTo>
                    <a:pt x="423" y="257"/>
                  </a:lnTo>
                  <a:lnTo>
                    <a:pt x="423" y="256"/>
                  </a:lnTo>
                  <a:lnTo>
                    <a:pt x="422" y="256"/>
                  </a:lnTo>
                  <a:lnTo>
                    <a:pt x="422" y="256"/>
                  </a:lnTo>
                  <a:lnTo>
                    <a:pt x="422" y="254"/>
                  </a:lnTo>
                  <a:lnTo>
                    <a:pt x="422" y="253"/>
                  </a:lnTo>
                  <a:lnTo>
                    <a:pt x="422" y="253"/>
                  </a:lnTo>
                  <a:lnTo>
                    <a:pt x="422" y="251"/>
                  </a:lnTo>
                  <a:lnTo>
                    <a:pt x="420" y="251"/>
                  </a:lnTo>
                  <a:lnTo>
                    <a:pt x="420" y="251"/>
                  </a:lnTo>
                  <a:lnTo>
                    <a:pt x="419" y="251"/>
                  </a:lnTo>
                  <a:lnTo>
                    <a:pt x="418" y="251"/>
                  </a:lnTo>
                  <a:lnTo>
                    <a:pt x="416" y="251"/>
                  </a:lnTo>
                  <a:lnTo>
                    <a:pt x="415" y="251"/>
                  </a:lnTo>
                  <a:lnTo>
                    <a:pt x="415" y="251"/>
                  </a:lnTo>
                  <a:lnTo>
                    <a:pt x="411" y="260"/>
                  </a:lnTo>
                  <a:lnTo>
                    <a:pt x="408" y="268"/>
                  </a:lnTo>
                  <a:lnTo>
                    <a:pt x="405" y="270"/>
                  </a:lnTo>
                  <a:lnTo>
                    <a:pt x="404" y="270"/>
                  </a:lnTo>
                  <a:lnTo>
                    <a:pt x="404" y="270"/>
                  </a:lnTo>
                  <a:lnTo>
                    <a:pt x="402" y="270"/>
                  </a:lnTo>
                  <a:lnTo>
                    <a:pt x="401" y="268"/>
                  </a:lnTo>
                  <a:lnTo>
                    <a:pt x="401" y="267"/>
                  </a:lnTo>
                  <a:lnTo>
                    <a:pt x="401" y="265"/>
                  </a:lnTo>
                  <a:lnTo>
                    <a:pt x="399" y="264"/>
                  </a:lnTo>
                  <a:lnTo>
                    <a:pt x="399" y="264"/>
                  </a:lnTo>
                  <a:lnTo>
                    <a:pt x="399" y="263"/>
                  </a:lnTo>
                  <a:lnTo>
                    <a:pt x="401" y="261"/>
                  </a:lnTo>
                  <a:lnTo>
                    <a:pt x="401" y="261"/>
                  </a:lnTo>
                  <a:lnTo>
                    <a:pt x="397" y="256"/>
                  </a:lnTo>
                  <a:lnTo>
                    <a:pt x="390" y="261"/>
                  </a:lnTo>
                  <a:lnTo>
                    <a:pt x="388" y="261"/>
                  </a:lnTo>
                  <a:lnTo>
                    <a:pt x="387" y="263"/>
                  </a:lnTo>
                  <a:lnTo>
                    <a:pt x="385" y="263"/>
                  </a:lnTo>
                  <a:lnTo>
                    <a:pt x="384" y="263"/>
                  </a:lnTo>
                  <a:lnTo>
                    <a:pt x="384" y="263"/>
                  </a:lnTo>
                  <a:lnTo>
                    <a:pt x="383" y="261"/>
                  </a:lnTo>
                  <a:lnTo>
                    <a:pt x="383" y="260"/>
                  </a:lnTo>
                  <a:lnTo>
                    <a:pt x="378" y="256"/>
                  </a:lnTo>
                  <a:lnTo>
                    <a:pt x="373" y="250"/>
                  </a:lnTo>
                  <a:lnTo>
                    <a:pt x="370" y="249"/>
                  </a:lnTo>
                  <a:lnTo>
                    <a:pt x="369" y="249"/>
                  </a:lnTo>
                  <a:lnTo>
                    <a:pt x="369" y="249"/>
                  </a:lnTo>
                  <a:lnTo>
                    <a:pt x="367" y="249"/>
                  </a:lnTo>
                  <a:lnTo>
                    <a:pt x="366" y="250"/>
                  </a:lnTo>
                  <a:lnTo>
                    <a:pt x="364" y="251"/>
                  </a:lnTo>
                  <a:lnTo>
                    <a:pt x="361" y="254"/>
                  </a:lnTo>
                  <a:lnTo>
                    <a:pt x="360" y="256"/>
                  </a:lnTo>
                  <a:lnTo>
                    <a:pt x="360" y="257"/>
                  </a:lnTo>
                  <a:lnTo>
                    <a:pt x="359" y="257"/>
                  </a:lnTo>
                  <a:lnTo>
                    <a:pt x="354" y="258"/>
                  </a:lnTo>
                  <a:lnTo>
                    <a:pt x="354" y="258"/>
                  </a:lnTo>
                  <a:lnTo>
                    <a:pt x="353" y="258"/>
                  </a:lnTo>
                  <a:lnTo>
                    <a:pt x="349" y="257"/>
                  </a:lnTo>
                  <a:lnTo>
                    <a:pt x="349" y="257"/>
                  </a:lnTo>
                  <a:lnTo>
                    <a:pt x="347" y="257"/>
                  </a:lnTo>
                  <a:lnTo>
                    <a:pt x="347" y="257"/>
                  </a:lnTo>
                  <a:lnTo>
                    <a:pt x="347" y="256"/>
                  </a:lnTo>
                  <a:lnTo>
                    <a:pt x="347" y="254"/>
                  </a:lnTo>
                  <a:lnTo>
                    <a:pt x="347" y="254"/>
                  </a:lnTo>
                  <a:lnTo>
                    <a:pt x="349" y="253"/>
                  </a:lnTo>
                  <a:lnTo>
                    <a:pt x="349" y="253"/>
                  </a:lnTo>
                  <a:lnTo>
                    <a:pt x="349" y="251"/>
                  </a:lnTo>
                  <a:lnTo>
                    <a:pt x="349" y="249"/>
                  </a:lnTo>
                  <a:lnTo>
                    <a:pt x="349" y="249"/>
                  </a:lnTo>
                  <a:lnTo>
                    <a:pt x="349" y="249"/>
                  </a:lnTo>
                  <a:lnTo>
                    <a:pt x="347" y="247"/>
                  </a:lnTo>
                  <a:lnTo>
                    <a:pt x="346" y="247"/>
                  </a:lnTo>
                  <a:lnTo>
                    <a:pt x="346" y="247"/>
                  </a:lnTo>
                  <a:lnTo>
                    <a:pt x="343" y="247"/>
                  </a:lnTo>
                  <a:lnTo>
                    <a:pt x="342" y="247"/>
                  </a:lnTo>
                  <a:lnTo>
                    <a:pt x="342" y="247"/>
                  </a:lnTo>
                  <a:lnTo>
                    <a:pt x="340" y="247"/>
                  </a:lnTo>
                  <a:lnTo>
                    <a:pt x="340" y="246"/>
                  </a:lnTo>
                  <a:lnTo>
                    <a:pt x="339" y="246"/>
                  </a:lnTo>
                  <a:lnTo>
                    <a:pt x="339" y="246"/>
                  </a:lnTo>
                  <a:lnTo>
                    <a:pt x="339" y="244"/>
                  </a:lnTo>
                  <a:lnTo>
                    <a:pt x="339" y="244"/>
                  </a:lnTo>
                  <a:lnTo>
                    <a:pt x="339" y="243"/>
                  </a:lnTo>
                  <a:lnTo>
                    <a:pt x="339" y="242"/>
                  </a:lnTo>
                  <a:lnTo>
                    <a:pt x="339" y="242"/>
                  </a:lnTo>
                  <a:lnTo>
                    <a:pt x="339" y="242"/>
                  </a:lnTo>
                  <a:lnTo>
                    <a:pt x="339" y="240"/>
                  </a:lnTo>
                  <a:lnTo>
                    <a:pt x="333" y="237"/>
                  </a:lnTo>
                  <a:lnTo>
                    <a:pt x="325" y="236"/>
                  </a:lnTo>
                  <a:lnTo>
                    <a:pt x="317" y="240"/>
                  </a:lnTo>
                  <a:lnTo>
                    <a:pt x="317" y="240"/>
                  </a:lnTo>
                  <a:lnTo>
                    <a:pt x="317" y="240"/>
                  </a:lnTo>
                  <a:lnTo>
                    <a:pt x="317" y="242"/>
                  </a:lnTo>
                  <a:lnTo>
                    <a:pt x="315" y="242"/>
                  </a:lnTo>
                  <a:lnTo>
                    <a:pt x="314" y="242"/>
                  </a:lnTo>
                  <a:lnTo>
                    <a:pt x="312" y="242"/>
                  </a:lnTo>
                  <a:lnTo>
                    <a:pt x="312" y="242"/>
                  </a:lnTo>
                  <a:lnTo>
                    <a:pt x="311" y="242"/>
                  </a:lnTo>
                  <a:lnTo>
                    <a:pt x="310" y="240"/>
                  </a:lnTo>
                  <a:lnTo>
                    <a:pt x="308" y="239"/>
                  </a:lnTo>
                  <a:lnTo>
                    <a:pt x="308" y="239"/>
                  </a:lnTo>
                  <a:lnTo>
                    <a:pt x="307" y="237"/>
                  </a:lnTo>
                  <a:lnTo>
                    <a:pt x="305" y="236"/>
                  </a:lnTo>
                  <a:lnTo>
                    <a:pt x="305" y="236"/>
                  </a:lnTo>
                  <a:lnTo>
                    <a:pt x="305" y="235"/>
                  </a:lnTo>
                  <a:lnTo>
                    <a:pt x="304" y="235"/>
                  </a:lnTo>
                  <a:lnTo>
                    <a:pt x="304" y="235"/>
                  </a:lnTo>
                  <a:lnTo>
                    <a:pt x="303" y="235"/>
                  </a:lnTo>
                  <a:lnTo>
                    <a:pt x="301" y="235"/>
                  </a:lnTo>
                  <a:lnTo>
                    <a:pt x="300" y="235"/>
                  </a:lnTo>
                  <a:lnTo>
                    <a:pt x="298" y="235"/>
                  </a:lnTo>
                  <a:lnTo>
                    <a:pt x="297" y="236"/>
                  </a:lnTo>
                  <a:lnTo>
                    <a:pt x="297" y="236"/>
                  </a:lnTo>
                  <a:lnTo>
                    <a:pt x="296" y="236"/>
                  </a:lnTo>
                  <a:lnTo>
                    <a:pt x="294" y="236"/>
                  </a:lnTo>
                  <a:lnTo>
                    <a:pt x="287" y="235"/>
                  </a:lnTo>
                  <a:lnTo>
                    <a:pt x="286" y="235"/>
                  </a:lnTo>
                  <a:lnTo>
                    <a:pt x="286" y="235"/>
                  </a:lnTo>
                  <a:lnTo>
                    <a:pt x="275" y="230"/>
                  </a:lnTo>
                  <a:lnTo>
                    <a:pt x="265" y="230"/>
                  </a:lnTo>
                  <a:lnTo>
                    <a:pt x="263" y="229"/>
                  </a:lnTo>
                  <a:lnTo>
                    <a:pt x="263" y="229"/>
                  </a:lnTo>
                  <a:lnTo>
                    <a:pt x="263" y="229"/>
                  </a:lnTo>
                  <a:lnTo>
                    <a:pt x="262" y="228"/>
                  </a:lnTo>
                  <a:lnTo>
                    <a:pt x="262" y="228"/>
                  </a:lnTo>
                  <a:lnTo>
                    <a:pt x="262" y="226"/>
                  </a:lnTo>
                  <a:lnTo>
                    <a:pt x="262" y="225"/>
                  </a:lnTo>
                  <a:lnTo>
                    <a:pt x="262" y="222"/>
                  </a:lnTo>
                  <a:lnTo>
                    <a:pt x="262" y="221"/>
                  </a:lnTo>
                  <a:lnTo>
                    <a:pt x="262" y="219"/>
                  </a:lnTo>
                  <a:lnTo>
                    <a:pt x="258" y="215"/>
                  </a:lnTo>
                  <a:lnTo>
                    <a:pt x="258" y="214"/>
                  </a:lnTo>
                  <a:lnTo>
                    <a:pt x="252" y="211"/>
                  </a:lnTo>
                  <a:lnTo>
                    <a:pt x="249" y="212"/>
                  </a:lnTo>
                  <a:lnTo>
                    <a:pt x="245" y="216"/>
                  </a:lnTo>
                  <a:lnTo>
                    <a:pt x="234" y="216"/>
                  </a:lnTo>
                  <a:lnTo>
                    <a:pt x="232" y="216"/>
                  </a:lnTo>
                  <a:lnTo>
                    <a:pt x="231" y="216"/>
                  </a:lnTo>
                  <a:lnTo>
                    <a:pt x="230" y="215"/>
                  </a:lnTo>
                  <a:lnTo>
                    <a:pt x="228" y="215"/>
                  </a:lnTo>
                  <a:lnTo>
                    <a:pt x="228" y="214"/>
                  </a:lnTo>
                  <a:lnTo>
                    <a:pt x="224" y="209"/>
                  </a:lnTo>
                  <a:lnTo>
                    <a:pt x="223" y="209"/>
                  </a:lnTo>
                  <a:lnTo>
                    <a:pt x="223" y="208"/>
                  </a:lnTo>
                  <a:lnTo>
                    <a:pt x="220" y="205"/>
                  </a:lnTo>
                  <a:lnTo>
                    <a:pt x="216" y="202"/>
                  </a:lnTo>
                  <a:lnTo>
                    <a:pt x="216" y="201"/>
                  </a:lnTo>
                  <a:lnTo>
                    <a:pt x="214" y="201"/>
                  </a:lnTo>
                  <a:lnTo>
                    <a:pt x="213" y="200"/>
                  </a:lnTo>
                  <a:lnTo>
                    <a:pt x="213" y="200"/>
                  </a:lnTo>
                  <a:lnTo>
                    <a:pt x="211" y="200"/>
                  </a:lnTo>
                  <a:lnTo>
                    <a:pt x="210" y="200"/>
                  </a:lnTo>
                  <a:lnTo>
                    <a:pt x="210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07" y="200"/>
                  </a:lnTo>
                  <a:lnTo>
                    <a:pt x="207" y="200"/>
                  </a:lnTo>
                  <a:lnTo>
                    <a:pt x="207" y="200"/>
                  </a:lnTo>
                  <a:lnTo>
                    <a:pt x="207" y="200"/>
                  </a:lnTo>
                  <a:lnTo>
                    <a:pt x="207" y="61"/>
                  </a:lnTo>
                  <a:lnTo>
                    <a:pt x="207" y="56"/>
                  </a:lnTo>
                  <a:lnTo>
                    <a:pt x="203" y="41"/>
                  </a:lnTo>
                  <a:lnTo>
                    <a:pt x="169" y="41"/>
                  </a:lnTo>
                  <a:lnTo>
                    <a:pt x="148" y="41"/>
                  </a:lnTo>
                  <a:lnTo>
                    <a:pt x="98" y="41"/>
                  </a:lnTo>
                  <a:lnTo>
                    <a:pt x="18" y="41"/>
                  </a:lnTo>
                  <a:lnTo>
                    <a:pt x="0" y="41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71" name="Freeform 70"/>
            <p:cNvSpPr>
              <a:spLocks/>
            </p:cNvSpPr>
            <p:nvPr/>
          </p:nvSpPr>
          <p:spPr bwMode="auto">
            <a:xfrm>
              <a:off x="6767019" y="4652882"/>
              <a:ext cx="913332" cy="927286"/>
            </a:xfrm>
            <a:custGeom>
              <a:avLst/>
              <a:gdLst>
                <a:gd name="connsiteX0" fmla="*/ 642937 w 833438"/>
                <a:gd name="connsiteY0" fmla="*/ 841375 h 846138"/>
                <a:gd name="connsiteX1" fmla="*/ 646112 w 833438"/>
                <a:gd name="connsiteY1" fmla="*/ 841375 h 846138"/>
                <a:gd name="connsiteX2" fmla="*/ 646112 w 833438"/>
                <a:gd name="connsiteY2" fmla="*/ 844551 h 846138"/>
                <a:gd name="connsiteX3" fmla="*/ 641350 w 833438"/>
                <a:gd name="connsiteY3" fmla="*/ 844551 h 846138"/>
                <a:gd name="connsiteX4" fmla="*/ 636587 w 833438"/>
                <a:gd name="connsiteY4" fmla="*/ 846138 h 846138"/>
                <a:gd name="connsiteX5" fmla="*/ 636587 w 833438"/>
                <a:gd name="connsiteY5" fmla="*/ 844551 h 846138"/>
                <a:gd name="connsiteX6" fmla="*/ 647700 w 833438"/>
                <a:gd name="connsiteY6" fmla="*/ 838200 h 846138"/>
                <a:gd name="connsiteX7" fmla="*/ 652463 w 833438"/>
                <a:gd name="connsiteY7" fmla="*/ 838200 h 846138"/>
                <a:gd name="connsiteX8" fmla="*/ 654050 w 833438"/>
                <a:gd name="connsiteY8" fmla="*/ 839787 h 846138"/>
                <a:gd name="connsiteX9" fmla="*/ 650875 w 833438"/>
                <a:gd name="connsiteY9" fmla="*/ 844550 h 846138"/>
                <a:gd name="connsiteX10" fmla="*/ 647700 w 833438"/>
                <a:gd name="connsiteY10" fmla="*/ 844550 h 846138"/>
                <a:gd name="connsiteX11" fmla="*/ 647700 w 833438"/>
                <a:gd name="connsiteY11" fmla="*/ 839787 h 846138"/>
                <a:gd name="connsiteX12" fmla="*/ 601662 w 833438"/>
                <a:gd name="connsiteY12" fmla="*/ 838200 h 846138"/>
                <a:gd name="connsiteX13" fmla="*/ 603249 w 833438"/>
                <a:gd name="connsiteY13" fmla="*/ 839787 h 846138"/>
                <a:gd name="connsiteX14" fmla="*/ 606425 w 833438"/>
                <a:gd name="connsiteY14" fmla="*/ 839787 h 846138"/>
                <a:gd name="connsiteX15" fmla="*/ 606425 w 833438"/>
                <a:gd name="connsiteY15" fmla="*/ 841375 h 846138"/>
                <a:gd name="connsiteX16" fmla="*/ 603249 w 833438"/>
                <a:gd name="connsiteY16" fmla="*/ 844550 h 846138"/>
                <a:gd name="connsiteX17" fmla="*/ 601662 w 833438"/>
                <a:gd name="connsiteY17" fmla="*/ 839787 h 846138"/>
                <a:gd name="connsiteX18" fmla="*/ 663575 w 833438"/>
                <a:gd name="connsiteY18" fmla="*/ 827087 h 846138"/>
                <a:gd name="connsiteX19" fmla="*/ 665163 w 833438"/>
                <a:gd name="connsiteY19" fmla="*/ 827087 h 846138"/>
                <a:gd name="connsiteX20" fmla="*/ 668337 w 833438"/>
                <a:gd name="connsiteY20" fmla="*/ 828674 h 846138"/>
                <a:gd name="connsiteX21" fmla="*/ 668337 w 833438"/>
                <a:gd name="connsiteY21" fmla="*/ 827087 h 846138"/>
                <a:gd name="connsiteX22" fmla="*/ 669925 w 833438"/>
                <a:gd name="connsiteY22" fmla="*/ 827087 h 846138"/>
                <a:gd name="connsiteX23" fmla="*/ 673100 w 833438"/>
                <a:gd name="connsiteY23" fmla="*/ 827087 h 846138"/>
                <a:gd name="connsiteX24" fmla="*/ 673100 w 833438"/>
                <a:gd name="connsiteY24" fmla="*/ 828674 h 846138"/>
                <a:gd name="connsiteX25" fmla="*/ 674687 w 833438"/>
                <a:gd name="connsiteY25" fmla="*/ 828674 h 846138"/>
                <a:gd name="connsiteX26" fmla="*/ 674687 w 833438"/>
                <a:gd name="connsiteY26" fmla="*/ 830262 h 846138"/>
                <a:gd name="connsiteX27" fmla="*/ 674687 w 833438"/>
                <a:gd name="connsiteY27" fmla="*/ 833437 h 846138"/>
                <a:gd name="connsiteX28" fmla="*/ 673100 w 833438"/>
                <a:gd name="connsiteY28" fmla="*/ 833437 h 846138"/>
                <a:gd name="connsiteX29" fmla="*/ 669925 w 833438"/>
                <a:gd name="connsiteY29" fmla="*/ 828674 h 846138"/>
                <a:gd name="connsiteX30" fmla="*/ 668338 w 833438"/>
                <a:gd name="connsiteY30" fmla="*/ 828674 h 846138"/>
                <a:gd name="connsiteX31" fmla="*/ 668338 w 833438"/>
                <a:gd name="connsiteY31" fmla="*/ 830262 h 846138"/>
                <a:gd name="connsiteX32" fmla="*/ 669925 w 833438"/>
                <a:gd name="connsiteY32" fmla="*/ 833437 h 846138"/>
                <a:gd name="connsiteX33" fmla="*/ 669925 w 833438"/>
                <a:gd name="connsiteY33" fmla="*/ 835024 h 846138"/>
                <a:gd name="connsiteX34" fmla="*/ 668338 w 833438"/>
                <a:gd name="connsiteY34" fmla="*/ 835024 h 846138"/>
                <a:gd name="connsiteX35" fmla="*/ 661988 w 833438"/>
                <a:gd name="connsiteY35" fmla="*/ 839787 h 846138"/>
                <a:gd name="connsiteX36" fmla="*/ 657225 w 833438"/>
                <a:gd name="connsiteY36" fmla="*/ 839787 h 846138"/>
                <a:gd name="connsiteX37" fmla="*/ 663575 w 833438"/>
                <a:gd name="connsiteY37" fmla="*/ 828674 h 846138"/>
                <a:gd name="connsiteX38" fmla="*/ 719137 w 833438"/>
                <a:gd name="connsiteY38" fmla="*/ 822325 h 846138"/>
                <a:gd name="connsiteX39" fmla="*/ 714375 w 833438"/>
                <a:gd name="connsiteY39" fmla="*/ 823913 h 846138"/>
                <a:gd name="connsiteX40" fmla="*/ 709612 w 833438"/>
                <a:gd name="connsiteY40" fmla="*/ 823913 h 846138"/>
                <a:gd name="connsiteX41" fmla="*/ 679450 w 833438"/>
                <a:gd name="connsiteY41" fmla="*/ 817562 h 846138"/>
                <a:gd name="connsiteX42" fmla="*/ 681038 w 833438"/>
                <a:gd name="connsiteY42" fmla="*/ 819149 h 846138"/>
                <a:gd name="connsiteX43" fmla="*/ 684213 w 833438"/>
                <a:gd name="connsiteY43" fmla="*/ 822324 h 846138"/>
                <a:gd name="connsiteX44" fmla="*/ 685801 w 833438"/>
                <a:gd name="connsiteY44" fmla="*/ 823912 h 846138"/>
                <a:gd name="connsiteX45" fmla="*/ 687388 w 833438"/>
                <a:gd name="connsiteY45" fmla="*/ 830262 h 846138"/>
                <a:gd name="connsiteX46" fmla="*/ 687388 w 833438"/>
                <a:gd name="connsiteY46" fmla="*/ 833437 h 846138"/>
                <a:gd name="connsiteX47" fmla="*/ 685801 w 833438"/>
                <a:gd name="connsiteY47" fmla="*/ 833437 h 846138"/>
                <a:gd name="connsiteX48" fmla="*/ 685801 w 833438"/>
                <a:gd name="connsiteY48" fmla="*/ 830262 h 846138"/>
                <a:gd name="connsiteX49" fmla="*/ 679450 w 833438"/>
                <a:gd name="connsiteY49" fmla="*/ 819149 h 846138"/>
                <a:gd name="connsiteX50" fmla="*/ 731838 w 833438"/>
                <a:gd name="connsiteY50" fmla="*/ 815975 h 846138"/>
                <a:gd name="connsiteX51" fmla="*/ 735013 w 833438"/>
                <a:gd name="connsiteY51" fmla="*/ 815975 h 846138"/>
                <a:gd name="connsiteX52" fmla="*/ 731838 w 833438"/>
                <a:gd name="connsiteY52" fmla="*/ 817562 h 846138"/>
                <a:gd name="connsiteX53" fmla="*/ 728663 w 833438"/>
                <a:gd name="connsiteY53" fmla="*/ 819150 h 846138"/>
                <a:gd name="connsiteX54" fmla="*/ 723900 w 833438"/>
                <a:gd name="connsiteY54" fmla="*/ 822325 h 846138"/>
                <a:gd name="connsiteX55" fmla="*/ 723900 w 833438"/>
                <a:gd name="connsiteY55" fmla="*/ 819150 h 846138"/>
                <a:gd name="connsiteX56" fmla="*/ 730251 w 833438"/>
                <a:gd name="connsiteY56" fmla="*/ 817562 h 846138"/>
                <a:gd name="connsiteX57" fmla="*/ 746125 w 833438"/>
                <a:gd name="connsiteY57" fmla="*/ 808037 h 846138"/>
                <a:gd name="connsiteX58" fmla="*/ 747712 w 833438"/>
                <a:gd name="connsiteY58" fmla="*/ 808037 h 846138"/>
                <a:gd name="connsiteX59" fmla="*/ 747712 w 833438"/>
                <a:gd name="connsiteY59" fmla="*/ 811212 h 846138"/>
                <a:gd name="connsiteX60" fmla="*/ 746125 w 833438"/>
                <a:gd name="connsiteY60" fmla="*/ 811212 h 846138"/>
                <a:gd name="connsiteX61" fmla="*/ 744537 w 833438"/>
                <a:gd name="connsiteY61" fmla="*/ 811212 h 846138"/>
                <a:gd name="connsiteX62" fmla="*/ 741362 w 833438"/>
                <a:gd name="connsiteY62" fmla="*/ 811212 h 846138"/>
                <a:gd name="connsiteX63" fmla="*/ 758825 w 833438"/>
                <a:gd name="connsiteY63" fmla="*/ 801687 h 846138"/>
                <a:gd name="connsiteX64" fmla="*/ 755650 w 833438"/>
                <a:gd name="connsiteY64" fmla="*/ 806450 h 846138"/>
                <a:gd name="connsiteX65" fmla="*/ 752475 w 833438"/>
                <a:gd name="connsiteY65" fmla="*/ 806450 h 846138"/>
                <a:gd name="connsiteX66" fmla="*/ 755650 w 833438"/>
                <a:gd name="connsiteY66" fmla="*/ 804862 h 846138"/>
                <a:gd name="connsiteX67" fmla="*/ 766763 w 833438"/>
                <a:gd name="connsiteY67" fmla="*/ 795337 h 846138"/>
                <a:gd name="connsiteX68" fmla="*/ 768350 w 833438"/>
                <a:gd name="connsiteY68" fmla="*/ 795337 h 846138"/>
                <a:gd name="connsiteX69" fmla="*/ 766763 w 833438"/>
                <a:gd name="connsiteY69" fmla="*/ 796924 h 846138"/>
                <a:gd name="connsiteX70" fmla="*/ 763588 w 833438"/>
                <a:gd name="connsiteY70" fmla="*/ 796924 h 846138"/>
                <a:gd name="connsiteX71" fmla="*/ 803275 w 833438"/>
                <a:gd name="connsiteY71" fmla="*/ 739775 h 846138"/>
                <a:gd name="connsiteX72" fmla="*/ 806450 w 833438"/>
                <a:gd name="connsiteY72" fmla="*/ 739775 h 846138"/>
                <a:gd name="connsiteX73" fmla="*/ 808037 w 833438"/>
                <a:gd name="connsiteY73" fmla="*/ 739775 h 846138"/>
                <a:gd name="connsiteX74" fmla="*/ 808037 w 833438"/>
                <a:gd name="connsiteY74" fmla="*/ 741362 h 846138"/>
                <a:gd name="connsiteX75" fmla="*/ 806450 w 833438"/>
                <a:gd name="connsiteY75" fmla="*/ 741362 h 846138"/>
                <a:gd name="connsiteX76" fmla="*/ 795337 w 833438"/>
                <a:gd name="connsiteY76" fmla="*/ 763587 h 846138"/>
                <a:gd name="connsiteX77" fmla="*/ 795337 w 833438"/>
                <a:gd name="connsiteY77" fmla="*/ 766762 h 846138"/>
                <a:gd name="connsiteX78" fmla="*/ 773112 w 833438"/>
                <a:gd name="connsiteY78" fmla="*/ 793750 h 846138"/>
                <a:gd name="connsiteX79" fmla="*/ 769937 w 833438"/>
                <a:gd name="connsiteY79" fmla="*/ 793750 h 846138"/>
                <a:gd name="connsiteX80" fmla="*/ 769937 w 833438"/>
                <a:gd name="connsiteY80" fmla="*/ 790575 h 846138"/>
                <a:gd name="connsiteX81" fmla="*/ 773112 w 833438"/>
                <a:gd name="connsiteY81" fmla="*/ 790575 h 846138"/>
                <a:gd name="connsiteX82" fmla="*/ 773112 w 833438"/>
                <a:gd name="connsiteY82" fmla="*/ 788987 h 846138"/>
                <a:gd name="connsiteX83" fmla="*/ 785812 w 833438"/>
                <a:gd name="connsiteY83" fmla="*/ 773112 h 846138"/>
                <a:gd name="connsiteX84" fmla="*/ 790575 w 833438"/>
                <a:gd name="connsiteY84" fmla="*/ 766762 h 846138"/>
                <a:gd name="connsiteX85" fmla="*/ 792162 w 833438"/>
                <a:gd name="connsiteY85" fmla="*/ 762000 h 846138"/>
                <a:gd name="connsiteX86" fmla="*/ 790576 w 833438"/>
                <a:gd name="connsiteY86" fmla="*/ 762000 h 846138"/>
                <a:gd name="connsiteX87" fmla="*/ 790576 w 833438"/>
                <a:gd name="connsiteY87" fmla="*/ 760412 h 846138"/>
                <a:gd name="connsiteX88" fmla="*/ 792163 w 833438"/>
                <a:gd name="connsiteY88" fmla="*/ 761999 h 846138"/>
                <a:gd name="connsiteX89" fmla="*/ 795337 w 833438"/>
                <a:gd name="connsiteY89" fmla="*/ 757237 h 846138"/>
                <a:gd name="connsiteX90" fmla="*/ 796925 w 833438"/>
                <a:gd name="connsiteY90" fmla="*/ 750887 h 846138"/>
                <a:gd name="connsiteX91" fmla="*/ 800100 w 833438"/>
                <a:gd name="connsiteY91" fmla="*/ 746125 h 846138"/>
                <a:gd name="connsiteX92" fmla="*/ 803275 w 833438"/>
                <a:gd name="connsiteY92" fmla="*/ 741362 h 846138"/>
                <a:gd name="connsiteX93" fmla="*/ 814387 w 833438"/>
                <a:gd name="connsiteY93" fmla="*/ 722312 h 846138"/>
                <a:gd name="connsiteX94" fmla="*/ 814387 w 833438"/>
                <a:gd name="connsiteY94" fmla="*/ 723899 h 846138"/>
                <a:gd name="connsiteX95" fmla="*/ 812800 w 833438"/>
                <a:gd name="connsiteY95" fmla="*/ 730250 h 846138"/>
                <a:gd name="connsiteX96" fmla="*/ 811212 w 833438"/>
                <a:gd name="connsiteY96" fmla="*/ 733425 h 846138"/>
                <a:gd name="connsiteX97" fmla="*/ 817563 w 833438"/>
                <a:gd name="connsiteY97" fmla="*/ 688975 h 846138"/>
                <a:gd name="connsiteX98" fmla="*/ 819150 w 833438"/>
                <a:gd name="connsiteY98" fmla="*/ 690562 h 846138"/>
                <a:gd name="connsiteX99" fmla="*/ 817563 w 833438"/>
                <a:gd name="connsiteY99" fmla="*/ 696913 h 846138"/>
                <a:gd name="connsiteX100" fmla="*/ 814387 w 833438"/>
                <a:gd name="connsiteY100" fmla="*/ 696913 h 846138"/>
                <a:gd name="connsiteX101" fmla="*/ 814387 w 833438"/>
                <a:gd name="connsiteY101" fmla="*/ 695325 h 846138"/>
                <a:gd name="connsiteX102" fmla="*/ 814387 w 833438"/>
                <a:gd name="connsiteY102" fmla="*/ 692150 h 846138"/>
                <a:gd name="connsiteX103" fmla="*/ 817563 w 833438"/>
                <a:gd name="connsiteY103" fmla="*/ 690562 h 846138"/>
                <a:gd name="connsiteX104" fmla="*/ 647700 w 833438"/>
                <a:gd name="connsiteY104" fmla="*/ 668337 h 846138"/>
                <a:gd name="connsiteX105" fmla="*/ 652463 w 833438"/>
                <a:gd name="connsiteY105" fmla="*/ 668337 h 846138"/>
                <a:gd name="connsiteX106" fmla="*/ 652463 w 833438"/>
                <a:gd name="connsiteY106" fmla="*/ 673099 h 846138"/>
                <a:gd name="connsiteX107" fmla="*/ 652463 w 833438"/>
                <a:gd name="connsiteY107" fmla="*/ 674687 h 846138"/>
                <a:gd name="connsiteX108" fmla="*/ 650876 w 833438"/>
                <a:gd name="connsiteY108" fmla="*/ 674687 h 846138"/>
                <a:gd name="connsiteX109" fmla="*/ 647700 w 833438"/>
                <a:gd name="connsiteY109" fmla="*/ 669924 h 846138"/>
                <a:gd name="connsiteX110" fmla="*/ 596899 w 833438"/>
                <a:gd name="connsiteY110" fmla="*/ 592137 h 846138"/>
                <a:gd name="connsiteX111" fmla="*/ 601662 w 833438"/>
                <a:gd name="connsiteY111" fmla="*/ 595312 h 846138"/>
                <a:gd name="connsiteX112" fmla="*/ 608012 w 833438"/>
                <a:gd name="connsiteY112" fmla="*/ 595312 h 846138"/>
                <a:gd name="connsiteX113" fmla="*/ 609600 w 833438"/>
                <a:gd name="connsiteY113" fmla="*/ 595312 h 846138"/>
                <a:gd name="connsiteX114" fmla="*/ 612775 w 833438"/>
                <a:gd name="connsiteY114" fmla="*/ 595312 h 846138"/>
                <a:gd name="connsiteX115" fmla="*/ 612775 w 833438"/>
                <a:gd name="connsiteY115" fmla="*/ 596900 h 846138"/>
                <a:gd name="connsiteX116" fmla="*/ 608012 w 833438"/>
                <a:gd name="connsiteY116" fmla="*/ 600075 h 846138"/>
                <a:gd name="connsiteX117" fmla="*/ 606425 w 833438"/>
                <a:gd name="connsiteY117" fmla="*/ 600075 h 846138"/>
                <a:gd name="connsiteX118" fmla="*/ 601662 w 833438"/>
                <a:gd name="connsiteY118" fmla="*/ 596900 h 846138"/>
                <a:gd name="connsiteX119" fmla="*/ 596899 w 833438"/>
                <a:gd name="connsiteY119" fmla="*/ 595312 h 846138"/>
                <a:gd name="connsiteX120" fmla="*/ 595312 w 833438"/>
                <a:gd name="connsiteY120" fmla="*/ 584200 h 846138"/>
                <a:gd name="connsiteX121" fmla="*/ 596899 w 833438"/>
                <a:gd name="connsiteY121" fmla="*/ 585787 h 846138"/>
                <a:gd name="connsiteX122" fmla="*/ 596899 w 833438"/>
                <a:gd name="connsiteY122" fmla="*/ 590550 h 846138"/>
                <a:gd name="connsiteX123" fmla="*/ 596899 w 833438"/>
                <a:gd name="connsiteY123" fmla="*/ 592137 h 846138"/>
                <a:gd name="connsiteX124" fmla="*/ 595312 w 833438"/>
                <a:gd name="connsiteY124" fmla="*/ 590550 h 846138"/>
                <a:gd name="connsiteX125" fmla="*/ 596900 w 833438"/>
                <a:gd name="connsiteY125" fmla="*/ 563562 h 846138"/>
                <a:gd name="connsiteX126" fmla="*/ 598487 w 833438"/>
                <a:gd name="connsiteY126" fmla="*/ 563562 h 846138"/>
                <a:gd name="connsiteX127" fmla="*/ 601662 w 833438"/>
                <a:gd name="connsiteY127" fmla="*/ 563562 h 846138"/>
                <a:gd name="connsiteX128" fmla="*/ 603250 w 833438"/>
                <a:gd name="connsiteY128" fmla="*/ 568324 h 846138"/>
                <a:gd name="connsiteX129" fmla="*/ 606425 w 833438"/>
                <a:gd name="connsiteY129" fmla="*/ 581025 h 846138"/>
                <a:gd name="connsiteX130" fmla="*/ 608013 w 833438"/>
                <a:gd name="connsiteY130" fmla="*/ 590550 h 846138"/>
                <a:gd name="connsiteX131" fmla="*/ 606425 w 833438"/>
                <a:gd name="connsiteY131" fmla="*/ 590550 h 846138"/>
                <a:gd name="connsiteX132" fmla="*/ 606425 w 833438"/>
                <a:gd name="connsiteY132" fmla="*/ 588962 h 846138"/>
                <a:gd name="connsiteX133" fmla="*/ 606425 w 833438"/>
                <a:gd name="connsiteY133" fmla="*/ 585787 h 846138"/>
                <a:gd name="connsiteX134" fmla="*/ 603250 w 833438"/>
                <a:gd name="connsiteY134" fmla="*/ 584200 h 846138"/>
                <a:gd name="connsiteX135" fmla="*/ 601662 w 833438"/>
                <a:gd name="connsiteY135" fmla="*/ 573087 h 846138"/>
                <a:gd name="connsiteX136" fmla="*/ 601662 w 833438"/>
                <a:gd name="connsiteY136" fmla="*/ 569912 h 846138"/>
                <a:gd name="connsiteX137" fmla="*/ 598487 w 833438"/>
                <a:gd name="connsiteY137" fmla="*/ 569912 h 846138"/>
                <a:gd name="connsiteX138" fmla="*/ 598487 w 833438"/>
                <a:gd name="connsiteY138" fmla="*/ 568324 h 846138"/>
                <a:gd name="connsiteX139" fmla="*/ 596900 w 833438"/>
                <a:gd name="connsiteY139" fmla="*/ 566737 h 846138"/>
                <a:gd name="connsiteX140" fmla="*/ 587375 w 833438"/>
                <a:gd name="connsiteY140" fmla="*/ 563562 h 846138"/>
                <a:gd name="connsiteX141" fmla="*/ 590550 w 833438"/>
                <a:gd name="connsiteY141" fmla="*/ 563562 h 846138"/>
                <a:gd name="connsiteX142" fmla="*/ 592138 w 833438"/>
                <a:gd name="connsiteY142" fmla="*/ 573087 h 846138"/>
                <a:gd name="connsiteX143" fmla="*/ 592138 w 833438"/>
                <a:gd name="connsiteY143" fmla="*/ 574675 h 846138"/>
                <a:gd name="connsiteX144" fmla="*/ 590550 w 833438"/>
                <a:gd name="connsiteY144" fmla="*/ 569912 h 846138"/>
                <a:gd name="connsiteX145" fmla="*/ 587375 w 833438"/>
                <a:gd name="connsiteY145" fmla="*/ 566737 h 846138"/>
                <a:gd name="connsiteX146" fmla="*/ 585787 w 833438"/>
                <a:gd name="connsiteY146" fmla="*/ 550862 h 846138"/>
                <a:gd name="connsiteX147" fmla="*/ 587375 w 833438"/>
                <a:gd name="connsiteY147" fmla="*/ 552450 h 846138"/>
                <a:gd name="connsiteX148" fmla="*/ 587375 w 833438"/>
                <a:gd name="connsiteY148" fmla="*/ 555625 h 846138"/>
                <a:gd name="connsiteX149" fmla="*/ 587375 w 833438"/>
                <a:gd name="connsiteY149" fmla="*/ 557212 h 846138"/>
                <a:gd name="connsiteX150" fmla="*/ 587375 w 833438"/>
                <a:gd name="connsiteY150" fmla="*/ 558800 h 846138"/>
                <a:gd name="connsiteX151" fmla="*/ 587375 w 833438"/>
                <a:gd name="connsiteY151" fmla="*/ 561975 h 846138"/>
                <a:gd name="connsiteX152" fmla="*/ 585787 w 833438"/>
                <a:gd name="connsiteY152" fmla="*/ 561975 h 846138"/>
                <a:gd name="connsiteX153" fmla="*/ 585787 w 833438"/>
                <a:gd name="connsiteY153" fmla="*/ 558800 h 846138"/>
                <a:gd name="connsiteX154" fmla="*/ 541337 w 833438"/>
                <a:gd name="connsiteY154" fmla="*/ 468312 h 846138"/>
                <a:gd name="connsiteX155" fmla="*/ 542924 w 833438"/>
                <a:gd name="connsiteY155" fmla="*/ 468312 h 846138"/>
                <a:gd name="connsiteX156" fmla="*/ 546099 w 833438"/>
                <a:gd name="connsiteY156" fmla="*/ 468312 h 846138"/>
                <a:gd name="connsiteX157" fmla="*/ 546099 w 833438"/>
                <a:gd name="connsiteY157" fmla="*/ 469899 h 846138"/>
                <a:gd name="connsiteX158" fmla="*/ 552450 w 833438"/>
                <a:gd name="connsiteY158" fmla="*/ 479424 h 846138"/>
                <a:gd name="connsiteX159" fmla="*/ 552450 w 833438"/>
                <a:gd name="connsiteY159" fmla="*/ 481012 h 846138"/>
                <a:gd name="connsiteX160" fmla="*/ 550862 w 833438"/>
                <a:gd name="connsiteY160" fmla="*/ 481012 h 846138"/>
                <a:gd name="connsiteX161" fmla="*/ 541337 w 833438"/>
                <a:gd name="connsiteY161" fmla="*/ 469899 h 846138"/>
                <a:gd name="connsiteX162" fmla="*/ 795338 w 833438"/>
                <a:gd name="connsiteY162" fmla="*/ 442689 h 846138"/>
                <a:gd name="connsiteX163" fmla="*/ 795338 w 833438"/>
                <a:gd name="connsiteY163" fmla="*/ 446087 h 846138"/>
                <a:gd name="connsiteX164" fmla="*/ 796329 w 833438"/>
                <a:gd name="connsiteY164" fmla="*/ 446087 h 846138"/>
                <a:gd name="connsiteX165" fmla="*/ 792163 w 833438"/>
                <a:gd name="connsiteY165" fmla="*/ 431803 h 846138"/>
                <a:gd name="connsiteX166" fmla="*/ 792163 w 833438"/>
                <a:gd name="connsiteY166" fmla="*/ 436562 h 846138"/>
                <a:gd name="connsiteX167" fmla="*/ 794631 w 833438"/>
                <a:gd name="connsiteY167" fmla="*/ 440264 h 846138"/>
                <a:gd name="connsiteX168" fmla="*/ 525463 w 833438"/>
                <a:gd name="connsiteY168" fmla="*/ 401637 h 846138"/>
                <a:gd name="connsiteX169" fmla="*/ 525463 w 833438"/>
                <a:gd name="connsiteY169" fmla="*/ 403225 h 846138"/>
                <a:gd name="connsiteX170" fmla="*/ 523875 w 833438"/>
                <a:gd name="connsiteY170" fmla="*/ 406400 h 846138"/>
                <a:gd name="connsiteX171" fmla="*/ 762000 w 833438"/>
                <a:gd name="connsiteY171" fmla="*/ 357187 h 846138"/>
                <a:gd name="connsiteX172" fmla="*/ 763588 w 833438"/>
                <a:gd name="connsiteY172" fmla="*/ 361950 h 846138"/>
                <a:gd name="connsiteX173" fmla="*/ 762000 w 833438"/>
                <a:gd name="connsiteY173" fmla="*/ 358775 h 846138"/>
                <a:gd name="connsiteX174" fmla="*/ 769938 w 833438"/>
                <a:gd name="connsiteY174" fmla="*/ 314325 h 846138"/>
                <a:gd name="connsiteX175" fmla="*/ 773113 w 833438"/>
                <a:gd name="connsiteY175" fmla="*/ 319087 h 846138"/>
                <a:gd name="connsiteX176" fmla="*/ 773113 w 833438"/>
                <a:gd name="connsiteY176" fmla="*/ 320675 h 846138"/>
                <a:gd name="connsiteX177" fmla="*/ 774701 w 833438"/>
                <a:gd name="connsiteY177" fmla="*/ 323850 h 846138"/>
                <a:gd name="connsiteX178" fmla="*/ 777876 w 833438"/>
                <a:gd name="connsiteY178" fmla="*/ 330200 h 846138"/>
                <a:gd name="connsiteX179" fmla="*/ 777876 w 833438"/>
                <a:gd name="connsiteY179" fmla="*/ 331787 h 846138"/>
                <a:gd name="connsiteX180" fmla="*/ 777876 w 833438"/>
                <a:gd name="connsiteY180" fmla="*/ 334962 h 846138"/>
                <a:gd name="connsiteX181" fmla="*/ 774701 w 833438"/>
                <a:gd name="connsiteY181" fmla="*/ 336550 h 846138"/>
                <a:gd name="connsiteX182" fmla="*/ 773113 w 833438"/>
                <a:gd name="connsiteY182" fmla="*/ 336550 h 846138"/>
                <a:gd name="connsiteX183" fmla="*/ 769938 w 833438"/>
                <a:gd name="connsiteY183" fmla="*/ 338137 h 846138"/>
                <a:gd name="connsiteX184" fmla="*/ 769938 w 833438"/>
                <a:gd name="connsiteY184" fmla="*/ 347662 h 846138"/>
                <a:gd name="connsiteX185" fmla="*/ 769938 w 833438"/>
                <a:gd name="connsiteY185" fmla="*/ 363537 h 846138"/>
                <a:gd name="connsiteX186" fmla="*/ 769938 w 833438"/>
                <a:gd name="connsiteY186" fmla="*/ 368300 h 846138"/>
                <a:gd name="connsiteX187" fmla="*/ 769938 w 833438"/>
                <a:gd name="connsiteY187" fmla="*/ 369887 h 846138"/>
                <a:gd name="connsiteX188" fmla="*/ 773113 w 833438"/>
                <a:gd name="connsiteY188" fmla="*/ 374650 h 846138"/>
                <a:gd name="connsiteX189" fmla="*/ 773113 w 833438"/>
                <a:gd name="connsiteY189" fmla="*/ 379412 h 846138"/>
                <a:gd name="connsiteX190" fmla="*/ 774701 w 833438"/>
                <a:gd name="connsiteY190" fmla="*/ 381000 h 846138"/>
                <a:gd name="connsiteX191" fmla="*/ 777876 w 833438"/>
                <a:gd name="connsiteY191" fmla="*/ 387350 h 846138"/>
                <a:gd name="connsiteX192" fmla="*/ 781051 w 833438"/>
                <a:gd name="connsiteY192" fmla="*/ 396875 h 846138"/>
                <a:gd name="connsiteX193" fmla="*/ 784226 w 833438"/>
                <a:gd name="connsiteY193" fmla="*/ 401637 h 846138"/>
                <a:gd name="connsiteX194" fmla="*/ 784226 w 833438"/>
                <a:gd name="connsiteY194" fmla="*/ 403225 h 846138"/>
                <a:gd name="connsiteX195" fmla="*/ 785813 w 833438"/>
                <a:gd name="connsiteY195" fmla="*/ 406400 h 846138"/>
                <a:gd name="connsiteX196" fmla="*/ 785813 w 833438"/>
                <a:gd name="connsiteY196" fmla="*/ 407987 h 846138"/>
                <a:gd name="connsiteX197" fmla="*/ 785813 w 833438"/>
                <a:gd name="connsiteY197" fmla="*/ 409575 h 846138"/>
                <a:gd name="connsiteX198" fmla="*/ 779463 w 833438"/>
                <a:gd name="connsiteY198" fmla="*/ 398462 h 846138"/>
                <a:gd name="connsiteX199" fmla="*/ 774701 w 833438"/>
                <a:gd name="connsiteY199" fmla="*/ 387350 h 846138"/>
                <a:gd name="connsiteX200" fmla="*/ 773113 w 833438"/>
                <a:gd name="connsiteY200" fmla="*/ 385762 h 846138"/>
                <a:gd name="connsiteX201" fmla="*/ 769938 w 833438"/>
                <a:gd name="connsiteY201" fmla="*/ 379412 h 846138"/>
                <a:gd name="connsiteX202" fmla="*/ 769938 w 833438"/>
                <a:gd name="connsiteY202" fmla="*/ 379412 h 846138"/>
                <a:gd name="connsiteX203" fmla="*/ 769938 w 833438"/>
                <a:gd name="connsiteY203" fmla="*/ 376237 h 846138"/>
                <a:gd name="connsiteX204" fmla="*/ 769938 w 833438"/>
                <a:gd name="connsiteY204" fmla="*/ 374650 h 846138"/>
                <a:gd name="connsiteX205" fmla="*/ 768351 w 833438"/>
                <a:gd name="connsiteY205" fmla="*/ 373062 h 846138"/>
                <a:gd name="connsiteX206" fmla="*/ 768351 w 833438"/>
                <a:gd name="connsiteY206" fmla="*/ 365125 h 846138"/>
                <a:gd name="connsiteX207" fmla="*/ 768351 w 833438"/>
                <a:gd name="connsiteY207" fmla="*/ 363537 h 846138"/>
                <a:gd name="connsiteX208" fmla="*/ 768351 w 833438"/>
                <a:gd name="connsiteY208" fmla="*/ 350837 h 846138"/>
                <a:gd name="connsiteX209" fmla="*/ 768351 w 833438"/>
                <a:gd name="connsiteY209" fmla="*/ 341312 h 846138"/>
                <a:gd name="connsiteX210" fmla="*/ 768351 w 833438"/>
                <a:gd name="connsiteY210" fmla="*/ 338137 h 846138"/>
                <a:gd name="connsiteX211" fmla="*/ 768351 w 833438"/>
                <a:gd name="connsiteY211" fmla="*/ 336550 h 846138"/>
                <a:gd name="connsiteX212" fmla="*/ 769938 w 833438"/>
                <a:gd name="connsiteY212" fmla="*/ 331787 h 846138"/>
                <a:gd name="connsiteX213" fmla="*/ 769938 w 833438"/>
                <a:gd name="connsiteY213" fmla="*/ 327025 h 846138"/>
                <a:gd name="connsiteX214" fmla="*/ 769938 w 833438"/>
                <a:gd name="connsiteY214" fmla="*/ 325437 h 846138"/>
                <a:gd name="connsiteX215" fmla="*/ 769938 w 833438"/>
                <a:gd name="connsiteY215" fmla="*/ 323850 h 846138"/>
                <a:gd name="connsiteX216" fmla="*/ 769938 w 833438"/>
                <a:gd name="connsiteY216" fmla="*/ 320675 h 846138"/>
                <a:gd name="connsiteX217" fmla="*/ 769938 w 833438"/>
                <a:gd name="connsiteY217" fmla="*/ 319087 h 846138"/>
                <a:gd name="connsiteX218" fmla="*/ 763588 w 833438"/>
                <a:gd name="connsiteY218" fmla="*/ 314325 h 846138"/>
                <a:gd name="connsiteX219" fmla="*/ 766763 w 833438"/>
                <a:gd name="connsiteY219" fmla="*/ 314325 h 846138"/>
                <a:gd name="connsiteX220" fmla="*/ 768350 w 833438"/>
                <a:gd name="connsiteY220" fmla="*/ 315912 h 846138"/>
                <a:gd name="connsiteX221" fmla="*/ 768350 w 833438"/>
                <a:gd name="connsiteY221" fmla="*/ 319087 h 846138"/>
                <a:gd name="connsiteX222" fmla="*/ 768350 w 833438"/>
                <a:gd name="connsiteY222" fmla="*/ 320675 h 846138"/>
                <a:gd name="connsiteX223" fmla="*/ 768350 w 833438"/>
                <a:gd name="connsiteY223" fmla="*/ 323850 h 846138"/>
                <a:gd name="connsiteX224" fmla="*/ 766763 w 833438"/>
                <a:gd name="connsiteY224" fmla="*/ 325437 h 846138"/>
                <a:gd name="connsiteX225" fmla="*/ 766763 w 833438"/>
                <a:gd name="connsiteY225" fmla="*/ 327025 h 846138"/>
                <a:gd name="connsiteX226" fmla="*/ 763588 w 833438"/>
                <a:gd name="connsiteY226" fmla="*/ 330200 h 846138"/>
                <a:gd name="connsiteX227" fmla="*/ 763588 w 833438"/>
                <a:gd name="connsiteY227" fmla="*/ 334962 h 846138"/>
                <a:gd name="connsiteX228" fmla="*/ 762000 w 833438"/>
                <a:gd name="connsiteY228" fmla="*/ 342900 h 846138"/>
                <a:gd name="connsiteX229" fmla="*/ 763588 w 833438"/>
                <a:gd name="connsiteY229" fmla="*/ 350837 h 846138"/>
                <a:gd name="connsiteX230" fmla="*/ 762000 w 833438"/>
                <a:gd name="connsiteY230" fmla="*/ 354012 h 846138"/>
                <a:gd name="connsiteX231" fmla="*/ 762000 w 833438"/>
                <a:gd name="connsiteY231" fmla="*/ 357187 h 846138"/>
                <a:gd name="connsiteX232" fmla="*/ 757238 w 833438"/>
                <a:gd name="connsiteY232" fmla="*/ 342900 h 846138"/>
                <a:gd name="connsiteX233" fmla="*/ 755650 w 833438"/>
                <a:gd name="connsiteY233" fmla="*/ 330200 h 846138"/>
                <a:gd name="connsiteX234" fmla="*/ 755650 w 833438"/>
                <a:gd name="connsiteY234" fmla="*/ 323850 h 846138"/>
                <a:gd name="connsiteX235" fmla="*/ 755650 w 833438"/>
                <a:gd name="connsiteY235" fmla="*/ 320675 h 846138"/>
                <a:gd name="connsiteX236" fmla="*/ 758825 w 833438"/>
                <a:gd name="connsiteY236" fmla="*/ 315912 h 846138"/>
                <a:gd name="connsiteX237" fmla="*/ 769409 w 833438"/>
                <a:gd name="connsiteY237" fmla="*/ 312737 h 846138"/>
                <a:gd name="connsiteX238" fmla="*/ 769938 w 833438"/>
                <a:gd name="connsiteY238" fmla="*/ 312737 h 846138"/>
                <a:gd name="connsiteX239" fmla="*/ 769938 w 833438"/>
                <a:gd name="connsiteY239" fmla="*/ 314325 h 846138"/>
                <a:gd name="connsiteX240" fmla="*/ 287337 w 833438"/>
                <a:gd name="connsiteY240" fmla="*/ 180974 h 846138"/>
                <a:gd name="connsiteX241" fmla="*/ 288925 w 833438"/>
                <a:gd name="connsiteY241" fmla="*/ 180974 h 846138"/>
                <a:gd name="connsiteX242" fmla="*/ 287337 w 833438"/>
                <a:gd name="connsiteY242" fmla="*/ 182562 h 846138"/>
                <a:gd name="connsiteX243" fmla="*/ 285750 w 833438"/>
                <a:gd name="connsiteY243" fmla="*/ 182562 h 846138"/>
                <a:gd name="connsiteX244" fmla="*/ 282575 w 833438"/>
                <a:gd name="connsiteY244" fmla="*/ 182562 h 846138"/>
                <a:gd name="connsiteX245" fmla="*/ 276225 w 833438"/>
                <a:gd name="connsiteY245" fmla="*/ 179387 h 846138"/>
                <a:gd name="connsiteX246" fmla="*/ 277812 w 833438"/>
                <a:gd name="connsiteY246" fmla="*/ 179387 h 846138"/>
                <a:gd name="connsiteX247" fmla="*/ 280987 w 833438"/>
                <a:gd name="connsiteY247" fmla="*/ 180974 h 846138"/>
                <a:gd name="connsiteX248" fmla="*/ 282575 w 833438"/>
                <a:gd name="connsiteY248" fmla="*/ 182562 h 846138"/>
                <a:gd name="connsiteX249" fmla="*/ 280987 w 833438"/>
                <a:gd name="connsiteY249" fmla="*/ 182562 h 846138"/>
                <a:gd name="connsiteX250" fmla="*/ 277812 w 833438"/>
                <a:gd name="connsiteY250" fmla="*/ 180974 h 846138"/>
                <a:gd name="connsiteX251" fmla="*/ 276225 w 833438"/>
                <a:gd name="connsiteY251" fmla="*/ 180974 h 846138"/>
                <a:gd name="connsiteX252" fmla="*/ 265112 w 833438"/>
                <a:gd name="connsiteY252" fmla="*/ 171450 h 846138"/>
                <a:gd name="connsiteX253" fmla="*/ 271462 w 833438"/>
                <a:gd name="connsiteY253" fmla="*/ 171450 h 846138"/>
                <a:gd name="connsiteX254" fmla="*/ 274637 w 833438"/>
                <a:gd name="connsiteY254" fmla="*/ 171450 h 846138"/>
                <a:gd name="connsiteX255" fmla="*/ 276224 w 833438"/>
                <a:gd name="connsiteY255" fmla="*/ 171450 h 846138"/>
                <a:gd name="connsiteX256" fmla="*/ 277812 w 833438"/>
                <a:gd name="connsiteY256" fmla="*/ 171450 h 846138"/>
                <a:gd name="connsiteX257" fmla="*/ 277812 w 833438"/>
                <a:gd name="connsiteY257" fmla="*/ 174625 h 846138"/>
                <a:gd name="connsiteX258" fmla="*/ 276224 w 833438"/>
                <a:gd name="connsiteY258" fmla="*/ 179388 h 846138"/>
                <a:gd name="connsiteX259" fmla="*/ 274637 w 833438"/>
                <a:gd name="connsiteY259" fmla="*/ 179388 h 846138"/>
                <a:gd name="connsiteX260" fmla="*/ 271462 w 833438"/>
                <a:gd name="connsiteY260" fmla="*/ 179388 h 846138"/>
                <a:gd name="connsiteX261" fmla="*/ 266699 w 833438"/>
                <a:gd name="connsiteY261" fmla="*/ 174625 h 846138"/>
                <a:gd name="connsiteX262" fmla="*/ 320675 w 833438"/>
                <a:gd name="connsiteY262" fmla="*/ 163512 h 846138"/>
                <a:gd name="connsiteX263" fmla="*/ 311150 w 833438"/>
                <a:gd name="connsiteY263" fmla="*/ 169862 h 846138"/>
                <a:gd name="connsiteX264" fmla="*/ 307975 w 833438"/>
                <a:gd name="connsiteY264" fmla="*/ 171449 h 846138"/>
                <a:gd name="connsiteX265" fmla="*/ 325437 w 833438"/>
                <a:gd name="connsiteY265" fmla="*/ 158749 h 846138"/>
                <a:gd name="connsiteX266" fmla="*/ 327024 w 833438"/>
                <a:gd name="connsiteY266" fmla="*/ 158749 h 846138"/>
                <a:gd name="connsiteX267" fmla="*/ 325437 w 833438"/>
                <a:gd name="connsiteY267" fmla="*/ 160337 h 846138"/>
                <a:gd name="connsiteX268" fmla="*/ 322262 w 833438"/>
                <a:gd name="connsiteY268" fmla="*/ 160337 h 846138"/>
                <a:gd name="connsiteX269" fmla="*/ 242887 w 833438"/>
                <a:gd name="connsiteY269" fmla="*/ 153987 h 846138"/>
                <a:gd name="connsiteX270" fmla="*/ 244475 w 833438"/>
                <a:gd name="connsiteY270" fmla="*/ 158750 h 846138"/>
                <a:gd name="connsiteX271" fmla="*/ 244475 w 833438"/>
                <a:gd name="connsiteY271" fmla="*/ 163512 h 846138"/>
                <a:gd name="connsiteX272" fmla="*/ 244475 w 833438"/>
                <a:gd name="connsiteY272" fmla="*/ 165100 h 846138"/>
                <a:gd name="connsiteX273" fmla="*/ 247650 w 833438"/>
                <a:gd name="connsiteY273" fmla="*/ 168275 h 846138"/>
                <a:gd name="connsiteX274" fmla="*/ 247650 w 833438"/>
                <a:gd name="connsiteY274" fmla="*/ 169862 h 846138"/>
                <a:gd name="connsiteX275" fmla="*/ 249237 w 833438"/>
                <a:gd name="connsiteY275" fmla="*/ 171450 h 846138"/>
                <a:gd name="connsiteX276" fmla="*/ 247650 w 833438"/>
                <a:gd name="connsiteY276" fmla="*/ 171450 h 846138"/>
                <a:gd name="connsiteX277" fmla="*/ 244475 w 833438"/>
                <a:gd name="connsiteY277" fmla="*/ 169862 h 846138"/>
                <a:gd name="connsiteX278" fmla="*/ 244475 w 833438"/>
                <a:gd name="connsiteY278" fmla="*/ 168275 h 846138"/>
                <a:gd name="connsiteX279" fmla="*/ 242887 w 833438"/>
                <a:gd name="connsiteY279" fmla="*/ 163512 h 846138"/>
                <a:gd name="connsiteX280" fmla="*/ 242887 w 833438"/>
                <a:gd name="connsiteY280" fmla="*/ 158750 h 846138"/>
                <a:gd name="connsiteX281" fmla="*/ 242887 w 833438"/>
                <a:gd name="connsiteY281" fmla="*/ 157162 h 846138"/>
                <a:gd name="connsiteX282" fmla="*/ 334962 w 833438"/>
                <a:gd name="connsiteY282" fmla="*/ 153987 h 846138"/>
                <a:gd name="connsiteX283" fmla="*/ 334962 w 833438"/>
                <a:gd name="connsiteY283" fmla="*/ 157162 h 846138"/>
                <a:gd name="connsiteX284" fmla="*/ 331787 w 833438"/>
                <a:gd name="connsiteY284" fmla="*/ 158749 h 846138"/>
                <a:gd name="connsiteX285" fmla="*/ 330199 w 833438"/>
                <a:gd name="connsiteY285" fmla="*/ 158749 h 846138"/>
                <a:gd name="connsiteX286" fmla="*/ 331787 w 833438"/>
                <a:gd name="connsiteY286" fmla="*/ 157162 h 846138"/>
                <a:gd name="connsiteX287" fmla="*/ 242887 w 833438"/>
                <a:gd name="connsiteY287" fmla="*/ 147637 h 846138"/>
                <a:gd name="connsiteX288" fmla="*/ 244475 w 833438"/>
                <a:gd name="connsiteY288" fmla="*/ 147637 h 846138"/>
                <a:gd name="connsiteX289" fmla="*/ 244475 w 833438"/>
                <a:gd name="connsiteY289" fmla="*/ 149225 h 846138"/>
                <a:gd name="connsiteX290" fmla="*/ 244475 w 833438"/>
                <a:gd name="connsiteY290" fmla="*/ 152400 h 846138"/>
                <a:gd name="connsiteX291" fmla="*/ 242887 w 833438"/>
                <a:gd name="connsiteY291" fmla="*/ 153987 h 846138"/>
                <a:gd name="connsiteX292" fmla="*/ 242887 w 833438"/>
                <a:gd name="connsiteY292" fmla="*/ 149225 h 846138"/>
                <a:gd name="connsiteX293" fmla="*/ 3175 w 833438"/>
                <a:gd name="connsiteY293" fmla="*/ 0 h 846138"/>
                <a:gd name="connsiteX294" fmla="*/ 6350 w 833438"/>
                <a:gd name="connsiteY294" fmla="*/ 0 h 846138"/>
                <a:gd name="connsiteX295" fmla="*/ 252412 w 833438"/>
                <a:gd name="connsiteY295" fmla="*/ 0 h 846138"/>
                <a:gd name="connsiteX296" fmla="*/ 285750 w 833438"/>
                <a:gd name="connsiteY296" fmla="*/ 0 h 846138"/>
                <a:gd name="connsiteX297" fmla="*/ 287337 w 833438"/>
                <a:gd name="connsiteY297" fmla="*/ 0 h 846138"/>
                <a:gd name="connsiteX298" fmla="*/ 287337 w 833438"/>
                <a:gd name="connsiteY298" fmla="*/ 3175 h 846138"/>
                <a:gd name="connsiteX299" fmla="*/ 292100 w 833438"/>
                <a:gd name="connsiteY299" fmla="*/ 9525 h 846138"/>
                <a:gd name="connsiteX300" fmla="*/ 296862 w 833438"/>
                <a:gd name="connsiteY300" fmla="*/ 25400 h 846138"/>
                <a:gd name="connsiteX301" fmla="*/ 296862 w 833438"/>
                <a:gd name="connsiteY301" fmla="*/ 26987 h 846138"/>
                <a:gd name="connsiteX302" fmla="*/ 296862 w 833438"/>
                <a:gd name="connsiteY302" fmla="*/ 31750 h 846138"/>
                <a:gd name="connsiteX303" fmla="*/ 298450 w 833438"/>
                <a:gd name="connsiteY303" fmla="*/ 33337 h 846138"/>
                <a:gd name="connsiteX304" fmla="*/ 303212 w 833438"/>
                <a:gd name="connsiteY304" fmla="*/ 36512 h 846138"/>
                <a:gd name="connsiteX305" fmla="*/ 346075 w 833438"/>
                <a:gd name="connsiteY305" fmla="*/ 38100 h 846138"/>
                <a:gd name="connsiteX306" fmla="*/ 349250 w 833438"/>
                <a:gd name="connsiteY306" fmla="*/ 38100 h 846138"/>
                <a:gd name="connsiteX307" fmla="*/ 371475 w 833438"/>
                <a:gd name="connsiteY307" fmla="*/ 41275 h 846138"/>
                <a:gd name="connsiteX308" fmla="*/ 427038 w 833438"/>
                <a:gd name="connsiteY308" fmla="*/ 44450 h 846138"/>
                <a:gd name="connsiteX309" fmla="*/ 465138 w 833438"/>
                <a:gd name="connsiteY309" fmla="*/ 47625 h 846138"/>
                <a:gd name="connsiteX310" fmla="*/ 503238 w 833438"/>
                <a:gd name="connsiteY310" fmla="*/ 49212 h 846138"/>
                <a:gd name="connsiteX311" fmla="*/ 515938 w 833438"/>
                <a:gd name="connsiteY311" fmla="*/ 52387 h 846138"/>
                <a:gd name="connsiteX312" fmla="*/ 554038 w 833438"/>
                <a:gd name="connsiteY312" fmla="*/ 53975 h 846138"/>
                <a:gd name="connsiteX313" fmla="*/ 565150 w 833438"/>
                <a:gd name="connsiteY313" fmla="*/ 53975 h 846138"/>
                <a:gd name="connsiteX314" fmla="*/ 579438 w 833438"/>
                <a:gd name="connsiteY314" fmla="*/ 55562 h 846138"/>
                <a:gd name="connsiteX315" fmla="*/ 590550 w 833438"/>
                <a:gd name="connsiteY315" fmla="*/ 55562 h 846138"/>
                <a:gd name="connsiteX316" fmla="*/ 595313 w 833438"/>
                <a:gd name="connsiteY316" fmla="*/ 66675 h 846138"/>
                <a:gd name="connsiteX317" fmla="*/ 595313 w 833438"/>
                <a:gd name="connsiteY317" fmla="*/ 69850 h 846138"/>
                <a:gd name="connsiteX318" fmla="*/ 592138 w 833438"/>
                <a:gd name="connsiteY318" fmla="*/ 71437 h 846138"/>
                <a:gd name="connsiteX319" fmla="*/ 592138 w 833438"/>
                <a:gd name="connsiteY319" fmla="*/ 74612 h 846138"/>
                <a:gd name="connsiteX320" fmla="*/ 592138 w 833438"/>
                <a:gd name="connsiteY320" fmla="*/ 76200 h 846138"/>
                <a:gd name="connsiteX321" fmla="*/ 595313 w 833438"/>
                <a:gd name="connsiteY321" fmla="*/ 80962 h 846138"/>
                <a:gd name="connsiteX322" fmla="*/ 595313 w 833438"/>
                <a:gd name="connsiteY322" fmla="*/ 82550 h 846138"/>
                <a:gd name="connsiteX323" fmla="*/ 596900 w 833438"/>
                <a:gd name="connsiteY323" fmla="*/ 82550 h 846138"/>
                <a:gd name="connsiteX324" fmla="*/ 606425 w 833438"/>
                <a:gd name="connsiteY324" fmla="*/ 82550 h 846138"/>
                <a:gd name="connsiteX325" fmla="*/ 609600 w 833438"/>
                <a:gd name="connsiteY325" fmla="*/ 82550 h 846138"/>
                <a:gd name="connsiteX326" fmla="*/ 609600 w 833438"/>
                <a:gd name="connsiteY326" fmla="*/ 80962 h 846138"/>
                <a:gd name="connsiteX327" fmla="*/ 614363 w 833438"/>
                <a:gd name="connsiteY327" fmla="*/ 60325 h 846138"/>
                <a:gd name="connsiteX328" fmla="*/ 614363 w 833438"/>
                <a:gd name="connsiteY328" fmla="*/ 55562 h 846138"/>
                <a:gd name="connsiteX329" fmla="*/ 614363 w 833438"/>
                <a:gd name="connsiteY329" fmla="*/ 53975 h 846138"/>
                <a:gd name="connsiteX330" fmla="*/ 614363 w 833438"/>
                <a:gd name="connsiteY330" fmla="*/ 52387 h 846138"/>
                <a:gd name="connsiteX331" fmla="*/ 612775 w 833438"/>
                <a:gd name="connsiteY331" fmla="*/ 49212 h 846138"/>
                <a:gd name="connsiteX332" fmla="*/ 612775 w 833438"/>
                <a:gd name="connsiteY332" fmla="*/ 47625 h 846138"/>
                <a:gd name="connsiteX333" fmla="*/ 609600 w 833438"/>
                <a:gd name="connsiteY333" fmla="*/ 47625 h 846138"/>
                <a:gd name="connsiteX334" fmla="*/ 609600 w 833438"/>
                <a:gd name="connsiteY334" fmla="*/ 44450 h 846138"/>
                <a:gd name="connsiteX335" fmla="*/ 609600 w 833438"/>
                <a:gd name="connsiteY335" fmla="*/ 42862 h 846138"/>
                <a:gd name="connsiteX336" fmla="*/ 612775 w 833438"/>
                <a:gd name="connsiteY336" fmla="*/ 33337 h 846138"/>
                <a:gd name="connsiteX337" fmla="*/ 614363 w 833438"/>
                <a:gd name="connsiteY337" fmla="*/ 26987 h 846138"/>
                <a:gd name="connsiteX338" fmla="*/ 619125 w 833438"/>
                <a:gd name="connsiteY338" fmla="*/ 22225 h 846138"/>
                <a:gd name="connsiteX339" fmla="*/ 620713 w 833438"/>
                <a:gd name="connsiteY339" fmla="*/ 22225 h 846138"/>
                <a:gd name="connsiteX340" fmla="*/ 625475 w 833438"/>
                <a:gd name="connsiteY340" fmla="*/ 22225 h 846138"/>
                <a:gd name="connsiteX341" fmla="*/ 636588 w 833438"/>
                <a:gd name="connsiteY341" fmla="*/ 26987 h 846138"/>
                <a:gd name="connsiteX342" fmla="*/ 639763 w 833438"/>
                <a:gd name="connsiteY342" fmla="*/ 30162 h 846138"/>
                <a:gd name="connsiteX343" fmla="*/ 641351 w 833438"/>
                <a:gd name="connsiteY343" fmla="*/ 30162 h 846138"/>
                <a:gd name="connsiteX344" fmla="*/ 646113 w 833438"/>
                <a:gd name="connsiteY344" fmla="*/ 33337 h 846138"/>
                <a:gd name="connsiteX345" fmla="*/ 663576 w 833438"/>
                <a:gd name="connsiteY345" fmla="*/ 38100 h 846138"/>
                <a:gd name="connsiteX346" fmla="*/ 665163 w 833438"/>
                <a:gd name="connsiteY346" fmla="*/ 38100 h 846138"/>
                <a:gd name="connsiteX347" fmla="*/ 669926 w 833438"/>
                <a:gd name="connsiteY347" fmla="*/ 36512 h 846138"/>
                <a:gd name="connsiteX348" fmla="*/ 674688 w 833438"/>
                <a:gd name="connsiteY348" fmla="*/ 41275 h 846138"/>
                <a:gd name="connsiteX349" fmla="*/ 679451 w 833438"/>
                <a:gd name="connsiteY349" fmla="*/ 47625 h 846138"/>
                <a:gd name="connsiteX350" fmla="*/ 676276 w 833438"/>
                <a:gd name="connsiteY350" fmla="*/ 55562 h 846138"/>
                <a:gd name="connsiteX351" fmla="*/ 676276 w 833438"/>
                <a:gd name="connsiteY351" fmla="*/ 65087 h 846138"/>
                <a:gd name="connsiteX352" fmla="*/ 681038 w 833438"/>
                <a:gd name="connsiteY352" fmla="*/ 69850 h 846138"/>
                <a:gd name="connsiteX353" fmla="*/ 684213 w 833438"/>
                <a:gd name="connsiteY353" fmla="*/ 80962 h 846138"/>
                <a:gd name="connsiteX354" fmla="*/ 684213 w 833438"/>
                <a:gd name="connsiteY354" fmla="*/ 82550 h 846138"/>
                <a:gd name="connsiteX355" fmla="*/ 684213 w 833438"/>
                <a:gd name="connsiteY355" fmla="*/ 92075 h 846138"/>
                <a:gd name="connsiteX356" fmla="*/ 684213 w 833438"/>
                <a:gd name="connsiteY356" fmla="*/ 93662 h 846138"/>
                <a:gd name="connsiteX357" fmla="*/ 684213 w 833438"/>
                <a:gd name="connsiteY357" fmla="*/ 96837 h 846138"/>
                <a:gd name="connsiteX358" fmla="*/ 685801 w 833438"/>
                <a:gd name="connsiteY358" fmla="*/ 104775 h 846138"/>
                <a:gd name="connsiteX359" fmla="*/ 690563 w 833438"/>
                <a:gd name="connsiteY359" fmla="*/ 120650 h 846138"/>
                <a:gd name="connsiteX360" fmla="*/ 692151 w 833438"/>
                <a:gd name="connsiteY360" fmla="*/ 133350 h 846138"/>
                <a:gd name="connsiteX361" fmla="*/ 695326 w 833438"/>
                <a:gd name="connsiteY361" fmla="*/ 142875 h 846138"/>
                <a:gd name="connsiteX362" fmla="*/ 696913 w 833438"/>
                <a:gd name="connsiteY362" fmla="*/ 157162 h 846138"/>
                <a:gd name="connsiteX363" fmla="*/ 698501 w 833438"/>
                <a:gd name="connsiteY363" fmla="*/ 160337 h 846138"/>
                <a:gd name="connsiteX364" fmla="*/ 706438 w 833438"/>
                <a:gd name="connsiteY364" fmla="*/ 180975 h 846138"/>
                <a:gd name="connsiteX365" fmla="*/ 708026 w 833438"/>
                <a:gd name="connsiteY365" fmla="*/ 187325 h 846138"/>
                <a:gd name="connsiteX366" fmla="*/ 723901 w 833438"/>
                <a:gd name="connsiteY366" fmla="*/ 230187 h 846138"/>
                <a:gd name="connsiteX367" fmla="*/ 730251 w 833438"/>
                <a:gd name="connsiteY367" fmla="*/ 241300 h 846138"/>
                <a:gd name="connsiteX368" fmla="*/ 744538 w 833438"/>
                <a:gd name="connsiteY368" fmla="*/ 269875 h 846138"/>
                <a:gd name="connsiteX369" fmla="*/ 758826 w 833438"/>
                <a:gd name="connsiteY369" fmla="*/ 293687 h 846138"/>
                <a:gd name="connsiteX370" fmla="*/ 758826 w 833438"/>
                <a:gd name="connsiteY370" fmla="*/ 296862 h 846138"/>
                <a:gd name="connsiteX371" fmla="*/ 762001 w 833438"/>
                <a:gd name="connsiteY371" fmla="*/ 298450 h 846138"/>
                <a:gd name="connsiteX372" fmla="*/ 766763 w 833438"/>
                <a:gd name="connsiteY372" fmla="*/ 304800 h 846138"/>
                <a:gd name="connsiteX373" fmla="*/ 769409 w 833438"/>
                <a:gd name="connsiteY373" fmla="*/ 312737 h 846138"/>
                <a:gd name="connsiteX374" fmla="*/ 768351 w 833438"/>
                <a:gd name="connsiteY374" fmla="*/ 312737 h 846138"/>
                <a:gd name="connsiteX375" fmla="*/ 763588 w 833438"/>
                <a:gd name="connsiteY375" fmla="*/ 312737 h 846138"/>
                <a:gd name="connsiteX376" fmla="*/ 762001 w 833438"/>
                <a:gd name="connsiteY376" fmla="*/ 314325 h 846138"/>
                <a:gd name="connsiteX377" fmla="*/ 755651 w 833438"/>
                <a:gd name="connsiteY377" fmla="*/ 314325 h 846138"/>
                <a:gd name="connsiteX378" fmla="*/ 752476 w 833438"/>
                <a:gd name="connsiteY378" fmla="*/ 314325 h 846138"/>
                <a:gd name="connsiteX379" fmla="*/ 752476 w 833438"/>
                <a:gd name="connsiteY379" fmla="*/ 312737 h 846138"/>
                <a:gd name="connsiteX380" fmla="*/ 750888 w 833438"/>
                <a:gd name="connsiteY380" fmla="*/ 312737 h 846138"/>
                <a:gd name="connsiteX381" fmla="*/ 750888 w 833438"/>
                <a:gd name="connsiteY381" fmla="*/ 309562 h 846138"/>
                <a:gd name="connsiteX382" fmla="*/ 747713 w 833438"/>
                <a:gd name="connsiteY382" fmla="*/ 307975 h 846138"/>
                <a:gd name="connsiteX383" fmla="*/ 750888 w 833438"/>
                <a:gd name="connsiteY383" fmla="*/ 303212 h 846138"/>
                <a:gd name="connsiteX384" fmla="*/ 752476 w 833438"/>
                <a:gd name="connsiteY384" fmla="*/ 303212 h 846138"/>
                <a:gd name="connsiteX385" fmla="*/ 752476 w 833438"/>
                <a:gd name="connsiteY385" fmla="*/ 301625 h 846138"/>
                <a:gd name="connsiteX386" fmla="*/ 755651 w 833438"/>
                <a:gd name="connsiteY386" fmla="*/ 298450 h 846138"/>
                <a:gd name="connsiteX387" fmla="*/ 752476 w 833438"/>
                <a:gd name="connsiteY387" fmla="*/ 296862 h 846138"/>
                <a:gd name="connsiteX388" fmla="*/ 746126 w 833438"/>
                <a:gd name="connsiteY388" fmla="*/ 292100 h 846138"/>
                <a:gd name="connsiteX389" fmla="*/ 744538 w 833438"/>
                <a:gd name="connsiteY389" fmla="*/ 290512 h 846138"/>
                <a:gd name="connsiteX390" fmla="*/ 744538 w 833438"/>
                <a:gd name="connsiteY390" fmla="*/ 292100 h 846138"/>
                <a:gd name="connsiteX391" fmla="*/ 746126 w 833438"/>
                <a:gd name="connsiteY391" fmla="*/ 307975 h 846138"/>
                <a:gd name="connsiteX392" fmla="*/ 752476 w 833438"/>
                <a:gd name="connsiteY392" fmla="*/ 336550 h 846138"/>
                <a:gd name="connsiteX393" fmla="*/ 752476 w 833438"/>
                <a:gd name="connsiteY393" fmla="*/ 338137 h 846138"/>
                <a:gd name="connsiteX394" fmla="*/ 757238 w 833438"/>
                <a:gd name="connsiteY394" fmla="*/ 347662 h 846138"/>
                <a:gd name="connsiteX395" fmla="*/ 769938 w 833438"/>
                <a:gd name="connsiteY395" fmla="*/ 379412 h 846138"/>
                <a:gd name="connsiteX396" fmla="*/ 769938 w 833438"/>
                <a:gd name="connsiteY396" fmla="*/ 379412 h 846138"/>
                <a:gd name="connsiteX397" fmla="*/ 769938 w 833438"/>
                <a:gd name="connsiteY397" fmla="*/ 379412 h 846138"/>
                <a:gd name="connsiteX398" fmla="*/ 773113 w 833438"/>
                <a:gd name="connsiteY398" fmla="*/ 387350 h 846138"/>
                <a:gd name="connsiteX399" fmla="*/ 781051 w 833438"/>
                <a:gd name="connsiteY399" fmla="*/ 412750 h 846138"/>
                <a:gd name="connsiteX400" fmla="*/ 784226 w 833438"/>
                <a:gd name="connsiteY400" fmla="*/ 414337 h 846138"/>
                <a:gd name="connsiteX401" fmla="*/ 784226 w 833438"/>
                <a:gd name="connsiteY401" fmla="*/ 417512 h 846138"/>
                <a:gd name="connsiteX402" fmla="*/ 785813 w 833438"/>
                <a:gd name="connsiteY402" fmla="*/ 417512 h 846138"/>
                <a:gd name="connsiteX403" fmla="*/ 785813 w 833438"/>
                <a:gd name="connsiteY403" fmla="*/ 420687 h 846138"/>
                <a:gd name="connsiteX404" fmla="*/ 788988 w 833438"/>
                <a:gd name="connsiteY404" fmla="*/ 423862 h 846138"/>
                <a:gd name="connsiteX405" fmla="*/ 792157 w 833438"/>
                <a:gd name="connsiteY405" fmla="*/ 431785 h 846138"/>
                <a:gd name="connsiteX406" fmla="*/ 785812 w 833438"/>
                <a:gd name="connsiteY406" fmla="*/ 412750 h 846138"/>
                <a:gd name="connsiteX407" fmla="*/ 788987 w 833438"/>
                <a:gd name="connsiteY407" fmla="*/ 412750 h 846138"/>
                <a:gd name="connsiteX408" fmla="*/ 790575 w 833438"/>
                <a:gd name="connsiteY408" fmla="*/ 420687 h 846138"/>
                <a:gd name="connsiteX409" fmla="*/ 790575 w 833438"/>
                <a:gd name="connsiteY409" fmla="*/ 423862 h 846138"/>
                <a:gd name="connsiteX410" fmla="*/ 792162 w 833438"/>
                <a:gd name="connsiteY410" fmla="*/ 425450 h 846138"/>
                <a:gd name="connsiteX411" fmla="*/ 795337 w 833438"/>
                <a:gd name="connsiteY411" fmla="*/ 430212 h 846138"/>
                <a:gd name="connsiteX412" fmla="*/ 800100 w 833438"/>
                <a:gd name="connsiteY412" fmla="*/ 446087 h 846138"/>
                <a:gd name="connsiteX413" fmla="*/ 803275 w 833438"/>
                <a:gd name="connsiteY413" fmla="*/ 461962 h 846138"/>
                <a:gd name="connsiteX414" fmla="*/ 803275 w 833438"/>
                <a:gd name="connsiteY414" fmla="*/ 465137 h 846138"/>
                <a:gd name="connsiteX415" fmla="*/ 808037 w 833438"/>
                <a:gd name="connsiteY415" fmla="*/ 476250 h 846138"/>
                <a:gd name="connsiteX416" fmla="*/ 817562 w 833438"/>
                <a:gd name="connsiteY416" fmla="*/ 496887 h 846138"/>
                <a:gd name="connsiteX417" fmla="*/ 817562 w 833438"/>
                <a:gd name="connsiteY417" fmla="*/ 498475 h 846138"/>
                <a:gd name="connsiteX418" fmla="*/ 814387 w 833438"/>
                <a:gd name="connsiteY418" fmla="*/ 496887 h 846138"/>
                <a:gd name="connsiteX419" fmla="*/ 812800 w 833438"/>
                <a:gd name="connsiteY419" fmla="*/ 492125 h 846138"/>
                <a:gd name="connsiteX420" fmla="*/ 803275 w 833438"/>
                <a:gd name="connsiteY420" fmla="*/ 469900 h 846138"/>
                <a:gd name="connsiteX421" fmla="*/ 796926 w 833438"/>
                <a:gd name="connsiteY421" fmla="*/ 448132 h 846138"/>
                <a:gd name="connsiteX422" fmla="*/ 796926 w 833438"/>
                <a:gd name="connsiteY422" fmla="*/ 450850 h 846138"/>
                <a:gd name="connsiteX423" fmla="*/ 796926 w 833438"/>
                <a:gd name="connsiteY423" fmla="*/ 452437 h 846138"/>
                <a:gd name="connsiteX424" fmla="*/ 796926 w 833438"/>
                <a:gd name="connsiteY424" fmla="*/ 454025 h 846138"/>
                <a:gd name="connsiteX425" fmla="*/ 801688 w 833438"/>
                <a:gd name="connsiteY425" fmla="*/ 465137 h 846138"/>
                <a:gd name="connsiteX426" fmla="*/ 801688 w 833438"/>
                <a:gd name="connsiteY426" fmla="*/ 468312 h 846138"/>
                <a:gd name="connsiteX427" fmla="*/ 812801 w 833438"/>
                <a:gd name="connsiteY427" fmla="*/ 498475 h 846138"/>
                <a:gd name="connsiteX428" fmla="*/ 819151 w 833438"/>
                <a:gd name="connsiteY428" fmla="*/ 506412 h 846138"/>
                <a:gd name="connsiteX429" fmla="*/ 823913 w 833438"/>
                <a:gd name="connsiteY429" fmla="*/ 517525 h 846138"/>
                <a:gd name="connsiteX430" fmla="*/ 825501 w 833438"/>
                <a:gd name="connsiteY430" fmla="*/ 523875 h 846138"/>
                <a:gd name="connsiteX431" fmla="*/ 825501 w 833438"/>
                <a:gd name="connsiteY431" fmla="*/ 525462 h 846138"/>
                <a:gd name="connsiteX432" fmla="*/ 830263 w 833438"/>
                <a:gd name="connsiteY432" fmla="*/ 541337 h 846138"/>
                <a:gd name="connsiteX433" fmla="*/ 830263 w 833438"/>
                <a:gd name="connsiteY433" fmla="*/ 547687 h 846138"/>
                <a:gd name="connsiteX434" fmla="*/ 830263 w 833438"/>
                <a:gd name="connsiteY434" fmla="*/ 550862 h 846138"/>
                <a:gd name="connsiteX435" fmla="*/ 833438 w 833438"/>
                <a:gd name="connsiteY435" fmla="*/ 550862 h 846138"/>
                <a:gd name="connsiteX436" fmla="*/ 833438 w 833438"/>
                <a:gd name="connsiteY436" fmla="*/ 569912 h 846138"/>
                <a:gd name="connsiteX437" fmla="*/ 833438 w 833438"/>
                <a:gd name="connsiteY437" fmla="*/ 573087 h 846138"/>
                <a:gd name="connsiteX438" fmla="*/ 833438 w 833438"/>
                <a:gd name="connsiteY438" fmla="*/ 581025 h 846138"/>
                <a:gd name="connsiteX439" fmla="*/ 830263 w 833438"/>
                <a:gd name="connsiteY439" fmla="*/ 581025 h 846138"/>
                <a:gd name="connsiteX440" fmla="*/ 830263 w 833438"/>
                <a:gd name="connsiteY440" fmla="*/ 584200 h 846138"/>
                <a:gd name="connsiteX441" fmla="*/ 830263 w 833438"/>
                <a:gd name="connsiteY441" fmla="*/ 585787 h 846138"/>
                <a:gd name="connsiteX442" fmla="*/ 830263 w 833438"/>
                <a:gd name="connsiteY442" fmla="*/ 590550 h 846138"/>
                <a:gd name="connsiteX443" fmla="*/ 828676 w 833438"/>
                <a:gd name="connsiteY443" fmla="*/ 603250 h 846138"/>
                <a:gd name="connsiteX444" fmla="*/ 823913 w 833438"/>
                <a:gd name="connsiteY444" fmla="*/ 628650 h 846138"/>
                <a:gd name="connsiteX445" fmla="*/ 819151 w 833438"/>
                <a:gd name="connsiteY445" fmla="*/ 666750 h 846138"/>
                <a:gd name="connsiteX446" fmla="*/ 814388 w 833438"/>
                <a:gd name="connsiteY446" fmla="*/ 688975 h 846138"/>
                <a:gd name="connsiteX447" fmla="*/ 808038 w 833438"/>
                <a:gd name="connsiteY447" fmla="*/ 695325 h 846138"/>
                <a:gd name="connsiteX448" fmla="*/ 801688 w 833438"/>
                <a:gd name="connsiteY448" fmla="*/ 706437 h 846138"/>
                <a:gd name="connsiteX449" fmla="*/ 801688 w 833438"/>
                <a:gd name="connsiteY449" fmla="*/ 708025 h 846138"/>
                <a:gd name="connsiteX450" fmla="*/ 801688 w 833438"/>
                <a:gd name="connsiteY450" fmla="*/ 714375 h 846138"/>
                <a:gd name="connsiteX451" fmla="*/ 800101 w 833438"/>
                <a:gd name="connsiteY451" fmla="*/ 717550 h 846138"/>
                <a:gd name="connsiteX452" fmla="*/ 796926 w 833438"/>
                <a:gd name="connsiteY452" fmla="*/ 719137 h 846138"/>
                <a:gd name="connsiteX453" fmla="*/ 795338 w 833438"/>
                <a:gd name="connsiteY453" fmla="*/ 744537 h 846138"/>
                <a:gd name="connsiteX454" fmla="*/ 790576 w 833438"/>
                <a:gd name="connsiteY454" fmla="*/ 750887 h 846138"/>
                <a:gd name="connsiteX455" fmla="*/ 788988 w 833438"/>
                <a:gd name="connsiteY455" fmla="*/ 752475 h 846138"/>
                <a:gd name="connsiteX456" fmla="*/ 788988 w 833438"/>
                <a:gd name="connsiteY456" fmla="*/ 757237 h 846138"/>
                <a:gd name="connsiteX457" fmla="*/ 790576 w 833438"/>
                <a:gd name="connsiteY457" fmla="*/ 760412 h 846138"/>
                <a:gd name="connsiteX458" fmla="*/ 788988 w 833438"/>
                <a:gd name="connsiteY458" fmla="*/ 760412 h 846138"/>
                <a:gd name="connsiteX459" fmla="*/ 785813 w 833438"/>
                <a:gd name="connsiteY459" fmla="*/ 752475 h 846138"/>
                <a:gd name="connsiteX460" fmla="*/ 781051 w 833438"/>
                <a:gd name="connsiteY460" fmla="*/ 755650 h 846138"/>
                <a:gd name="connsiteX461" fmla="*/ 781051 w 833438"/>
                <a:gd name="connsiteY461" fmla="*/ 757237 h 846138"/>
                <a:gd name="connsiteX462" fmla="*/ 779463 w 833438"/>
                <a:gd name="connsiteY462" fmla="*/ 760412 h 846138"/>
                <a:gd name="connsiteX463" fmla="*/ 779463 w 833438"/>
                <a:gd name="connsiteY463" fmla="*/ 757237 h 846138"/>
                <a:gd name="connsiteX464" fmla="*/ 777876 w 833438"/>
                <a:gd name="connsiteY464" fmla="*/ 755650 h 846138"/>
                <a:gd name="connsiteX465" fmla="*/ 779463 w 833438"/>
                <a:gd name="connsiteY465" fmla="*/ 755650 h 846138"/>
                <a:gd name="connsiteX466" fmla="*/ 779463 w 833438"/>
                <a:gd name="connsiteY466" fmla="*/ 752475 h 846138"/>
                <a:gd name="connsiteX467" fmla="*/ 777876 w 833438"/>
                <a:gd name="connsiteY467" fmla="*/ 752475 h 846138"/>
                <a:gd name="connsiteX468" fmla="*/ 773113 w 833438"/>
                <a:gd name="connsiteY468" fmla="*/ 752475 h 846138"/>
                <a:gd name="connsiteX469" fmla="*/ 773113 w 833438"/>
                <a:gd name="connsiteY469" fmla="*/ 755650 h 846138"/>
                <a:gd name="connsiteX470" fmla="*/ 763588 w 833438"/>
                <a:gd name="connsiteY470" fmla="*/ 762000 h 846138"/>
                <a:gd name="connsiteX471" fmla="*/ 762001 w 833438"/>
                <a:gd name="connsiteY471" fmla="*/ 763587 h 846138"/>
                <a:gd name="connsiteX472" fmla="*/ 744538 w 833438"/>
                <a:gd name="connsiteY472" fmla="*/ 763587 h 846138"/>
                <a:gd name="connsiteX473" fmla="*/ 720726 w 833438"/>
                <a:gd name="connsiteY473" fmla="*/ 768350 h 846138"/>
                <a:gd name="connsiteX474" fmla="*/ 717551 w 833438"/>
                <a:gd name="connsiteY474" fmla="*/ 771525 h 846138"/>
                <a:gd name="connsiteX475" fmla="*/ 714376 w 833438"/>
                <a:gd name="connsiteY475" fmla="*/ 768350 h 846138"/>
                <a:gd name="connsiteX476" fmla="*/ 709613 w 833438"/>
                <a:gd name="connsiteY476" fmla="*/ 763587 h 846138"/>
                <a:gd name="connsiteX477" fmla="*/ 706438 w 833438"/>
                <a:gd name="connsiteY477" fmla="*/ 755650 h 846138"/>
                <a:gd name="connsiteX478" fmla="*/ 706438 w 833438"/>
                <a:gd name="connsiteY478" fmla="*/ 752475 h 846138"/>
                <a:gd name="connsiteX479" fmla="*/ 708026 w 833438"/>
                <a:gd name="connsiteY479" fmla="*/ 744537 h 846138"/>
                <a:gd name="connsiteX480" fmla="*/ 709613 w 833438"/>
                <a:gd name="connsiteY480" fmla="*/ 744537 h 846138"/>
                <a:gd name="connsiteX481" fmla="*/ 709613 w 833438"/>
                <a:gd name="connsiteY481" fmla="*/ 741362 h 846138"/>
                <a:gd name="connsiteX482" fmla="*/ 712788 w 833438"/>
                <a:gd name="connsiteY482" fmla="*/ 744537 h 846138"/>
                <a:gd name="connsiteX483" fmla="*/ 714376 w 833438"/>
                <a:gd name="connsiteY483" fmla="*/ 746125 h 846138"/>
                <a:gd name="connsiteX484" fmla="*/ 714376 w 833438"/>
                <a:gd name="connsiteY484" fmla="*/ 747712 h 846138"/>
                <a:gd name="connsiteX485" fmla="*/ 725488 w 833438"/>
                <a:gd name="connsiteY485" fmla="*/ 757237 h 846138"/>
                <a:gd name="connsiteX486" fmla="*/ 728663 w 833438"/>
                <a:gd name="connsiteY486" fmla="*/ 760412 h 846138"/>
                <a:gd name="connsiteX487" fmla="*/ 731838 w 833438"/>
                <a:gd name="connsiteY487" fmla="*/ 757237 h 846138"/>
                <a:gd name="connsiteX488" fmla="*/ 735013 w 833438"/>
                <a:gd name="connsiteY488" fmla="*/ 755650 h 846138"/>
                <a:gd name="connsiteX489" fmla="*/ 735013 w 833438"/>
                <a:gd name="connsiteY489" fmla="*/ 752475 h 846138"/>
                <a:gd name="connsiteX490" fmla="*/ 735013 w 833438"/>
                <a:gd name="connsiteY490" fmla="*/ 750887 h 846138"/>
                <a:gd name="connsiteX491" fmla="*/ 730251 w 833438"/>
                <a:gd name="connsiteY491" fmla="*/ 746125 h 846138"/>
                <a:gd name="connsiteX492" fmla="*/ 728663 w 833438"/>
                <a:gd name="connsiteY492" fmla="*/ 744537 h 846138"/>
                <a:gd name="connsiteX493" fmla="*/ 725488 w 833438"/>
                <a:gd name="connsiteY493" fmla="*/ 744537 h 846138"/>
                <a:gd name="connsiteX494" fmla="*/ 720726 w 833438"/>
                <a:gd name="connsiteY494" fmla="*/ 741362 h 846138"/>
                <a:gd name="connsiteX495" fmla="*/ 714376 w 833438"/>
                <a:gd name="connsiteY495" fmla="*/ 739775 h 846138"/>
                <a:gd name="connsiteX496" fmla="*/ 714376 w 833438"/>
                <a:gd name="connsiteY496" fmla="*/ 736600 h 846138"/>
                <a:gd name="connsiteX497" fmla="*/ 712788 w 833438"/>
                <a:gd name="connsiteY497" fmla="*/ 736600 h 846138"/>
                <a:gd name="connsiteX498" fmla="*/ 712788 w 833438"/>
                <a:gd name="connsiteY498" fmla="*/ 735012 h 846138"/>
                <a:gd name="connsiteX499" fmla="*/ 709613 w 833438"/>
                <a:gd name="connsiteY499" fmla="*/ 733425 h 846138"/>
                <a:gd name="connsiteX500" fmla="*/ 709613 w 833438"/>
                <a:gd name="connsiteY500" fmla="*/ 730250 h 846138"/>
                <a:gd name="connsiteX501" fmla="*/ 706438 w 833438"/>
                <a:gd name="connsiteY501" fmla="*/ 723900 h 846138"/>
                <a:gd name="connsiteX502" fmla="*/ 690563 w 833438"/>
                <a:gd name="connsiteY502" fmla="*/ 684212 h 846138"/>
                <a:gd name="connsiteX503" fmla="*/ 690563 w 833438"/>
                <a:gd name="connsiteY503" fmla="*/ 681037 h 846138"/>
                <a:gd name="connsiteX504" fmla="*/ 687388 w 833438"/>
                <a:gd name="connsiteY504" fmla="*/ 679450 h 846138"/>
                <a:gd name="connsiteX505" fmla="*/ 685801 w 833438"/>
                <a:gd name="connsiteY505" fmla="*/ 677862 h 846138"/>
                <a:gd name="connsiteX506" fmla="*/ 684213 w 833438"/>
                <a:gd name="connsiteY506" fmla="*/ 674687 h 846138"/>
                <a:gd name="connsiteX507" fmla="*/ 681038 w 833438"/>
                <a:gd name="connsiteY507" fmla="*/ 674687 h 846138"/>
                <a:gd name="connsiteX508" fmla="*/ 663576 w 833438"/>
                <a:gd name="connsiteY508" fmla="*/ 663575 h 846138"/>
                <a:gd name="connsiteX509" fmla="*/ 657226 w 833438"/>
                <a:gd name="connsiteY509" fmla="*/ 663575 h 846138"/>
                <a:gd name="connsiteX510" fmla="*/ 652463 w 833438"/>
                <a:gd name="connsiteY510" fmla="*/ 666750 h 846138"/>
                <a:gd name="connsiteX511" fmla="*/ 646113 w 833438"/>
                <a:gd name="connsiteY511" fmla="*/ 658812 h 846138"/>
                <a:gd name="connsiteX512" fmla="*/ 641351 w 833438"/>
                <a:gd name="connsiteY512" fmla="*/ 644525 h 846138"/>
                <a:gd name="connsiteX513" fmla="*/ 639763 w 833438"/>
                <a:gd name="connsiteY513" fmla="*/ 641350 h 846138"/>
                <a:gd name="connsiteX514" fmla="*/ 636588 w 833438"/>
                <a:gd name="connsiteY514" fmla="*/ 641350 h 846138"/>
                <a:gd name="connsiteX515" fmla="*/ 636588 w 833438"/>
                <a:gd name="connsiteY515" fmla="*/ 636587 h 846138"/>
                <a:gd name="connsiteX516" fmla="*/ 636588 w 833438"/>
                <a:gd name="connsiteY516" fmla="*/ 633412 h 846138"/>
                <a:gd name="connsiteX517" fmla="*/ 635000 w 833438"/>
                <a:gd name="connsiteY517" fmla="*/ 608012 h 846138"/>
                <a:gd name="connsiteX518" fmla="*/ 630238 w 833438"/>
                <a:gd name="connsiteY518" fmla="*/ 595312 h 846138"/>
                <a:gd name="connsiteX519" fmla="*/ 630238 w 833438"/>
                <a:gd name="connsiteY519" fmla="*/ 596900 h 846138"/>
                <a:gd name="connsiteX520" fmla="*/ 628650 w 833438"/>
                <a:gd name="connsiteY520" fmla="*/ 596900 h 846138"/>
                <a:gd name="connsiteX521" fmla="*/ 619125 w 833438"/>
                <a:gd name="connsiteY521" fmla="*/ 590550 h 846138"/>
                <a:gd name="connsiteX522" fmla="*/ 619125 w 833438"/>
                <a:gd name="connsiteY522" fmla="*/ 588962 h 846138"/>
                <a:gd name="connsiteX523" fmla="*/ 620713 w 833438"/>
                <a:gd name="connsiteY523" fmla="*/ 588962 h 846138"/>
                <a:gd name="connsiteX524" fmla="*/ 625475 w 833438"/>
                <a:gd name="connsiteY524" fmla="*/ 588962 h 846138"/>
                <a:gd name="connsiteX525" fmla="*/ 625475 w 833438"/>
                <a:gd name="connsiteY525" fmla="*/ 584200 h 846138"/>
                <a:gd name="connsiteX526" fmla="*/ 639763 w 833438"/>
                <a:gd name="connsiteY526" fmla="*/ 563562 h 846138"/>
                <a:gd name="connsiteX527" fmla="*/ 641351 w 833438"/>
                <a:gd name="connsiteY527" fmla="*/ 561975 h 846138"/>
                <a:gd name="connsiteX528" fmla="*/ 639763 w 833438"/>
                <a:gd name="connsiteY528" fmla="*/ 561975 h 846138"/>
                <a:gd name="connsiteX529" fmla="*/ 628650 w 833438"/>
                <a:gd name="connsiteY529" fmla="*/ 568325 h 846138"/>
                <a:gd name="connsiteX530" fmla="*/ 625475 w 833438"/>
                <a:gd name="connsiteY530" fmla="*/ 569912 h 846138"/>
                <a:gd name="connsiteX531" fmla="*/ 625475 w 833438"/>
                <a:gd name="connsiteY531" fmla="*/ 573087 h 846138"/>
                <a:gd name="connsiteX532" fmla="*/ 625475 w 833438"/>
                <a:gd name="connsiteY532" fmla="*/ 574675 h 846138"/>
                <a:gd name="connsiteX533" fmla="*/ 625475 w 833438"/>
                <a:gd name="connsiteY533" fmla="*/ 577850 h 846138"/>
                <a:gd name="connsiteX534" fmla="*/ 620713 w 833438"/>
                <a:gd name="connsiteY534" fmla="*/ 584200 h 846138"/>
                <a:gd name="connsiteX535" fmla="*/ 614363 w 833438"/>
                <a:gd name="connsiteY535" fmla="*/ 585787 h 846138"/>
                <a:gd name="connsiteX536" fmla="*/ 612775 w 833438"/>
                <a:gd name="connsiteY536" fmla="*/ 585787 h 846138"/>
                <a:gd name="connsiteX537" fmla="*/ 609600 w 833438"/>
                <a:gd name="connsiteY537" fmla="*/ 584200 h 846138"/>
                <a:gd name="connsiteX538" fmla="*/ 608013 w 833438"/>
                <a:gd name="connsiteY538" fmla="*/ 581025 h 846138"/>
                <a:gd name="connsiteX539" fmla="*/ 608013 w 833438"/>
                <a:gd name="connsiteY539" fmla="*/ 566737 h 846138"/>
                <a:gd name="connsiteX540" fmla="*/ 608013 w 833438"/>
                <a:gd name="connsiteY540" fmla="*/ 561975 h 846138"/>
                <a:gd name="connsiteX541" fmla="*/ 609600 w 833438"/>
                <a:gd name="connsiteY541" fmla="*/ 542925 h 846138"/>
                <a:gd name="connsiteX542" fmla="*/ 614363 w 833438"/>
                <a:gd name="connsiteY542" fmla="*/ 528637 h 846138"/>
                <a:gd name="connsiteX543" fmla="*/ 606425 w 833438"/>
                <a:gd name="connsiteY543" fmla="*/ 530225 h 846138"/>
                <a:gd name="connsiteX544" fmla="*/ 595313 w 833438"/>
                <a:gd name="connsiteY544" fmla="*/ 531812 h 846138"/>
                <a:gd name="connsiteX545" fmla="*/ 598488 w 833438"/>
                <a:gd name="connsiteY545" fmla="*/ 539750 h 846138"/>
                <a:gd name="connsiteX546" fmla="*/ 598488 w 833438"/>
                <a:gd name="connsiteY546" fmla="*/ 547687 h 846138"/>
                <a:gd name="connsiteX547" fmla="*/ 598488 w 833438"/>
                <a:gd name="connsiteY547" fmla="*/ 550862 h 846138"/>
                <a:gd name="connsiteX548" fmla="*/ 598488 w 833438"/>
                <a:gd name="connsiteY548" fmla="*/ 552450 h 846138"/>
                <a:gd name="connsiteX549" fmla="*/ 585788 w 833438"/>
                <a:gd name="connsiteY549" fmla="*/ 546100 h 846138"/>
                <a:gd name="connsiteX550" fmla="*/ 584200 w 833438"/>
                <a:gd name="connsiteY550" fmla="*/ 546100 h 846138"/>
                <a:gd name="connsiteX551" fmla="*/ 584200 w 833438"/>
                <a:gd name="connsiteY551" fmla="*/ 542925 h 846138"/>
                <a:gd name="connsiteX552" fmla="*/ 581025 w 833438"/>
                <a:gd name="connsiteY552" fmla="*/ 542925 h 846138"/>
                <a:gd name="connsiteX553" fmla="*/ 574675 w 833438"/>
                <a:gd name="connsiteY553" fmla="*/ 531812 h 846138"/>
                <a:gd name="connsiteX554" fmla="*/ 574675 w 833438"/>
                <a:gd name="connsiteY554" fmla="*/ 530225 h 846138"/>
                <a:gd name="connsiteX555" fmla="*/ 573088 w 833438"/>
                <a:gd name="connsiteY555" fmla="*/ 528637 h 846138"/>
                <a:gd name="connsiteX556" fmla="*/ 569913 w 833438"/>
                <a:gd name="connsiteY556" fmla="*/ 520700 h 846138"/>
                <a:gd name="connsiteX557" fmla="*/ 565150 w 833438"/>
                <a:gd name="connsiteY557" fmla="*/ 512762 h 846138"/>
                <a:gd name="connsiteX558" fmla="*/ 557213 w 833438"/>
                <a:gd name="connsiteY558" fmla="*/ 485775 h 846138"/>
                <a:gd name="connsiteX559" fmla="*/ 557213 w 833438"/>
                <a:gd name="connsiteY559" fmla="*/ 484187 h 846138"/>
                <a:gd name="connsiteX560" fmla="*/ 557213 w 833438"/>
                <a:gd name="connsiteY560" fmla="*/ 481012 h 846138"/>
                <a:gd name="connsiteX561" fmla="*/ 554038 w 833438"/>
                <a:gd name="connsiteY561" fmla="*/ 473075 h 846138"/>
                <a:gd name="connsiteX562" fmla="*/ 552450 w 833438"/>
                <a:gd name="connsiteY562" fmla="*/ 469900 h 846138"/>
                <a:gd name="connsiteX563" fmla="*/ 542925 w 833438"/>
                <a:gd name="connsiteY563" fmla="*/ 463550 h 846138"/>
                <a:gd name="connsiteX564" fmla="*/ 546100 w 833438"/>
                <a:gd name="connsiteY564" fmla="*/ 463550 h 846138"/>
                <a:gd name="connsiteX565" fmla="*/ 552450 w 833438"/>
                <a:gd name="connsiteY565" fmla="*/ 458787 h 846138"/>
                <a:gd name="connsiteX566" fmla="*/ 552450 w 833438"/>
                <a:gd name="connsiteY566" fmla="*/ 452437 h 846138"/>
                <a:gd name="connsiteX567" fmla="*/ 552450 w 833438"/>
                <a:gd name="connsiteY567" fmla="*/ 450850 h 846138"/>
                <a:gd name="connsiteX568" fmla="*/ 547688 w 833438"/>
                <a:gd name="connsiteY568" fmla="*/ 450850 h 846138"/>
                <a:gd name="connsiteX569" fmla="*/ 557213 w 833438"/>
                <a:gd name="connsiteY569" fmla="*/ 439737 h 846138"/>
                <a:gd name="connsiteX570" fmla="*/ 557213 w 833438"/>
                <a:gd name="connsiteY570" fmla="*/ 436562 h 846138"/>
                <a:gd name="connsiteX571" fmla="*/ 565150 w 833438"/>
                <a:gd name="connsiteY571" fmla="*/ 428625 h 846138"/>
                <a:gd name="connsiteX572" fmla="*/ 568325 w 833438"/>
                <a:gd name="connsiteY572" fmla="*/ 425450 h 846138"/>
                <a:gd name="connsiteX573" fmla="*/ 573088 w 833438"/>
                <a:gd name="connsiteY573" fmla="*/ 420687 h 846138"/>
                <a:gd name="connsiteX574" fmla="*/ 574675 w 833438"/>
                <a:gd name="connsiteY574" fmla="*/ 417512 h 846138"/>
                <a:gd name="connsiteX575" fmla="*/ 574675 w 833438"/>
                <a:gd name="connsiteY575" fmla="*/ 414337 h 846138"/>
                <a:gd name="connsiteX576" fmla="*/ 573088 w 833438"/>
                <a:gd name="connsiteY576" fmla="*/ 407987 h 846138"/>
                <a:gd name="connsiteX577" fmla="*/ 569913 w 833438"/>
                <a:gd name="connsiteY577" fmla="*/ 403225 h 846138"/>
                <a:gd name="connsiteX578" fmla="*/ 568325 w 833438"/>
                <a:gd name="connsiteY578" fmla="*/ 401637 h 846138"/>
                <a:gd name="connsiteX579" fmla="*/ 541338 w 833438"/>
                <a:gd name="connsiteY579" fmla="*/ 387350 h 846138"/>
                <a:gd name="connsiteX580" fmla="*/ 536575 w 833438"/>
                <a:gd name="connsiteY580" fmla="*/ 401637 h 846138"/>
                <a:gd name="connsiteX581" fmla="*/ 539750 w 833438"/>
                <a:gd name="connsiteY581" fmla="*/ 403225 h 846138"/>
                <a:gd name="connsiteX582" fmla="*/ 546100 w 833438"/>
                <a:gd name="connsiteY582" fmla="*/ 407987 h 846138"/>
                <a:gd name="connsiteX583" fmla="*/ 550863 w 833438"/>
                <a:gd name="connsiteY583" fmla="*/ 409575 h 846138"/>
                <a:gd name="connsiteX584" fmla="*/ 550863 w 833438"/>
                <a:gd name="connsiteY584" fmla="*/ 414337 h 846138"/>
                <a:gd name="connsiteX585" fmla="*/ 550863 w 833438"/>
                <a:gd name="connsiteY585" fmla="*/ 417512 h 846138"/>
                <a:gd name="connsiteX586" fmla="*/ 547688 w 833438"/>
                <a:gd name="connsiteY586" fmla="*/ 428625 h 846138"/>
                <a:gd name="connsiteX587" fmla="*/ 547688 w 833438"/>
                <a:gd name="connsiteY587" fmla="*/ 431800 h 846138"/>
                <a:gd name="connsiteX588" fmla="*/ 546100 w 833438"/>
                <a:gd name="connsiteY588" fmla="*/ 431800 h 846138"/>
                <a:gd name="connsiteX589" fmla="*/ 536575 w 833438"/>
                <a:gd name="connsiteY589" fmla="*/ 436562 h 846138"/>
                <a:gd name="connsiteX590" fmla="*/ 534988 w 833438"/>
                <a:gd name="connsiteY590" fmla="*/ 434975 h 846138"/>
                <a:gd name="connsiteX591" fmla="*/ 525463 w 833438"/>
                <a:gd name="connsiteY591" fmla="*/ 417512 h 846138"/>
                <a:gd name="connsiteX592" fmla="*/ 523875 w 833438"/>
                <a:gd name="connsiteY592" fmla="*/ 414337 h 846138"/>
                <a:gd name="connsiteX593" fmla="*/ 523875 w 833438"/>
                <a:gd name="connsiteY593" fmla="*/ 412750 h 846138"/>
                <a:gd name="connsiteX594" fmla="*/ 523875 w 833438"/>
                <a:gd name="connsiteY594" fmla="*/ 409575 h 846138"/>
                <a:gd name="connsiteX595" fmla="*/ 523875 w 833438"/>
                <a:gd name="connsiteY595" fmla="*/ 407987 h 846138"/>
                <a:gd name="connsiteX596" fmla="*/ 525463 w 833438"/>
                <a:gd name="connsiteY596" fmla="*/ 407987 h 846138"/>
                <a:gd name="connsiteX597" fmla="*/ 527050 w 833438"/>
                <a:gd name="connsiteY597" fmla="*/ 401637 h 846138"/>
                <a:gd name="connsiteX598" fmla="*/ 527050 w 833438"/>
                <a:gd name="connsiteY598" fmla="*/ 396875 h 846138"/>
                <a:gd name="connsiteX599" fmla="*/ 531813 w 833438"/>
                <a:gd name="connsiteY599" fmla="*/ 384175 h 846138"/>
                <a:gd name="connsiteX600" fmla="*/ 534988 w 833438"/>
                <a:gd name="connsiteY600" fmla="*/ 363537 h 846138"/>
                <a:gd name="connsiteX601" fmla="*/ 536575 w 833438"/>
                <a:gd name="connsiteY601" fmla="*/ 352425 h 846138"/>
                <a:gd name="connsiteX602" fmla="*/ 542925 w 833438"/>
                <a:gd name="connsiteY602" fmla="*/ 336550 h 846138"/>
                <a:gd name="connsiteX603" fmla="*/ 542925 w 833438"/>
                <a:gd name="connsiteY603" fmla="*/ 334962 h 846138"/>
                <a:gd name="connsiteX604" fmla="*/ 546100 w 833438"/>
                <a:gd name="connsiteY604" fmla="*/ 320675 h 846138"/>
                <a:gd name="connsiteX605" fmla="*/ 547688 w 833438"/>
                <a:gd name="connsiteY605" fmla="*/ 301625 h 846138"/>
                <a:gd name="connsiteX606" fmla="*/ 546100 w 833438"/>
                <a:gd name="connsiteY606" fmla="*/ 293687 h 846138"/>
                <a:gd name="connsiteX607" fmla="*/ 546100 w 833438"/>
                <a:gd name="connsiteY607" fmla="*/ 292100 h 846138"/>
                <a:gd name="connsiteX608" fmla="*/ 542925 w 833438"/>
                <a:gd name="connsiteY608" fmla="*/ 290512 h 846138"/>
                <a:gd name="connsiteX609" fmla="*/ 541338 w 833438"/>
                <a:gd name="connsiteY609" fmla="*/ 287337 h 846138"/>
                <a:gd name="connsiteX610" fmla="*/ 542925 w 833438"/>
                <a:gd name="connsiteY610" fmla="*/ 285750 h 846138"/>
                <a:gd name="connsiteX611" fmla="*/ 546100 w 833438"/>
                <a:gd name="connsiteY611" fmla="*/ 285750 h 846138"/>
                <a:gd name="connsiteX612" fmla="*/ 546100 w 833438"/>
                <a:gd name="connsiteY612" fmla="*/ 282575 h 846138"/>
                <a:gd name="connsiteX613" fmla="*/ 547688 w 833438"/>
                <a:gd name="connsiteY613" fmla="*/ 280987 h 846138"/>
                <a:gd name="connsiteX614" fmla="*/ 547688 w 833438"/>
                <a:gd name="connsiteY614" fmla="*/ 279400 h 846138"/>
                <a:gd name="connsiteX615" fmla="*/ 547688 w 833438"/>
                <a:gd name="connsiteY615" fmla="*/ 276225 h 846138"/>
                <a:gd name="connsiteX616" fmla="*/ 546100 w 833438"/>
                <a:gd name="connsiteY616" fmla="*/ 276225 h 846138"/>
                <a:gd name="connsiteX617" fmla="*/ 546100 w 833438"/>
                <a:gd name="connsiteY617" fmla="*/ 274637 h 846138"/>
                <a:gd name="connsiteX618" fmla="*/ 534988 w 833438"/>
                <a:gd name="connsiteY618" fmla="*/ 260350 h 846138"/>
                <a:gd name="connsiteX619" fmla="*/ 531813 w 833438"/>
                <a:gd name="connsiteY619" fmla="*/ 252412 h 846138"/>
                <a:gd name="connsiteX620" fmla="*/ 527050 w 833438"/>
                <a:gd name="connsiteY620" fmla="*/ 241300 h 846138"/>
                <a:gd name="connsiteX621" fmla="*/ 525463 w 833438"/>
                <a:gd name="connsiteY621" fmla="*/ 241300 h 846138"/>
                <a:gd name="connsiteX622" fmla="*/ 514350 w 833438"/>
                <a:gd name="connsiteY622" fmla="*/ 238125 h 846138"/>
                <a:gd name="connsiteX623" fmla="*/ 509588 w 833438"/>
                <a:gd name="connsiteY623" fmla="*/ 236537 h 846138"/>
                <a:gd name="connsiteX624" fmla="*/ 508000 w 833438"/>
                <a:gd name="connsiteY624" fmla="*/ 238125 h 846138"/>
                <a:gd name="connsiteX625" fmla="*/ 498475 w 833438"/>
                <a:gd name="connsiteY625" fmla="*/ 231775 h 846138"/>
                <a:gd name="connsiteX626" fmla="*/ 496888 w 833438"/>
                <a:gd name="connsiteY626" fmla="*/ 225425 h 846138"/>
                <a:gd name="connsiteX627" fmla="*/ 482600 w 833438"/>
                <a:gd name="connsiteY627" fmla="*/ 204787 h 846138"/>
                <a:gd name="connsiteX628" fmla="*/ 468313 w 833438"/>
                <a:gd name="connsiteY628" fmla="*/ 196850 h 846138"/>
                <a:gd name="connsiteX629" fmla="*/ 465138 w 833438"/>
                <a:gd name="connsiteY629" fmla="*/ 193675 h 846138"/>
                <a:gd name="connsiteX630" fmla="*/ 463550 w 833438"/>
                <a:gd name="connsiteY630" fmla="*/ 193675 h 846138"/>
                <a:gd name="connsiteX631" fmla="*/ 463550 w 833438"/>
                <a:gd name="connsiteY631" fmla="*/ 192087 h 846138"/>
                <a:gd name="connsiteX632" fmla="*/ 460375 w 833438"/>
                <a:gd name="connsiteY632" fmla="*/ 185737 h 846138"/>
                <a:gd name="connsiteX633" fmla="*/ 458788 w 833438"/>
                <a:gd name="connsiteY633" fmla="*/ 174625 h 846138"/>
                <a:gd name="connsiteX634" fmla="*/ 457200 w 833438"/>
                <a:gd name="connsiteY634" fmla="*/ 171450 h 846138"/>
                <a:gd name="connsiteX635" fmla="*/ 447675 w 833438"/>
                <a:gd name="connsiteY635" fmla="*/ 168275 h 846138"/>
                <a:gd name="connsiteX636" fmla="*/ 442913 w 833438"/>
                <a:gd name="connsiteY636" fmla="*/ 163512 h 846138"/>
                <a:gd name="connsiteX637" fmla="*/ 442913 w 833438"/>
                <a:gd name="connsiteY637" fmla="*/ 160337 h 846138"/>
                <a:gd name="connsiteX638" fmla="*/ 442913 w 833438"/>
                <a:gd name="connsiteY638" fmla="*/ 158750 h 846138"/>
                <a:gd name="connsiteX639" fmla="*/ 442913 w 833438"/>
                <a:gd name="connsiteY639" fmla="*/ 157162 h 846138"/>
                <a:gd name="connsiteX640" fmla="*/ 438150 w 833438"/>
                <a:gd name="connsiteY640" fmla="*/ 147637 h 846138"/>
                <a:gd name="connsiteX641" fmla="*/ 436563 w 833438"/>
                <a:gd name="connsiteY641" fmla="*/ 147637 h 846138"/>
                <a:gd name="connsiteX642" fmla="*/ 434975 w 833438"/>
                <a:gd name="connsiteY642" fmla="*/ 142875 h 846138"/>
                <a:gd name="connsiteX643" fmla="*/ 425450 w 833438"/>
                <a:gd name="connsiteY643" fmla="*/ 136525 h 846138"/>
                <a:gd name="connsiteX644" fmla="*/ 420688 w 833438"/>
                <a:gd name="connsiteY644" fmla="*/ 133350 h 846138"/>
                <a:gd name="connsiteX645" fmla="*/ 419100 w 833438"/>
                <a:gd name="connsiteY645" fmla="*/ 133350 h 846138"/>
                <a:gd name="connsiteX646" fmla="*/ 415925 w 833438"/>
                <a:gd name="connsiteY646" fmla="*/ 131762 h 846138"/>
                <a:gd name="connsiteX647" fmla="*/ 409575 w 833438"/>
                <a:gd name="connsiteY647" fmla="*/ 130175 h 846138"/>
                <a:gd name="connsiteX648" fmla="*/ 407988 w 833438"/>
                <a:gd name="connsiteY648" fmla="*/ 127000 h 846138"/>
                <a:gd name="connsiteX649" fmla="*/ 403225 w 833438"/>
                <a:gd name="connsiteY649" fmla="*/ 122237 h 846138"/>
                <a:gd name="connsiteX650" fmla="*/ 396875 w 833438"/>
                <a:gd name="connsiteY650" fmla="*/ 119062 h 846138"/>
                <a:gd name="connsiteX651" fmla="*/ 393700 w 833438"/>
                <a:gd name="connsiteY651" fmla="*/ 119062 h 846138"/>
                <a:gd name="connsiteX652" fmla="*/ 393700 w 833438"/>
                <a:gd name="connsiteY652" fmla="*/ 115887 h 846138"/>
                <a:gd name="connsiteX653" fmla="*/ 374650 w 833438"/>
                <a:gd name="connsiteY653" fmla="*/ 115887 h 846138"/>
                <a:gd name="connsiteX654" fmla="*/ 369887 w 833438"/>
                <a:gd name="connsiteY654" fmla="*/ 119062 h 846138"/>
                <a:gd name="connsiteX655" fmla="*/ 368300 w 833438"/>
                <a:gd name="connsiteY655" fmla="*/ 119062 h 846138"/>
                <a:gd name="connsiteX656" fmla="*/ 360362 w 833438"/>
                <a:gd name="connsiteY656" fmla="*/ 120650 h 846138"/>
                <a:gd name="connsiteX657" fmla="*/ 347662 w 833438"/>
                <a:gd name="connsiteY657" fmla="*/ 130175 h 846138"/>
                <a:gd name="connsiteX658" fmla="*/ 347662 w 833438"/>
                <a:gd name="connsiteY658" fmla="*/ 131762 h 846138"/>
                <a:gd name="connsiteX659" fmla="*/ 349250 w 833438"/>
                <a:gd name="connsiteY659" fmla="*/ 136525 h 846138"/>
                <a:gd name="connsiteX660" fmla="*/ 352425 w 833438"/>
                <a:gd name="connsiteY660" fmla="*/ 136525 h 846138"/>
                <a:gd name="connsiteX661" fmla="*/ 354012 w 833438"/>
                <a:gd name="connsiteY661" fmla="*/ 136525 h 846138"/>
                <a:gd name="connsiteX662" fmla="*/ 358775 w 833438"/>
                <a:gd name="connsiteY662" fmla="*/ 138112 h 846138"/>
                <a:gd name="connsiteX663" fmla="*/ 360362 w 833438"/>
                <a:gd name="connsiteY663" fmla="*/ 138112 h 846138"/>
                <a:gd name="connsiteX664" fmla="*/ 360362 w 833438"/>
                <a:gd name="connsiteY664" fmla="*/ 141287 h 846138"/>
                <a:gd name="connsiteX665" fmla="*/ 360362 w 833438"/>
                <a:gd name="connsiteY665" fmla="*/ 142875 h 846138"/>
                <a:gd name="connsiteX666" fmla="*/ 358775 w 833438"/>
                <a:gd name="connsiteY666" fmla="*/ 142875 h 846138"/>
                <a:gd name="connsiteX667" fmla="*/ 358775 w 833438"/>
                <a:gd name="connsiteY667" fmla="*/ 146050 h 846138"/>
                <a:gd name="connsiteX668" fmla="*/ 357187 w 833438"/>
                <a:gd name="connsiteY668" fmla="*/ 146050 h 846138"/>
                <a:gd name="connsiteX669" fmla="*/ 357187 w 833438"/>
                <a:gd name="connsiteY669" fmla="*/ 142875 h 846138"/>
                <a:gd name="connsiteX670" fmla="*/ 354012 w 833438"/>
                <a:gd name="connsiteY670" fmla="*/ 142875 h 846138"/>
                <a:gd name="connsiteX671" fmla="*/ 352425 w 833438"/>
                <a:gd name="connsiteY671" fmla="*/ 141287 h 846138"/>
                <a:gd name="connsiteX672" fmla="*/ 347662 w 833438"/>
                <a:gd name="connsiteY672" fmla="*/ 141287 h 846138"/>
                <a:gd name="connsiteX673" fmla="*/ 341312 w 833438"/>
                <a:gd name="connsiteY673" fmla="*/ 141287 h 846138"/>
                <a:gd name="connsiteX674" fmla="*/ 336550 w 833438"/>
                <a:gd name="connsiteY674" fmla="*/ 142875 h 846138"/>
                <a:gd name="connsiteX675" fmla="*/ 334962 w 833438"/>
                <a:gd name="connsiteY675" fmla="*/ 146050 h 846138"/>
                <a:gd name="connsiteX676" fmla="*/ 325437 w 833438"/>
                <a:gd name="connsiteY676" fmla="*/ 152400 h 846138"/>
                <a:gd name="connsiteX677" fmla="*/ 319087 w 833438"/>
                <a:gd name="connsiteY677" fmla="*/ 157162 h 846138"/>
                <a:gd name="connsiteX678" fmla="*/ 314325 w 833438"/>
                <a:gd name="connsiteY678" fmla="*/ 158750 h 846138"/>
                <a:gd name="connsiteX679" fmla="*/ 304800 w 833438"/>
                <a:gd name="connsiteY679" fmla="*/ 163512 h 846138"/>
                <a:gd name="connsiteX680" fmla="*/ 303212 w 833438"/>
                <a:gd name="connsiteY680" fmla="*/ 165100 h 846138"/>
                <a:gd name="connsiteX681" fmla="*/ 300037 w 833438"/>
                <a:gd name="connsiteY681" fmla="*/ 163512 h 846138"/>
                <a:gd name="connsiteX682" fmla="*/ 303212 w 833438"/>
                <a:gd name="connsiteY682" fmla="*/ 158750 h 846138"/>
                <a:gd name="connsiteX683" fmla="*/ 303212 w 833438"/>
                <a:gd name="connsiteY683" fmla="*/ 157162 h 846138"/>
                <a:gd name="connsiteX684" fmla="*/ 300037 w 833438"/>
                <a:gd name="connsiteY684" fmla="*/ 157162 h 846138"/>
                <a:gd name="connsiteX685" fmla="*/ 296862 w 833438"/>
                <a:gd name="connsiteY685" fmla="*/ 158750 h 846138"/>
                <a:gd name="connsiteX686" fmla="*/ 288925 w 833438"/>
                <a:gd name="connsiteY686" fmla="*/ 165100 h 846138"/>
                <a:gd name="connsiteX687" fmla="*/ 280987 w 833438"/>
                <a:gd name="connsiteY687" fmla="*/ 168275 h 846138"/>
                <a:gd name="connsiteX688" fmla="*/ 265112 w 833438"/>
                <a:gd name="connsiteY688" fmla="*/ 169862 h 846138"/>
                <a:gd name="connsiteX689" fmla="*/ 255587 w 833438"/>
                <a:gd name="connsiteY689" fmla="*/ 171450 h 846138"/>
                <a:gd name="connsiteX690" fmla="*/ 249237 w 833438"/>
                <a:gd name="connsiteY690" fmla="*/ 171450 h 846138"/>
                <a:gd name="connsiteX691" fmla="*/ 254000 w 833438"/>
                <a:gd name="connsiteY691" fmla="*/ 169862 h 846138"/>
                <a:gd name="connsiteX692" fmla="*/ 254000 w 833438"/>
                <a:gd name="connsiteY692" fmla="*/ 163512 h 846138"/>
                <a:gd name="connsiteX693" fmla="*/ 254000 w 833438"/>
                <a:gd name="connsiteY693" fmla="*/ 157162 h 846138"/>
                <a:gd name="connsiteX694" fmla="*/ 254000 w 833438"/>
                <a:gd name="connsiteY694" fmla="*/ 153987 h 846138"/>
                <a:gd name="connsiteX695" fmla="*/ 247650 w 833438"/>
                <a:gd name="connsiteY695" fmla="*/ 146050 h 846138"/>
                <a:gd name="connsiteX696" fmla="*/ 247650 w 833438"/>
                <a:gd name="connsiteY696" fmla="*/ 142875 h 846138"/>
                <a:gd name="connsiteX697" fmla="*/ 242887 w 833438"/>
                <a:gd name="connsiteY697" fmla="*/ 141287 h 846138"/>
                <a:gd name="connsiteX698" fmla="*/ 242887 w 833438"/>
                <a:gd name="connsiteY698" fmla="*/ 138112 h 846138"/>
                <a:gd name="connsiteX699" fmla="*/ 227012 w 833438"/>
                <a:gd name="connsiteY699" fmla="*/ 125412 h 846138"/>
                <a:gd name="connsiteX700" fmla="*/ 220662 w 833438"/>
                <a:gd name="connsiteY700" fmla="*/ 122237 h 846138"/>
                <a:gd name="connsiteX701" fmla="*/ 220662 w 833438"/>
                <a:gd name="connsiteY701" fmla="*/ 120650 h 846138"/>
                <a:gd name="connsiteX702" fmla="*/ 219075 w 833438"/>
                <a:gd name="connsiteY702" fmla="*/ 119062 h 846138"/>
                <a:gd name="connsiteX703" fmla="*/ 219075 w 833438"/>
                <a:gd name="connsiteY703" fmla="*/ 115887 h 846138"/>
                <a:gd name="connsiteX704" fmla="*/ 220662 w 833438"/>
                <a:gd name="connsiteY704" fmla="*/ 115887 h 846138"/>
                <a:gd name="connsiteX705" fmla="*/ 222250 w 833438"/>
                <a:gd name="connsiteY705" fmla="*/ 115887 h 846138"/>
                <a:gd name="connsiteX706" fmla="*/ 225425 w 833438"/>
                <a:gd name="connsiteY706" fmla="*/ 120650 h 846138"/>
                <a:gd name="connsiteX707" fmla="*/ 227012 w 833438"/>
                <a:gd name="connsiteY707" fmla="*/ 120650 h 846138"/>
                <a:gd name="connsiteX708" fmla="*/ 227012 w 833438"/>
                <a:gd name="connsiteY708" fmla="*/ 122237 h 846138"/>
                <a:gd name="connsiteX709" fmla="*/ 230187 w 833438"/>
                <a:gd name="connsiteY709" fmla="*/ 122237 h 846138"/>
                <a:gd name="connsiteX710" fmla="*/ 233362 w 833438"/>
                <a:gd name="connsiteY710" fmla="*/ 127000 h 846138"/>
                <a:gd name="connsiteX711" fmla="*/ 236537 w 833438"/>
                <a:gd name="connsiteY711" fmla="*/ 127000 h 846138"/>
                <a:gd name="connsiteX712" fmla="*/ 238125 w 833438"/>
                <a:gd name="connsiteY712" fmla="*/ 130175 h 846138"/>
                <a:gd name="connsiteX713" fmla="*/ 241300 w 833438"/>
                <a:gd name="connsiteY713" fmla="*/ 127000 h 846138"/>
                <a:gd name="connsiteX714" fmla="*/ 242887 w 833438"/>
                <a:gd name="connsiteY714" fmla="*/ 125412 h 846138"/>
                <a:gd name="connsiteX715" fmla="*/ 244475 w 833438"/>
                <a:gd name="connsiteY715" fmla="*/ 125412 h 846138"/>
                <a:gd name="connsiteX716" fmla="*/ 242887 w 833438"/>
                <a:gd name="connsiteY716" fmla="*/ 122237 h 846138"/>
                <a:gd name="connsiteX717" fmla="*/ 241300 w 833438"/>
                <a:gd name="connsiteY717" fmla="*/ 122237 h 846138"/>
                <a:gd name="connsiteX718" fmla="*/ 238125 w 833438"/>
                <a:gd name="connsiteY718" fmla="*/ 122237 h 846138"/>
                <a:gd name="connsiteX719" fmla="*/ 215900 w 833438"/>
                <a:gd name="connsiteY719" fmla="*/ 111125 h 846138"/>
                <a:gd name="connsiteX720" fmla="*/ 211137 w 833438"/>
                <a:gd name="connsiteY720" fmla="*/ 104775 h 846138"/>
                <a:gd name="connsiteX721" fmla="*/ 214312 w 833438"/>
                <a:gd name="connsiteY721" fmla="*/ 98425 h 846138"/>
                <a:gd name="connsiteX722" fmla="*/ 204787 w 833438"/>
                <a:gd name="connsiteY722" fmla="*/ 92075 h 846138"/>
                <a:gd name="connsiteX723" fmla="*/ 196850 w 833438"/>
                <a:gd name="connsiteY723" fmla="*/ 92075 h 846138"/>
                <a:gd name="connsiteX724" fmla="*/ 196850 w 833438"/>
                <a:gd name="connsiteY724" fmla="*/ 93662 h 846138"/>
                <a:gd name="connsiteX725" fmla="*/ 193675 w 833438"/>
                <a:gd name="connsiteY725" fmla="*/ 96837 h 846138"/>
                <a:gd name="connsiteX726" fmla="*/ 193675 w 833438"/>
                <a:gd name="connsiteY726" fmla="*/ 98425 h 846138"/>
                <a:gd name="connsiteX727" fmla="*/ 196850 w 833438"/>
                <a:gd name="connsiteY727" fmla="*/ 100012 h 846138"/>
                <a:gd name="connsiteX728" fmla="*/ 198437 w 833438"/>
                <a:gd name="connsiteY728" fmla="*/ 100012 h 846138"/>
                <a:gd name="connsiteX729" fmla="*/ 198437 w 833438"/>
                <a:gd name="connsiteY729" fmla="*/ 98425 h 846138"/>
                <a:gd name="connsiteX730" fmla="*/ 200025 w 833438"/>
                <a:gd name="connsiteY730" fmla="*/ 98425 h 846138"/>
                <a:gd name="connsiteX731" fmla="*/ 203200 w 833438"/>
                <a:gd name="connsiteY731" fmla="*/ 98425 h 846138"/>
                <a:gd name="connsiteX732" fmla="*/ 204787 w 833438"/>
                <a:gd name="connsiteY732" fmla="*/ 98425 h 846138"/>
                <a:gd name="connsiteX733" fmla="*/ 207962 w 833438"/>
                <a:gd name="connsiteY733" fmla="*/ 104775 h 846138"/>
                <a:gd name="connsiteX734" fmla="*/ 207962 w 833438"/>
                <a:gd name="connsiteY734" fmla="*/ 109537 h 846138"/>
                <a:gd name="connsiteX735" fmla="*/ 207962 w 833438"/>
                <a:gd name="connsiteY735" fmla="*/ 114300 h 846138"/>
                <a:gd name="connsiteX736" fmla="*/ 203200 w 833438"/>
                <a:gd name="connsiteY736" fmla="*/ 109537 h 846138"/>
                <a:gd name="connsiteX737" fmla="*/ 196850 w 833438"/>
                <a:gd name="connsiteY737" fmla="*/ 104775 h 846138"/>
                <a:gd name="connsiteX738" fmla="*/ 192087 w 833438"/>
                <a:gd name="connsiteY738" fmla="*/ 103187 h 846138"/>
                <a:gd name="connsiteX739" fmla="*/ 188912 w 833438"/>
                <a:gd name="connsiteY739" fmla="*/ 100012 h 846138"/>
                <a:gd name="connsiteX740" fmla="*/ 185737 w 833438"/>
                <a:gd name="connsiteY740" fmla="*/ 98425 h 846138"/>
                <a:gd name="connsiteX741" fmla="*/ 174625 w 833438"/>
                <a:gd name="connsiteY741" fmla="*/ 93662 h 846138"/>
                <a:gd name="connsiteX742" fmla="*/ 169862 w 833438"/>
                <a:gd name="connsiteY742" fmla="*/ 92075 h 846138"/>
                <a:gd name="connsiteX743" fmla="*/ 160337 w 833438"/>
                <a:gd name="connsiteY743" fmla="*/ 87312 h 846138"/>
                <a:gd name="connsiteX744" fmla="*/ 152400 w 833438"/>
                <a:gd name="connsiteY744" fmla="*/ 85725 h 846138"/>
                <a:gd name="connsiteX745" fmla="*/ 149225 w 833438"/>
                <a:gd name="connsiteY745" fmla="*/ 82550 h 846138"/>
                <a:gd name="connsiteX746" fmla="*/ 142875 w 833438"/>
                <a:gd name="connsiteY746" fmla="*/ 82550 h 846138"/>
                <a:gd name="connsiteX747" fmla="*/ 141287 w 833438"/>
                <a:gd name="connsiteY747" fmla="*/ 80962 h 846138"/>
                <a:gd name="connsiteX748" fmla="*/ 141287 w 833438"/>
                <a:gd name="connsiteY748" fmla="*/ 77787 h 846138"/>
                <a:gd name="connsiteX749" fmla="*/ 160337 w 833438"/>
                <a:gd name="connsiteY749" fmla="*/ 77787 h 846138"/>
                <a:gd name="connsiteX750" fmla="*/ 166687 w 833438"/>
                <a:gd name="connsiteY750" fmla="*/ 80962 h 846138"/>
                <a:gd name="connsiteX751" fmla="*/ 165100 w 833438"/>
                <a:gd name="connsiteY751" fmla="*/ 76200 h 846138"/>
                <a:gd name="connsiteX752" fmla="*/ 165100 w 833438"/>
                <a:gd name="connsiteY752" fmla="*/ 74612 h 846138"/>
                <a:gd name="connsiteX753" fmla="*/ 155575 w 833438"/>
                <a:gd name="connsiteY753" fmla="*/ 69850 h 846138"/>
                <a:gd name="connsiteX754" fmla="*/ 149225 w 833438"/>
                <a:gd name="connsiteY754" fmla="*/ 65087 h 846138"/>
                <a:gd name="connsiteX755" fmla="*/ 130175 w 833438"/>
                <a:gd name="connsiteY755" fmla="*/ 65087 h 846138"/>
                <a:gd name="connsiteX756" fmla="*/ 125412 w 833438"/>
                <a:gd name="connsiteY756" fmla="*/ 69850 h 846138"/>
                <a:gd name="connsiteX757" fmla="*/ 122237 w 833438"/>
                <a:gd name="connsiteY757" fmla="*/ 69850 h 846138"/>
                <a:gd name="connsiteX758" fmla="*/ 114300 w 833438"/>
                <a:gd name="connsiteY758" fmla="*/ 76200 h 846138"/>
                <a:gd name="connsiteX759" fmla="*/ 111125 w 833438"/>
                <a:gd name="connsiteY759" fmla="*/ 76200 h 846138"/>
                <a:gd name="connsiteX760" fmla="*/ 109537 w 833438"/>
                <a:gd name="connsiteY760" fmla="*/ 76200 h 846138"/>
                <a:gd name="connsiteX761" fmla="*/ 104775 w 833438"/>
                <a:gd name="connsiteY761" fmla="*/ 76200 h 846138"/>
                <a:gd name="connsiteX762" fmla="*/ 100012 w 833438"/>
                <a:gd name="connsiteY762" fmla="*/ 76200 h 846138"/>
                <a:gd name="connsiteX763" fmla="*/ 92075 w 833438"/>
                <a:gd name="connsiteY763" fmla="*/ 76200 h 846138"/>
                <a:gd name="connsiteX764" fmla="*/ 76200 w 833438"/>
                <a:gd name="connsiteY764" fmla="*/ 77787 h 846138"/>
                <a:gd name="connsiteX765" fmla="*/ 71437 w 833438"/>
                <a:gd name="connsiteY765" fmla="*/ 77787 h 846138"/>
                <a:gd name="connsiteX766" fmla="*/ 60325 w 833438"/>
                <a:gd name="connsiteY766" fmla="*/ 80962 h 846138"/>
                <a:gd name="connsiteX767" fmla="*/ 58737 w 833438"/>
                <a:gd name="connsiteY767" fmla="*/ 82550 h 846138"/>
                <a:gd name="connsiteX768" fmla="*/ 53975 w 833438"/>
                <a:gd name="connsiteY768" fmla="*/ 82550 h 846138"/>
                <a:gd name="connsiteX769" fmla="*/ 47625 w 833438"/>
                <a:gd name="connsiteY769" fmla="*/ 85725 h 846138"/>
                <a:gd name="connsiteX770" fmla="*/ 49212 w 833438"/>
                <a:gd name="connsiteY770" fmla="*/ 82550 h 846138"/>
                <a:gd name="connsiteX771" fmla="*/ 49212 w 833438"/>
                <a:gd name="connsiteY771" fmla="*/ 80962 h 846138"/>
                <a:gd name="connsiteX772" fmla="*/ 55562 w 833438"/>
                <a:gd name="connsiteY772" fmla="*/ 77787 h 846138"/>
                <a:gd name="connsiteX773" fmla="*/ 58737 w 833438"/>
                <a:gd name="connsiteY773" fmla="*/ 77787 h 846138"/>
                <a:gd name="connsiteX774" fmla="*/ 60325 w 833438"/>
                <a:gd name="connsiteY774" fmla="*/ 77787 h 846138"/>
                <a:gd name="connsiteX775" fmla="*/ 66675 w 833438"/>
                <a:gd name="connsiteY775" fmla="*/ 77787 h 846138"/>
                <a:gd name="connsiteX776" fmla="*/ 66675 w 833438"/>
                <a:gd name="connsiteY776" fmla="*/ 76200 h 846138"/>
                <a:gd name="connsiteX777" fmla="*/ 69850 w 833438"/>
                <a:gd name="connsiteY777" fmla="*/ 76200 h 846138"/>
                <a:gd name="connsiteX778" fmla="*/ 71437 w 833438"/>
                <a:gd name="connsiteY778" fmla="*/ 76200 h 846138"/>
                <a:gd name="connsiteX779" fmla="*/ 76200 w 833438"/>
                <a:gd name="connsiteY779" fmla="*/ 71437 h 846138"/>
                <a:gd name="connsiteX780" fmla="*/ 73025 w 833438"/>
                <a:gd name="connsiteY780" fmla="*/ 69850 h 846138"/>
                <a:gd name="connsiteX781" fmla="*/ 66675 w 833438"/>
                <a:gd name="connsiteY781" fmla="*/ 63500 h 846138"/>
                <a:gd name="connsiteX782" fmla="*/ 58737 w 833438"/>
                <a:gd name="connsiteY782" fmla="*/ 60325 h 846138"/>
                <a:gd name="connsiteX783" fmla="*/ 50800 w 833438"/>
                <a:gd name="connsiteY783" fmla="*/ 63500 h 846138"/>
                <a:gd name="connsiteX784" fmla="*/ 50800 w 833438"/>
                <a:gd name="connsiteY784" fmla="*/ 65087 h 846138"/>
                <a:gd name="connsiteX785" fmla="*/ 50800 w 833438"/>
                <a:gd name="connsiteY785" fmla="*/ 66675 h 846138"/>
                <a:gd name="connsiteX786" fmla="*/ 50800 w 833438"/>
                <a:gd name="connsiteY786" fmla="*/ 69850 h 846138"/>
                <a:gd name="connsiteX787" fmla="*/ 49212 w 833438"/>
                <a:gd name="connsiteY787" fmla="*/ 74612 h 846138"/>
                <a:gd name="connsiteX788" fmla="*/ 39687 w 833438"/>
                <a:gd name="connsiteY788" fmla="*/ 85725 h 846138"/>
                <a:gd name="connsiteX789" fmla="*/ 36512 w 833438"/>
                <a:gd name="connsiteY789" fmla="*/ 85725 h 846138"/>
                <a:gd name="connsiteX790" fmla="*/ 36512 w 833438"/>
                <a:gd name="connsiteY790" fmla="*/ 88900 h 846138"/>
                <a:gd name="connsiteX791" fmla="*/ 31750 w 833438"/>
                <a:gd name="connsiteY791" fmla="*/ 88900 h 846138"/>
                <a:gd name="connsiteX792" fmla="*/ 17462 w 833438"/>
                <a:gd name="connsiteY792" fmla="*/ 92075 h 846138"/>
                <a:gd name="connsiteX793" fmla="*/ 14287 w 833438"/>
                <a:gd name="connsiteY793" fmla="*/ 93662 h 846138"/>
                <a:gd name="connsiteX794" fmla="*/ 11112 w 833438"/>
                <a:gd name="connsiteY794" fmla="*/ 93662 h 846138"/>
                <a:gd name="connsiteX795" fmla="*/ 14287 w 833438"/>
                <a:gd name="connsiteY795" fmla="*/ 92075 h 846138"/>
                <a:gd name="connsiteX796" fmla="*/ 15875 w 833438"/>
                <a:gd name="connsiteY796" fmla="*/ 92075 h 846138"/>
                <a:gd name="connsiteX797" fmla="*/ 17462 w 833438"/>
                <a:gd name="connsiteY797" fmla="*/ 88900 h 846138"/>
                <a:gd name="connsiteX798" fmla="*/ 22225 w 833438"/>
                <a:gd name="connsiteY798" fmla="*/ 87312 h 846138"/>
                <a:gd name="connsiteX799" fmla="*/ 22225 w 833438"/>
                <a:gd name="connsiteY799" fmla="*/ 85725 h 846138"/>
                <a:gd name="connsiteX800" fmla="*/ 31750 w 833438"/>
                <a:gd name="connsiteY800" fmla="*/ 74612 h 846138"/>
                <a:gd name="connsiteX801" fmla="*/ 31750 w 833438"/>
                <a:gd name="connsiteY801" fmla="*/ 71437 h 846138"/>
                <a:gd name="connsiteX802" fmla="*/ 28575 w 833438"/>
                <a:gd name="connsiteY802" fmla="*/ 71437 h 846138"/>
                <a:gd name="connsiteX803" fmla="*/ 28575 w 833438"/>
                <a:gd name="connsiteY803" fmla="*/ 69850 h 846138"/>
                <a:gd name="connsiteX804" fmla="*/ 22225 w 833438"/>
                <a:gd name="connsiteY804" fmla="*/ 66675 h 846138"/>
                <a:gd name="connsiteX805" fmla="*/ 20637 w 833438"/>
                <a:gd name="connsiteY805" fmla="*/ 63500 h 846138"/>
                <a:gd name="connsiteX806" fmla="*/ 20637 w 833438"/>
                <a:gd name="connsiteY806" fmla="*/ 60325 h 846138"/>
                <a:gd name="connsiteX807" fmla="*/ 20637 w 833438"/>
                <a:gd name="connsiteY807" fmla="*/ 58737 h 846138"/>
                <a:gd name="connsiteX808" fmla="*/ 22225 w 833438"/>
                <a:gd name="connsiteY808" fmla="*/ 55562 h 846138"/>
                <a:gd name="connsiteX809" fmla="*/ 22225 w 833438"/>
                <a:gd name="connsiteY809" fmla="*/ 53975 h 846138"/>
                <a:gd name="connsiteX810" fmla="*/ 25400 w 833438"/>
                <a:gd name="connsiteY810" fmla="*/ 52387 h 846138"/>
                <a:gd name="connsiteX811" fmla="*/ 25400 w 833438"/>
                <a:gd name="connsiteY811" fmla="*/ 47625 h 846138"/>
                <a:gd name="connsiteX812" fmla="*/ 25400 w 833438"/>
                <a:gd name="connsiteY812" fmla="*/ 44450 h 846138"/>
                <a:gd name="connsiteX813" fmla="*/ 25400 w 833438"/>
                <a:gd name="connsiteY813" fmla="*/ 42862 h 846138"/>
                <a:gd name="connsiteX814" fmla="*/ 22225 w 833438"/>
                <a:gd name="connsiteY814" fmla="*/ 41275 h 846138"/>
                <a:gd name="connsiteX815" fmla="*/ 20637 w 833438"/>
                <a:gd name="connsiteY815" fmla="*/ 38100 h 846138"/>
                <a:gd name="connsiteX816" fmla="*/ 17462 w 833438"/>
                <a:gd name="connsiteY816" fmla="*/ 38100 h 846138"/>
                <a:gd name="connsiteX817" fmla="*/ 15875 w 833438"/>
                <a:gd name="connsiteY817" fmla="*/ 38100 h 846138"/>
                <a:gd name="connsiteX818" fmla="*/ 14287 w 833438"/>
                <a:gd name="connsiteY818" fmla="*/ 36512 h 846138"/>
                <a:gd name="connsiteX819" fmla="*/ 11112 w 833438"/>
                <a:gd name="connsiteY819" fmla="*/ 33337 h 846138"/>
                <a:gd name="connsiteX820" fmla="*/ 9525 w 833438"/>
                <a:gd name="connsiteY820" fmla="*/ 31750 h 846138"/>
                <a:gd name="connsiteX821" fmla="*/ 0 w 833438"/>
                <a:gd name="connsiteY821" fmla="*/ 19050 h 846138"/>
                <a:gd name="connsiteX822" fmla="*/ 0 w 833438"/>
                <a:gd name="connsiteY822" fmla="*/ 15875 h 846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</a:cxnLst>
              <a:rect l="l" t="t" r="r" b="b"/>
              <a:pathLst>
                <a:path w="833438" h="846138">
                  <a:moveTo>
                    <a:pt x="642937" y="841375"/>
                  </a:moveTo>
                  <a:lnTo>
                    <a:pt x="646112" y="841375"/>
                  </a:lnTo>
                  <a:lnTo>
                    <a:pt x="646112" y="844551"/>
                  </a:lnTo>
                  <a:lnTo>
                    <a:pt x="641350" y="844551"/>
                  </a:lnTo>
                  <a:lnTo>
                    <a:pt x="636587" y="846138"/>
                  </a:lnTo>
                  <a:lnTo>
                    <a:pt x="636587" y="844551"/>
                  </a:lnTo>
                  <a:close/>
                  <a:moveTo>
                    <a:pt x="647700" y="838200"/>
                  </a:moveTo>
                  <a:lnTo>
                    <a:pt x="652463" y="838200"/>
                  </a:lnTo>
                  <a:lnTo>
                    <a:pt x="654050" y="839787"/>
                  </a:lnTo>
                  <a:lnTo>
                    <a:pt x="650875" y="844550"/>
                  </a:lnTo>
                  <a:lnTo>
                    <a:pt x="647700" y="844550"/>
                  </a:lnTo>
                  <a:lnTo>
                    <a:pt x="647700" y="839787"/>
                  </a:lnTo>
                  <a:close/>
                  <a:moveTo>
                    <a:pt x="601662" y="838200"/>
                  </a:moveTo>
                  <a:lnTo>
                    <a:pt x="603249" y="839787"/>
                  </a:lnTo>
                  <a:lnTo>
                    <a:pt x="606425" y="839787"/>
                  </a:lnTo>
                  <a:lnTo>
                    <a:pt x="606425" y="841375"/>
                  </a:lnTo>
                  <a:lnTo>
                    <a:pt x="603249" y="844550"/>
                  </a:lnTo>
                  <a:lnTo>
                    <a:pt x="601662" y="839787"/>
                  </a:lnTo>
                  <a:close/>
                  <a:moveTo>
                    <a:pt x="663575" y="827087"/>
                  </a:moveTo>
                  <a:lnTo>
                    <a:pt x="665163" y="827087"/>
                  </a:lnTo>
                  <a:lnTo>
                    <a:pt x="668337" y="828674"/>
                  </a:lnTo>
                  <a:lnTo>
                    <a:pt x="668337" y="827087"/>
                  </a:lnTo>
                  <a:lnTo>
                    <a:pt x="669925" y="827087"/>
                  </a:lnTo>
                  <a:lnTo>
                    <a:pt x="673100" y="827087"/>
                  </a:lnTo>
                  <a:lnTo>
                    <a:pt x="673100" y="828674"/>
                  </a:lnTo>
                  <a:lnTo>
                    <a:pt x="674687" y="828674"/>
                  </a:lnTo>
                  <a:lnTo>
                    <a:pt x="674687" y="830262"/>
                  </a:lnTo>
                  <a:lnTo>
                    <a:pt x="674687" y="833437"/>
                  </a:lnTo>
                  <a:lnTo>
                    <a:pt x="673100" y="833437"/>
                  </a:lnTo>
                  <a:lnTo>
                    <a:pt x="669925" y="828674"/>
                  </a:lnTo>
                  <a:lnTo>
                    <a:pt x="668338" y="828674"/>
                  </a:lnTo>
                  <a:lnTo>
                    <a:pt x="668338" y="830262"/>
                  </a:lnTo>
                  <a:lnTo>
                    <a:pt x="669925" y="833437"/>
                  </a:lnTo>
                  <a:lnTo>
                    <a:pt x="669925" y="835024"/>
                  </a:lnTo>
                  <a:lnTo>
                    <a:pt x="668338" y="835024"/>
                  </a:lnTo>
                  <a:lnTo>
                    <a:pt x="661988" y="839787"/>
                  </a:lnTo>
                  <a:lnTo>
                    <a:pt x="657225" y="839787"/>
                  </a:lnTo>
                  <a:lnTo>
                    <a:pt x="663575" y="828674"/>
                  </a:lnTo>
                  <a:close/>
                  <a:moveTo>
                    <a:pt x="719137" y="822325"/>
                  </a:moveTo>
                  <a:lnTo>
                    <a:pt x="714375" y="823913"/>
                  </a:lnTo>
                  <a:lnTo>
                    <a:pt x="709612" y="823913"/>
                  </a:lnTo>
                  <a:close/>
                  <a:moveTo>
                    <a:pt x="679450" y="817562"/>
                  </a:moveTo>
                  <a:lnTo>
                    <a:pt x="681038" y="819149"/>
                  </a:lnTo>
                  <a:lnTo>
                    <a:pt x="684213" y="822324"/>
                  </a:lnTo>
                  <a:lnTo>
                    <a:pt x="685801" y="823912"/>
                  </a:lnTo>
                  <a:lnTo>
                    <a:pt x="687388" y="830262"/>
                  </a:lnTo>
                  <a:lnTo>
                    <a:pt x="687388" y="833437"/>
                  </a:lnTo>
                  <a:lnTo>
                    <a:pt x="685801" y="833437"/>
                  </a:lnTo>
                  <a:lnTo>
                    <a:pt x="685801" y="830262"/>
                  </a:lnTo>
                  <a:lnTo>
                    <a:pt x="679450" y="819149"/>
                  </a:lnTo>
                  <a:close/>
                  <a:moveTo>
                    <a:pt x="731838" y="815975"/>
                  </a:moveTo>
                  <a:lnTo>
                    <a:pt x="735013" y="815975"/>
                  </a:lnTo>
                  <a:lnTo>
                    <a:pt x="731838" y="817562"/>
                  </a:lnTo>
                  <a:lnTo>
                    <a:pt x="728663" y="819150"/>
                  </a:lnTo>
                  <a:lnTo>
                    <a:pt x="723900" y="822325"/>
                  </a:lnTo>
                  <a:lnTo>
                    <a:pt x="723900" y="819150"/>
                  </a:lnTo>
                  <a:lnTo>
                    <a:pt x="730251" y="817562"/>
                  </a:lnTo>
                  <a:close/>
                  <a:moveTo>
                    <a:pt x="746125" y="808037"/>
                  </a:moveTo>
                  <a:lnTo>
                    <a:pt x="747712" y="808037"/>
                  </a:lnTo>
                  <a:lnTo>
                    <a:pt x="747712" y="811212"/>
                  </a:lnTo>
                  <a:lnTo>
                    <a:pt x="746125" y="811212"/>
                  </a:lnTo>
                  <a:lnTo>
                    <a:pt x="744537" y="811212"/>
                  </a:lnTo>
                  <a:lnTo>
                    <a:pt x="741362" y="811212"/>
                  </a:lnTo>
                  <a:close/>
                  <a:moveTo>
                    <a:pt x="758825" y="801687"/>
                  </a:moveTo>
                  <a:lnTo>
                    <a:pt x="755650" y="806450"/>
                  </a:lnTo>
                  <a:lnTo>
                    <a:pt x="752475" y="806450"/>
                  </a:lnTo>
                  <a:lnTo>
                    <a:pt x="755650" y="804862"/>
                  </a:lnTo>
                  <a:close/>
                  <a:moveTo>
                    <a:pt x="766763" y="795337"/>
                  </a:moveTo>
                  <a:lnTo>
                    <a:pt x="768350" y="795337"/>
                  </a:lnTo>
                  <a:lnTo>
                    <a:pt x="766763" y="796924"/>
                  </a:lnTo>
                  <a:lnTo>
                    <a:pt x="763588" y="796924"/>
                  </a:lnTo>
                  <a:close/>
                  <a:moveTo>
                    <a:pt x="803275" y="739775"/>
                  </a:moveTo>
                  <a:lnTo>
                    <a:pt x="806450" y="739775"/>
                  </a:lnTo>
                  <a:lnTo>
                    <a:pt x="808037" y="739775"/>
                  </a:lnTo>
                  <a:lnTo>
                    <a:pt x="808037" y="741362"/>
                  </a:lnTo>
                  <a:lnTo>
                    <a:pt x="806450" y="741362"/>
                  </a:lnTo>
                  <a:lnTo>
                    <a:pt x="795337" y="763587"/>
                  </a:lnTo>
                  <a:lnTo>
                    <a:pt x="795337" y="766762"/>
                  </a:lnTo>
                  <a:lnTo>
                    <a:pt x="773112" y="793750"/>
                  </a:lnTo>
                  <a:lnTo>
                    <a:pt x="769937" y="793750"/>
                  </a:lnTo>
                  <a:lnTo>
                    <a:pt x="769937" y="790575"/>
                  </a:lnTo>
                  <a:lnTo>
                    <a:pt x="773112" y="790575"/>
                  </a:lnTo>
                  <a:lnTo>
                    <a:pt x="773112" y="788987"/>
                  </a:lnTo>
                  <a:lnTo>
                    <a:pt x="785812" y="773112"/>
                  </a:lnTo>
                  <a:lnTo>
                    <a:pt x="790575" y="766762"/>
                  </a:lnTo>
                  <a:lnTo>
                    <a:pt x="792162" y="762000"/>
                  </a:lnTo>
                  <a:lnTo>
                    <a:pt x="790576" y="762000"/>
                  </a:lnTo>
                  <a:lnTo>
                    <a:pt x="790576" y="760412"/>
                  </a:lnTo>
                  <a:lnTo>
                    <a:pt x="792163" y="761999"/>
                  </a:lnTo>
                  <a:lnTo>
                    <a:pt x="795337" y="757237"/>
                  </a:lnTo>
                  <a:lnTo>
                    <a:pt x="796925" y="750887"/>
                  </a:lnTo>
                  <a:lnTo>
                    <a:pt x="800100" y="746125"/>
                  </a:lnTo>
                  <a:lnTo>
                    <a:pt x="803275" y="741362"/>
                  </a:lnTo>
                  <a:close/>
                  <a:moveTo>
                    <a:pt x="814387" y="722312"/>
                  </a:moveTo>
                  <a:lnTo>
                    <a:pt x="814387" y="723899"/>
                  </a:lnTo>
                  <a:lnTo>
                    <a:pt x="812800" y="730250"/>
                  </a:lnTo>
                  <a:lnTo>
                    <a:pt x="811212" y="733425"/>
                  </a:lnTo>
                  <a:close/>
                  <a:moveTo>
                    <a:pt x="817563" y="688975"/>
                  </a:moveTo>
                  <a:lnTo>
                    <a:pt x="819150" y="690562"/>
                  </a:lnTo>
                  <a:lnTo>
                    <a:pt x="817563" y="696913"/>
                  </a:lnTo>
                  <a:lnTo>
                    <a:pt x="814387" y="696913"/>
                  </a:lnTo>
                  <a:lnTo>
                    <a:pt x="814387" y="695325"/>
                  </a:lnTo>
                  <a:lnTo>
                    <a:pt x="814387" y="692150"/>
                  </a:lnTo>
                  <a:lnTo>
                    <a:pt x="817563" y="690562"/>
                  </a:lnTo>
                  <a:close/>
                  <a:moveTo>
                    <a:pt x="647700" y="668337"/>
                  </a:moveTo>
                  <a:lnTo>
                    <a:pt x="652463" y="668337"/>
                  </a:lnTo>
                  <a:lnTo>
                    <a:pt x="652463" y="673099"/>
                  </a:lnTo>
                  <a:lnTo>
                    <a:pt x="652463" y="674687"/>
                  </a:lnTo>
                  <a:lnTo>
                    <a:pt x="650876" y="674687"/>
                  </a:lnTo>
                  <a:lnTo>
                    <a:pt x="647700" y="669924"/>
                  </a:lnTo>
                  <a:close/>
                  <a:moveTo>
                    <a:pt x="596899" y="592137"/>
                  </a:moveTo>
                  <a:lnTo>
                    <a:pt x="601662" y="595312"/>
                  </a:lnTo>
                  <a:lnTo>
                    <a:pt x="608012" y="595312"/>
                  </a:lnTo>
                  <a:lnTo>
                    <a:pt x="609600" y="595312"/>
                  </a:lnTo>
                  <a:lnTo>
                    <a:pt x="612775" y="595312"/>
                  </a:lnTo>
                  <a:lnTo>
                    <a:pt x="612775" y="596900"/>
                  </a:lnTo>
                  <a:lnTo>
                    <a:pt x="608012" y="600075"/>
                  </a:lnTo>
                  <a:lnTo>
                    <a:pt x="606425" y="600075"/>
                  </a:lnTo>
                  <a:lnTo>
                    <a:pt x="601662" y="596900"/>
                  </a:lnTo>
                  <a:lnTo>
                    <a:pt x="596899" y="595312"/>
                  </a:lnTo>
                  <a:close/>
                  <a:moveTo>
                    <a:pt x="595312" y="584200"/>
                  </a:moveTo>
                  <a:lnTo>
                    <a:pt x="596899" y="585787"/>
                  </a:lnTo>
                  <a:lnTo>
                    <a:pt x="596899" y="590550"/>
                  </a:lnTo>
                  <a:lnTo>
                    <a:pt x="596899" y="592137"/>
                  </a:lnTo>
                  <a:lnTo>
                    <a:pt x="595312" y="590550"/>
                  </a:lnTo>
                  <a:close/>
                  <a:moveTo>
                    <a:pt x="596900" y="563562"/>
                  </a:moveTo>
                  <a:lnTo>
                    <a:pt x="598487" y="563562"/>
                  </a:lnTo>
                  <a:lnTo>
                    <a:pt x="601662" y="563562"/>
                  </a:lnTo>
                  <a:lnTo>
                    <a:pt x="603250" y="568324"/>
                  </a:lnTo>
                  <a:lnTo>
                    <a:pt x="606425" y="581025"/>
                  </a:lnTo>
                  <a:lnTo>
                    <a:pt x="608013" y="590550"/>
                  </a:lnTo>
                  <a:lnTo>
                    <a:pt x="606425" y="590550"/>
                  </a:lnTo>
                  <a:lnTo>
                    <a:pt x="606425" y="588962"/>
                  </a:lnTo>
                  <a:lnTo>
                    <a:pt x="606425" y="585787"/>
                  </a:lnTo>
                  <a:lnTo>
                    <a:pt x="603250" y="584200"/>
                  </a:lnTo>
                  <a:lnTo>
                    <a:pt x="601662" y="573087"/>
                  </a:lnTo>
                  <a:lnTo>
                    <a:pt x="601662" y="569912"/>
                  </a:lnTo>
                  <a:lnTo>
                    <a:pt x="598487" y="569912"/>
                  </a:lnTo>
                  <a:lnTo>
                    <a:pt x="598487" y="568324"/>
                  </a:lnTo>
                  <a:lnTo>
                    <a:pt x="596900" y="566737"/>
                  </a:lnTo>
                  <a:close/>
                  <a:moveTo>
                    <a:pt x="587375" y="563562"/>
                  </a:moveTo>
                  <a:lnTo>
                    <a:pt x="590550" y="563562"/>
                  </a:lnTo>
                  <a:lnTo>
                    <a:pt x="592138" y="573087"/>
                  </a:lnTo>
                  <a:lnTo>
                    <a:pt x="592138" y="574675"/>
                  </a:lnTo>
                  <a:lnTo>
                    <a:pt x="590550" y="569912"/>
                  </a:lnTo>
                  <a:lnTo>
                    <a:pt x="587375" y="566737"/>
                  </a:lnTo>
                  <a:close/>
                  <a:moveTo>
                    <a:pt x="585787" y="550862"/>
                  </a:moveTo>
                  <a:lnTo>
                    <a:pt x="587375" y="552450"/>
                  </a:lnTo>
                  <a:lnTo>
                    <a:pt x="587375" y="555625"/>
                  </a:lnTo>
                  <a:lnTo>
                    <a:pt x="587375" y="557212"/>
                  </a:lnTo>
                  <a:lnTo>
                    <a:pt x="587375" y="558800"/>
                  </a:lnTo>
                  <a:lnTo>
                    <a:pt x="587375" y="561975"/>
                  </a:lnTo>
                  <a:lnTo>
                    <a:pt x="585787" y="561975"/>
                  </a:lnTo>
                  <a:lnTo>
                    <a:pt x="585787" y="558800"/>
                  </a:lnTo>
                  <a:close/>
                  <a:moveTo>
                    <a:pt x="541337" y="468312"/>
                  </a:moveTo>
                  <a:lnTo>
                    <a:pt x="542924" y="468312"/>
                  </a:lnTo>
                  <a:lnTo>
                    <a:pt x="546099" y="468312"/>
                  </a:lnTo>
                  <a:lnTo>
                    <a:pt x="546099" y="469899"/>
                  </a:lnTo>
                  <a:lnTo>
                    <a:pt x="552450" y="479424"/>
                  </a:lnTo>
                  <a:lnTo>
                    <a:pt x="552450" y="481012"/>
                  </a:lnTo>
                  <a:lnTo>
                    <a:pt x="550862" y="481012"/>
                  </a:lnTo>
                  <a:lnTo>
                    <a:pt x="541337" y="469899"/>
                  </a:lnTo>
                  <a:close/>
                  <a:moveTo>
                    <a:pt x="795338" y="442689"/>
                  </a:moveTo>
                  <a:lnTo>
                    <a:pt x="795338" y="446087"/>
                  </a:lnTo>
                  <a:lnTo>
                    <a:pt x="796329" y="446087"/>
                  </a:lnTo>
                  <a:close/>
                  <a:moveTo>
                    <a:pt x="792163" y="431803"/>
                  </a:moveTo>
                  <a:lnTo>
                    <a:pt x="792163" y="436562"/>
                  </a:lnTo>
                  <a:lnTo>
                    <a:pt x="794631" y="440264"/>
                  </a:lnTo>
                  <a:close/>
                  <a:moveTo>
                    <a:pt x="525463" y="401637"/>
                  </a:moveTo>
                  <a:lnTo>
                    <a:pt x="525463" y="403225"/>
                  </a:lnTo>
                  <a:lnTo>
                    <a:pt x="523875" y="406400"/>
                  </a:lnTo>
                  <a:close/>
                  <a:moveTo>
                    <a:pt x="762000" y="357187"/>
                  </a:moveTo>
                  <a:lnTo>
                    <a:pt x="763588" y="361950"/>
                  </a:lnTo>
                  <a:lnTo>
                    <a:pt x="762000" y="358775"/>
                  </a:lnTo>
                  <a:close/>
                  <a:moveTo>
                    <a:pt x="769938" y="314325"/>
                  </a:moveTo>
                  <a:lnTo>
                    <a:pt x="773113" y="319087"/>
                  </a:lnTo>
                  <a:lnTo>
                    <a:pt x="773113" y="320675"/>
                  </a:lnTo>
                  <a:lnTo>
                    <a:pt x="774701" y="323850"/>
                  </a:lnTo>
                  <a:lnTo>
                    <a:pt x="777876" y="330200"/>
                  </a:lnTo>
                  <a:lnTo>
                    <a:pt x="777876" y="331787"/>
                  </a:lnTo>
                  <a:lnTo>
                    <a:pt x="777876" y="334962"/>
                  </a:lnTo>
                  <a:lnTo>
                    <a:pt x="774701" y="336550"/>
                  </a:lnTo>
                  <a:lnTo>
                    <a:pt x="773113" y="336550"/>
                  </a:lnTo>
                  <a:lnTo>
                    <a:pt x="769938" y="338137"/>
                  </a:lnTo>
                  <a:lnTo>
                    <a:pt x="769938" y="347662"/>
                  </a:lnTo>
                  <a:lnTo>
                    <a:pt x="769938" y="363537"/>
                  </a:lnTo>
                  <a:lnTo>
                    <a:pt x="769938" y="368300"/>
                  </a:lnTo>
                  <a:lnTo>
                    <a:pt x="769938" y="369887"/>
                  </a:lnTo>
                  <a:lnTo>
                    <a:pt x="773113" y="374650"/>
                  </a:lnTo>
                  <a:lnTo>
                    <a:pt x="773113" y="379412"/>
                  </a:lnTo>
                  <a:lnTo>
                    <a:pt x="774701" y="381000"/>
                  </a:lnTo>
                  <a:lnTo>
                    <a:pt x="777876" y="387350"/>
                  </a:lnTo>
                  <a:lnTo>
                    <a:pt x="781051" y="396875"/>
                  </a:lnTo>
                  <a:lnTo>
                    <a:pt x="784226" y="401637"/>
                  </a:lnTo>
                  <a:lnTo>
                    <a:pt x="784226" y="403225"/>
                  </a:lnTo>
                  <a:lnTo>
                    <a:pt x="785813" y="406400"/>
                  </a:lnTo>
                  <a:lnTo>
                    <a:pt x="785813" y="407987"/>
                  </a:lnTo>
                  <a:lnTo>
                    <a:pt x="785813" y="409575"/>
                  </a:lnTo>
                  <a:lnTo>
                    <a:pt x="779463" y="398462"/>
                  </a:lnTo>
                  <a:lnTo>
                    <a:pt x="774701" y="387350"/>
                  </a:lnTo>
                  <a:lnTo>
                    <a:pt x="773113" y="385762"/>
                  </a:lnTo>
                  <a:lnTo>
                    <a:pt x="769938" y="379412"/>
                  </a:lnTo>
                  <a:lnTo>
                    <a:pt x="769938" y="379412"/>
                  </a:lnTo>
                  <a:lnTo>
                    <a:pt x="769938" y="376237"/>
                  </a:lnTo>
                  <a:lnTo>
                    <a:pt x="769938" y="374650"/>
                  </a:lnTo>
                  <a:lnTo>
                    <a:pt x="768351" y="373062"/>
                  </a:lnTo>
                  <a:lnTo>
                    <a:pt x="768351" y="365125"/>
                  </a:lnTo>
                  <a:lnTo>
                    <a:pt x="768351" y="363537"/>
                  </a:lnTo>
                  <a:lnTo>
                    <a:pt x="768351" y="350837"/>
                  </a:lnTo>
                  <a:lnTo>
                    <a:pt x="768351" y="341312"/>
                  </a:lnTo>
                  <a:lnTo>
                    <a:pt x="768351" y="338137"/>
                  </a:lnTo>
                  <a:lnTo>
                    <a:pt x="768351" y="336550"/>
                  </a:lnTo>
                  <a:lnTo>
                    <a:pt x="769938" y="331787"/>
                  </a:lnTo>
                  <a:lnTo>
                    <a:pt x="769938" y="327025"/>
                  </a:lnTo>
                  <a:lnTo>
                    <a:pt x="769938" y="325437"/>
                  </a:lnTo>
                  <a:lnTo>
                    <a:pt x="769938" y="323850"/>
                  </a:lnTo>
                  <a:lnTo>
                    <a:pt x="769938" y="320675"/>
                  </a:lnTo>
                  <a:lnTo>
                    <a:pt x="769938" y="319087"/>
                  </a:lnTo>
                  <a:close/>
                  <a:moveTo>
                    <a:pt x="763588" y="314325"/>
                  </a:moveTo>
                  <a:lnTo>
                    <a:pt x="766763" y="314325"/>
                  </a:lnTo>
                  <a:lnTo>
                    <a:pt x="768350" y="315912"/>
                  </a:lnTo>
                  <a:lnTo>
                    <a:pt x="768350" y="319087"/>
                  </a:lnTo>
                  <a:lnTo>
                    <a:pt x="768350" y="320675"/>
                  </a:lnTo>
                  <a:lnTo>
                    <a:pt x="768350" y="323850"/>
                  </a:lnTo>
                  <a:lnTo>
                    <a:pt x="766763" y="325437"/>
                  </a:lnTo>
                  <a:lnTo>
                    <a:pt x="766763" y="327025"/>
                  </a:lnTo>
                  <a:lnTo>
                    <a:pt x="763588" y="330200"/>
                  </a:lnTo>
                  <a:lnTo>
                    <a:pt x="763588" y="334962"/>
                  </a:lnTo>
                  <a:lnTo>
                    <a:pt x="762000" y="342900"/>
                  </a:lnTo>
                  <a:lnTo>
                    <a:pt x="763588" y="350837"/>
                  </a:lnTo>
                  <a:lnTo>
                    <a:pt x="762000" y="354012"/>
                  </a:lnTo>
                  <a:lnTo>
                    <a:pt x="762000" y="357187"/>
                  </a:lnTo>
                  <a:lnTo>
                    <a:pt x="757238" y="342900"/>
                  </a:lnTo>
                  <a:lnTo>
                    <a:pt x="755650" y="330200"/>
                  </a:lnTo>
                  <a:lnTo>
                    <a:pt x="755650" y="323850"/>
                  </a:lnTo>
                  <a:lnTo>
                    <a:pt x="755650" y="320675"/>
                  </a:lnTo>
                  <a:lnTo>
                    <a:pt x="758825" y="315912"/>
                  </a:lnTo>
                  <a:close/>
                  <a:moveTo>
                    <a:pt x="769409" y="312737"/>
                  </a:moveTo>
                  <a:lnTo>
                    <a:pt x="769938" y="312737"/>
                  </a:lnTo>
                  <a:lnTo>
                    <a:pt x="769938" y="314325"/>
                  </a:lnTo>
                  <a:close/>
                  <a:moveTo>
                    <a:pt x="287337" y="180974"/>
                  </a:moveTo>
                  <a:lnTo>
                    <a:pt x="288925" y="180974"/>
                  </a:lnTo>
                  <a:lnTo>
                    <a:pt x="287337" y="182562"/>
                  </a:lnTo>
                  <a:lnTo>
                    <a:pt x="285750" y="182562"/>
                  </a:lnTo>
                  <a:lnTo>
                    <a:pt x="282575" y="182562"/>
                  </a:lnTo>
                  <a:close/>
                  <a:moveTo>
                    <a:pt x="276225" y="179387"/>
                  </a:moveTo>
                  <a:lnTo>
                    <a:pt x="277812" y="179387"/>
                  </a:lnTo>
                  <a:lnTo>
                    <a:pt x="280987" y="180974"/>
                  </a:lnTo>
                  <a:lnTo>
                    <a:pt x="282575" y="182562"/>
                  </a:lnTo>
                  <a:lnTo>
                    <a:pt x="280987" y="182562"/>
                  </a:lnTo>
                  <a:lnTo>
                    <a:pt x="277812" y="180974"/>
                  </a:lnTo>
                  <a:lnTo>
                    <a:pt x="276225" y="180974"/>
                  </a:lnTo>
                  <a:close/>
                  <a:moveTo>
                    <a:pt x="265112" y="171450"/>
                  </a:moveTo>
                  <a:lnTo>
                    <a:pt x="271462" y="171450"/>
                  </a:lnTo>
                  <a:lnTo>
                    <a:pt x="274637" y="171450"/>
                  </a:lnTo>
                  <a:lnTo>
                    <a:pt x="276224" y="171450"/>
                  </a:lnTo>
                  <a:lnTo>
                    <a:pt x="277812" y="171450"/>
                  </a:lnTo>
                  <a:lnTo>
                    <a:pt x="277812" y="174625"/>
                  </a:lnTo>
                  <a:lnTo>
                    <a:pt x="276224" y="179388"/>
                  </a:lnTo>
                  <a:lnTo>
                    <a:pt x="274637" y="179388"/>
                  </a:lnTo>
                  <a:lnTo>
                    <a:pt x="271462" y="179388"/>
                  </a:lnTo>
                  <a:lnTo>
                    <a:pt x="266699" y="174625"/>
                  </a:lnTo>
                  <a:close/>
                  <a:moveTo>
                    <a:pt x="320675" y="163512"/>
                  </a:moveTo>
                  <a:lnTo>
                    <a:pt x="311150" y="169862"/>
                  </a:lnTo>
                  <a:lnTo>
                    <a:pt x="307975" y="171449"/>
                  </a:lnTo>
                  <a:close/>
                  <a:moveTo>
                    <a:pt x="325437" y="158749"/>
                  </a:moveTo>
                  <a:lnTo>
                    <a:pt x="327024" y="158749"/>
                  </a:lnTo>
                  <a:lnTo>
                    <a:pt x="325437" y="160337"/>
                  </a:lnTo>
                  <a:lnTo>
                    <a:pt x="322262" y="160337"/>
                  </a:lnTo>
                  <a:close/>
                  <a:moveTo>
                    <a:pt x="242887" y="153987"/>
                  </a:moveTo>
                  <a:lnTo>
                    <a:pt x="244475" y="158750"/>
                  </a:lnTo>
                  <a:lnTo>
                    <a:pt x="244475" y="163512"/>
                  </a:lnTo>
                  <a:lnTo>
                    <a:pt x="244475" y="165100"/>
                  </a:lnTo>
                  <a:lnTo>
                    <a:pt x="247650" y="168275"/>
                  </a:lnTo>
                  <a:lnTo>
                    <a:pt x="247650" y="169862"/>
                  </a:lnTo>
                  <a:lnTo>
                    <a:pt x="249237" y="171450"/>
                  </a:lnTo>
                  <a:lnTo>
                    <a:pt x="247650" y="171450"/>
                  </a:lnTo>
                  <a:lnTo>
                    <a:pt x="244475" y="169862"/>
                  </a:lnTo>
                  <a:lnTo>
                    <a:pt x="244475" y="168275"/>
                  </a:lnTo>
                  <a:lnTo>
                    <a:pt x="242887" y="163512"/>
                  </a:lnTo>
                  <a:lnTo>
                    <a:pt x="242887" y="158750"/>
                  </a:lnTo>
                  <a:lnTo>
                    <a:pt x="242887" y="157162"/>
                  </a:lnTo>
                  <a:close/>
                  <a:moveTo>
                    <a:pt x="334962" y="153987"/>
                  </a:moveTo>
                  <a:lnTo>
                    <a:pt x="334962" y="157162"/>
                  </a:lnTo>
                  <a:lnTo>
                    <a:pt x="331787" y="158749"/>
                  </a:lnTo>
                  <a:lnTo>
                    <a:pt x="330199" y="158749"/>
                  </a:lnTo>
                  <a:lnTo>
                    <a:pt x="331787" y="157162"/>
                  </a:lnTo>
                  <a:close/>
                  <a:moveTo>
                    <a:pt x="242887" y="147637"/>
                  </a:moveTo>
                  <a:lnTo>
                    <a:pt x="244475" y="147637"/>
                  </a:lnTo>
                  <a:lnTo>
                    <a:pt x="244475" y="149225"/>
                  </a:lnTo>
                  <a:lnTo>
                    <a:pt x="244475" y="152400"/>
                  </a:lnTo>
                  <a:lnTo>
                    <a:pt x="242887" y="153987"/>
                  </a:lnTo>
                  <a:lnTo>
                    <a:pt x="242887" y="149225"/>
                  </a:lnTo>
                  <a:close/>
                  <a:moveTo>
                    <a:pt x="3175" y="0"/>
                  </a:moveTo>
                  <a:lnTo>
                    <a:pt x="6350" y="0"/>
                  </a:lnTo>
                  <a:lnTo>
                    <a:pt x="252412" y="0"/>
                  </a:lnTo>
                  <a:lnTo>
                    <a:pt x="285750" y="0"/>
                  </a:lnTo>
                  <a:lnTo>
                    <a:pt x="287337" y="0"/>
                  </a:lnTo>
                  <a:lnTo>
                    <a:pt x="287337" y="3175"/>
                  </a:lnTo>
                  <a:lnTo>
                    <a:pt x="292100" y="9525"/>
                  </a:lnTo>
                  <a:lnTo>
                    <a:pt x="296862" y="25400"/>
                  </a:lnTo>
                  <a:lnTo>
                    <a:pt x="296862" y="26987"/>
                  </a:lnTo>
                  <a:lnTo>
                    <a:pt x="296862" y="31750"/>
                  </a:lnTo>
                  <a:lnTo>
                    <a:pt x="298450" y="33337"/>
                  </a:lnTo>
                  <a:lnTo>
                    <a:pt x="303212" y="36512"/>
                  </a:lnTo>
                  <a:lnTo>
                    <a:pt x="346075" y="38100"/>
                  </a:lnTo>
                  <a:lnTo>
                    <a:pt x="349250" y="38100"/>
                  </a:lnTo>
                  <a:lnTo>
                    <a:pt x="371475" y="41275"/>
                  </a:lnTo>
                  <a:lnTo>
                    <a:pt x="427038" y="44450"/>
                  </a:lnTo>
                  <a:lnTo>
                    <a:pt x="465138" y="47625"/>
                  </a:lnTo>
                  <a:lnTo>
                    <a:pt x="503238" y="49212"/>
                  </a:lnTo>
                  <a:lnTo>
                    <a:pt x="515938" y="52387"/>
                  </a:lnTo>
                  <a:lnTo>
                    <a:pt x="554038" y="53975"/>
                  </a:lnTo>
                  <a:lnTo>
                    <a:pt x="565150" y="53975"/>
                  </a:lnTo>
                  <a:lnTo>
                    <a:pt x="579438" y="55562"/>
                  </a:lnTo>
                  <a:lnTo>
                    <a:pt x="590550" y="55562"/>
                  </a:lnTo>
                  <a:lnTo>
                    <a:pt x="595313" y="66675"/>
                  </a:lnTo>
                  <a:lnTo>
                    <a:pt x="595313" y="69850"/>
                  </a:lnTo>
                  <a:lnTo>
                    <a:pt x="592138" y="71437"/>
                  </a:lnTo>
                  <a:lnTo>
                    <a:pt x="592138" y="74612"/>
                  </a:lnTo>
                  <a:lnTo>
                    <a:pt x="592138" y="76200"/>
                  </a:lnTo>
                  <a:lnTo>
                    <a:pt x="595313" y="80962"/>
                  </a:lnTo>
                  <a:lnTo>
                    <a:pt x="595313" y="82550"/>
                  </a:lnTo>
                  <a:lnTo>
                    <a:pt x="596900" y="82550"/>
                  </a:lnTo>
                  <a:lnTo>
                    <a:pt x="606425" y="82550"/>
                  </a:lnTo>
                  <a:lnTo>
                    <a:pt x="609600" y="82550"/>
                  </a:lnTo>
                  <a:lnTo>
                    <a:pt x="609600" y="80962"/>
                  </a:lnTo>
                  <a:lnTo>
                    <a:pt x="614363" y="60325"/>
                  </a:lnTo>
                  <a:lnTo>
                    <a:pt x="614363" y="55562"/>
                  </a:lnTo>
                  <a:lnTo>
                    <a:pt x="614363" y="53975"/>
                  </a:lnTo>
                  <a:lnTo>
                    <a:pt x="614363" y="52387"/>
                  </a:lnTo>
                  <a:lnTo>
                    <a:pt x="612775" y="49212"/>
                  </a:lnTo>
                  <a:lnTo>
                    <a:pt x="612775" y="47625"/>
                  </a:lnTo>
                  <a:lnTo>
                    <a:pt x="609600" y="47625"/>
                  </a:lnTo>
                  <a:lnTo>
                    <a:pt x="609600" y="44450"/>
                  </a:lnTo>
                  <a:lnTo>
                    <a:pt x="609600" y="42862"/>
                  </a:lnTo>
                  <a:lnTo>
                    <a:pt x="612775" y="33337"/>
                  </a:lnTo>
                  <a:lnTo>
                    <a:pt x="614363" y="26987"/>
                  </a:lnTo>
                  <a:lnTo>
                    <a:pt x="619125" y="22225"/>
                  </a:lnTo>
                  <a:lnTo>
                    <a:pt x="620713" y="22225"/>
                  </a:lnTo>
                  <a:lnTo>
                    <a:pt x="625475" y="22225"/>
                  </a:lnTo>
                  <a:lnTo>
                    <a:pt x="636588" y="26987"/>
                  </a:lnTo>
                  <a:lnTo>
                    <a:pt x="639763" y="30162"/>
                  </a:lnTo>
                  <a:lnTo>
                    <a:pt x="641351" y="30162"/>
                  </a:lnTo>
                  <a:lnTo>
                    <a:pt x="646113" y="33337"/>
                  </a:lnTo>
                  <a:lnTo>
                    <a:pt x="663576" y="38100"/>
                  </a:lnTo>
                  <a:lnTo>
                    <a:pt x="665163" y="38100"/>
                  </a:lnTo>
                  <a:lnTo>
                    <a:pt x="669926" y="36512"/>
                  </a:lnTo>
                  <a:lnTo>
                    <a:pt x="674688" y="41275"/>
                  </a:lnTo>
                  <a:lnTo>
                    <a:pt x="679451" y="47625"/>
                  </a:lnTo>
                  <a:lnTo>
                    <a:pt x="676276" y="55562"/>
                  </a:lnTo>
                  <a:lnTo>
                    <a:pt x="676276" y="65087"/>
                  </a:lnTo>
                  <a:lnTo>
                    <a:pt x="681038" y="69850"/>
                  </a:lnTo>
                  <a:lnTo>
                    <a:pt x="684213" y="80962"/>
                  </a:lnTo>
                  <a:lnTo>
                    <a:pt x="684213" y="82550"/>
                  </a:lnTo>
                  <a:lnTo>
                    <a:pt x="684213" y="92075"/>
                  </a:lnTo>
                  <a:lnTo>
                    <a:pt x="684213" y="93662"/>
                  </a:lnTo>
                  <a:lnTo>
                    <a:pt x="684213" y="96837"/>
                  </a:lnTo>
                  <a:lnTo>
                    <a:pt x="685801" y="104775"/>
                  </a:lnTo>
                  <a:lnTo>
                    <a:pt x="690563" y="120650"/>
                  </a:lnTo>
                  <a:lnTo>
                    <a:pt x="692151" y="133350"/>
                  </a:lnTo>
                  <a:lnTo>
                    <a:pt x="695326" y="142875"/>
                  </a:lnTo>
                  <a:lnTo>
                    <a:pt x="696913" y="157162"/>
                  </a:lnTo>
                  <a:lnTo>
                    <a:pt x="698501" y="160337"/>
                  </a:lnTo>
                  <a:lnTo>
                    <a:pt x="706438" y="180975"/>
                  </a:lnTo>
                  <a:lnTo>
                    <a:pt x="708026" y="187325"/>
                  </a:lnTo>
                  <a:lnTo>
                    <a:pt x="723901" y="230187"/>
                  </a:lnTo>
                  <a:lnTo>
                    <a:pt x="730251" y="241300"/>
                  </a:lnTo>
                  <a:lnTo>
                    <a:pt x="744538" y="269875"/>
                  </a:lnTo>
                  <a:lnTo>
                    <a:pt x="758826" y="293687"/>
                  </a:lnTo>
                  <a:lnTo>
                    <a:pt x="758826" y="296862"/>
                  </a:lnTo>
                  <a:lnTo>
                    <a:pt x="762001" y="298450"/>
                  </a:lnTo>
                  <a:lnTo>
                    <a:pt x="766763" y="304800"/>
                  </a:lnTo>
                  <a:lnTo>
                    <a:pt x="769409" y="312737"/>
                  </a:lnTo>
                  <a:lnTo>
                    <a:pt x="768351" y="312737"/>
                  </a:lnTo>
                  <a:lnTo>
                    <a:pt x="763588" y="312737"/>
                  </a:lnTo>
                  <a:lnTo>
                    <a:pt x="762001" y="314325"/>
                  </a:lnTo>
                  <a:lnTo>
                    <a:pt x="755651" y="314325"/>
                  </a:lnTo>
                  <a:lnTo>
                    <a:pt x="752476" y="314325"/>
                  </a:lnTo>
                  <a:lnTo>
                    <a:pt x="752476" y="312737"/>
                  </a:lnTo>
                  <a:lnTo>
                    <a:pt x="750888" y="312737"/>
                  </a:lnTo>
                  <a:lnTo>
                    <a:pt x="750888" y="309562"/>
                  </a:lnTo>
                  <a:lnTo>
                    <a:pt x="747713" y="307975"/>
                  </a:lnTo>
                  <a:lnTo>
                    <a:pt x="750888" y="303212"/>
                  </a:lnTo>
                  <a:lnTo>
                    <a:pt x="752476" y="303212"/>
                  </a:lnTo>
                  <a:lnTo>
                    <a:pt x="752476" y="301625"/>
                  </a:lnTo>
                  <a:lnTo>
                    <a:pt x="755651" y="298450"/>
                  </a:lnTo>
                  <a:lnTo>
                    <a:pt x="752476" y="296862"/>
                  </a:lnTo>
                  <a:lnTo>
                    <a:pt x="746126" y="292100"/>
                  </a:lnTo>
                  <a:lnTo>
                    <a:pt x="744538" y="290512"/>
                  </a:lnTo>
                  <a:lnTo>
                    <a:pt x="744538" y="292100"/>
                  </a:lnTo>
                  <a:lnTo>
                    <a:pt x="746126" y="307975"/>
                  </a:lnTo>
                  <a:lnTo>
                    <a:pt x="752476" y="336550"/>
                  </a:lnTo>
                  <a:lnTo>
                    <a:pt x="752476" y="338137"/>
                  </a:lnTo>
                  <a:lnTo>
                    <a:pt x="757238" y="347662"/>
                  </a:lnTo>
                  <a:lnTo>
                    <a:pt x="769938" y="379412"/>
                  </a:lnTo>
                  <a:lnTo>
                    <a:pt x="769938" y="379412"/>
                  </a:lnTo>
                  <a:lnTo>
                    <a:pt x="769938" y="379412"/>
                  </a:lnTo>
                  <a:lnTo>
                    <a:pt x="773113" y="387350"/>
                  </a:lnTo>
                  <a:lnTo>
                    <a:pt x="781051" y="412750"/>
                  </a:lnTo>
                  <a:lnTo>
                    <a:pt x="784226" y="414337"/>
                  </a:lnTo>
                  <a:lnTo>
                    <a:pt x="784226" y="417512"/>
                  </a:lnTo>
                  <a:lnTo>
                    <a:pt x="785813" y="417512"/>
                  </a:lnTo>
                  <a:lnTo>
                    <a:pt x="785813" y="420687"/>
                  </a:lnTo>
                  <a:lnTo>
                    <a:pt x="788988" y="423862"/>
                  </a:lnTo>
                  <a:lnTo>
                    <a:pt x="792157" y="431785"/>
                  </a:lnTo>
                  <a:lnTo>
                    <a:pt x="785812" y="412750"/>
                  </a:lnTo>
                  <a:lnTo>
                    <a:pt x="788987" y="412750"/>
                  </a:lnTo>
                  <a:lnTo>
                    <a:pt x="790575" y="420687"/>
                  </a:lnTo>
                  <a:lnTo>
                    <a:pt x="790575" y="423862"/>
                  </a:lnTo>
                  <a:lnTo>
                    <a:pt x="792162" y="425450"/>
                  </a:lnTo>
                  <a:lnTo>
                    <a:pt x="795337" y="430212"/>
                  </a:lnTo>
                  <a:lnTo>
                    <a:pt x="800100" y="446087"/>
                  </a:lnTo>
                  <a:lnTo>
                    <a:pt x="803275" y="461962"/>
                  </a:lnTo>
                  <a:lnTo>
                    <a:pt x="803275" y="465137"/>
                  </a:lnTo>
                  <a:lnTo>
                    <a:pt x="808037" y="476250"/>
                  </a:lnTo>
                  <a:lnTo>
                    <a:pt x="817562" y="496887"/>
                  </a:lnTo>
                  <a:lnTo>
                    <a:pt x="817562" y="498475"/>
                  </a:lnTo>
                  <a:lnTo>
                    <a:pt x="814387" y="496887"/>
                  </a:lnTo>
                  <a:lnTo>
                    <a:pt x="812800" y="492125"/>
                  </a:lnTo>
                  <a:lnTo>
                    <a:pt x="803275" y="469900"/>
                  </a:lnTo>
                  <a:lnTo>
                    <a:pt x="796926" y="448132"/>
                  </a:lnTo>
                  <a:lnTo>
                    <a:pt x="796926" y="450850"/>
                  </a:lnTo>
                  <a:lnTo>
                    <a:pt x="796926" y="452437"/>
                  </a:lnTo>
                  <a:lnTo>
                    <a:pt x="796926" y="454025"/>
                  </a:lnTo>
                  <a:lnTo>
                    <a:pt x="801688" y="465137"/>
                  </a:lnTo>
                  <a:lnTo>
                    <a:pt x="801688" y="468312"/>
                  </a:lnTo>
                  <a:lnTo>
                    <a:pt x="812801" y="498475"/>
                  </a:lnTo>
                  <a:lnTo>
                    <a:pt x="819151" y="506412"/>
                  </a:lnTo>
                  <a:lnTo>
                    <a:pt x="823913" y="517525"/>
                  </a:lnTo>
                  <a:lnTo>
                    <a:pt x="825501" y="523875"/>
                  </a:lnTo>
                  <a:lnTo>
                    <a:pt x="825501" y="525462"/>
                  </a:lnTo>
                  <a:lnTo>
                    <a:pt x="830263" y="541337"/>
                  </a:lnTo>
                  <a:lnTo>
                    <a:pt x="830263" y="547687"/>
                  </a:lnTo>
                  <a:lnTo>
                    <a:pt x="830263" y="550862"/>
                  </a:lnTo>
                  <a:lnTo>
                    <a:pt x="833438" y="550862"/>
                  </a:lnTo>
                  <a:lnTo>
                    <a:pt x="833438" y="569912"/>
                  </a:lnTo>
                  <a:lnTo>
                    <a:pt x="833438" y="573087"/>
                  </a:lnTo>
                  <a:lnTo>
                    <a:pt x="833438" y="581025"/>
                  </a:lnTo>
                  <a:lnTo>
                    <a:pt x="830263" y="581025"/>
                  </a:lnTo>
                  <a:lnTo>
                    <a:pt x="830263" y="584200"/>
                  </a:lnTo>
                  <a:lnTo>
                    <a:pt x="830263" y="585787"/>
                  </a:lnTo>
                  <a:lnTo>
                    <a:pt x="830263" y="590550"/>
                  </a:lnTo>
                  <a:lnTo>
                    <a:pt x="828676" y="603250"/>
                  </a:lnTo>
                  <a:lnTo>
                    <a:pt x="823913" y="628650"/>
                  </a:lnTo>
                  <a:lnTo>
                    <a:pt x="819151" y="666750"/>
                  </a:lnTo>
                  <a:lnTo>
                    <a:pt x="814388" y="688975"/>
                  </a:lnTo>
                  <a:lnTo>
                    <a:pt x="808038" y="695325"/>
                  </a:lnTo>
                  <a:lnTo>
                    <a:pt x="801688" y="706437"/>
                  </a:lnTo>
                  <a:lnTo>
                    <a:pt x="801688" y="708025"/>
                  </a:lnTo>
                  <a:lnTo>
                    <a:pt x="801688" y="714375"/>
                  </a:lnTo>
                  <a:lnTo>
                    <a:pt x="800101" y="717550"/>
                  </a:lnTo>
                  <a:lnTo>
                    <a:pt x="796926" y="719137"/>
                  </a:lnTo>
                  <a:lnTo>
                    <a:pt x="795338" y="744537"/>
                  </a:lnTo>
                  <a:lnTo>
                    <a:pt x="790576" y="750887"/>
                  </a:lnTo>
                  <a:lnTo>
                    <a:pt x="788988" y="752475"/>
                  </a:lnTo>
                  <a:lnTo>
                    <a:pt x="788988" y="757237"/>
                  </a:lnTo>
                  <a:lnTo>
                    <a:pt x="790576" y="760412"/>
                  </a:lnTo>
                  <a:lnTo>
                    <a:pt x="788988" y="760412"/>
                  </a:lnTo>
                  <a:lnTo>
                    <a:pt x="785813" y="752475"/>
                  </a:lnTo>
                  <a:lnTo>
                    <a:pt x="781051" y="755650"/>
                  </a:lnTo>
                  <a:lnTo>
                    <a:pt x="781051" y="757237"/>
                  </a:lnTo>
                  <a:lnTo>
                    <a:pt x="779463" y="760412"/>
                  </a:lnTo>
                  <a:lnTo>
                    <a:pt x="779463" y="757237"/>
                  </a:lnTo>
                  <a:lnTo>
                    <a:pt x="777876" y="755650"/>
                  </a:lnTo>
                  <a:lnTo>
                    <a:pt x="779463" y="755650"/>
                  </a:lnTo>
                  <a:lnTo>
                    <a:pt x="779463" y="752475"/>
                  </a:lnTo>
                  <a:lnTo>
                    <a:pt x="777876" y="752475"/>
                  </a:lnTo>
                  <a:lnTo>
                    <a:pt x="773113" y="752475"/>
                  </a:lnTo>
                  <a:lnTo>
                    <a:pt x="773113" y="755650"/>
                  </a:lnTo>
                  <a:lnTo>
                    <a:pt x="763588" y="762000"/>
                  </a:lnTo>
                  <a:lnTo>
                    <a:pt x="762001" y="763587"/>
                  </a:lnTo>
                  <a:lnTo>
                    <a:pt x="744538" y="763587"/>
                  </a:lnTo>
                  <a:lnTo>
                    <a:pt x="720726" y="768350"/>
                  </a:lnTo>
                  <a:lnTo>
                    <a:pt x="717551" y="771525"/>
                  </a:lnTo>
                  <a:lnTo>
                    <a:pt x="714376" y="768350"/>
                  </a:lnTo>
                  <a:lnTo>
                    <a:pt x="709613" y="763587"/>
                  </a:lnTo>
                  <a:lnTo>
                    <a:pt x="706438" y="755650"/>
                  </a:lnTo>
                  <a:lnTo>
                    <a:pt x="706438" y="752475"/>
                  </a:lnTo>
                  <a:lnTo>
                    <a:pt x="708026" y="744537"/>
                  </a:lnTo>
                  <a:lnTo>
                    <a:pt x="709613" y="744537"/>
                  </a:lnTo>
                  <a:lnTo>
                    <a:pt x="709613" y="741362"/>
                  </a:lnTo>
                  <a:lnTo>
                    <a:pt x="712788" y="744537"/>
                  </a:lnTo>
                  <a:lnTo>
                    <a:pt x="714376" y="746125"/>
                  </a:lnTo>
                  <a:lnTo>
                    <a:pt x="714376" y="747712"/>
                  </a:lnTo>
                  <a:lnTo>
                    <a:pt x="725488" y="757237"/>
                  </a:lnTo>
                  <a:lnTo>
                    <a:pt x="728663" y="760412"/>
                  </a:lnTo>
                  <a:lnTo>
                    <a:pt x="731838" y="757237"/>
                  </a:lnTo>
                  <a:lnTo>
                    <a:pt x="735013" y="755650"/>
                  </a:lnTo>
                  <a:lnTo>
                    <a:pt x="735013" y="752475"/>
                  </a:lnTo>
                  <a:lnTo>
                    <a:pt x="735013" y="750887"/>
                  </a:lnTo>
                  <a:lnTo>
                    <a:pt x="730251" y="746125"/>
                  </a:lnTo>
                  <a:lnTo>
                    <a:pt x="728663" y="744537"/>
                  </a:lnTo>
                  <a:lnTo>
                    <a:pt x="725488" y="744537"/>
                  </a:lnTo>
                  <a:lnTo>
                    <a:pt x="720726" y="741362"/>
                  </a:lnTo>
                  <a:lnTo>
                    <a:pt x="714376" y="739775"/>
                  </a:lnTo>
                  <a:lnTo>
                    <a:pt x="714376" y="736600"/>
                  </a:lnTo>
                  <a:lnTo>
                    <a:pt x="712788" y="736600"/>
                  </a:lnTo>
                  <a:lnTo>
                    <a:pt x="712788" y="735012"/>
                  </a:lnTo>
                  <a:lnTo>
                    <a:pt x="709613" y="733425"/>
                  </a:lnTo>
                  <a:lnTo>
                    <a:pt x="709613" y="730250"/>
                  </a:lnTo>
                  <a:lnTo>
                    <a:pt x="706438" y="723900"/>
                  </a:lnTo>
                  <a:lnTo>
                    <a:pt x="690563" y="684212"/>
                  </a:lnTo>
                  <a:lnTo>
                    <a:pt x="690563" y="681037"/>
                  </a:lnTo>
                  <a:lnTo>
                    <a:pt x="687388" y="679450"/>
                  </a:lnTo>
                  <a:lnTo>
                    <a:pt x="685801" y="677862"/>
                  </a:lnTo>
                  <a:lnTo>
                    <a:pt x="684213" y="674687"/>
                  </a:lnTo>
                  <a:lnTo>
                    <a:pt x="681038" y="674687"/>
                  </a:lnTo>
                  <a:lnTo>
                    <a:pt x="663576" y="663575"/>
                  </a:lnTo>
                  <a:lnTo>
                    <a:pt x="657226" y="663575"/>
                  </a:lnTo>
                  <a:lnTo>
                    <a:pt x="652463" y="666750"/>
                  </a:lnTo>
                  <a:lnTo>
                    <a:pt x="646113" y="658812"/>
                  </a:lnTo>
                  <a:lnTo>
                    <a:pt x="641351" y="644525"/>
                  </a:lnTo>
                  <a:lnTo>
                    <a:pt x="639763" y="641350"/>
                  </a:lnTo>
                  <a:lnTo>
                    <a:pt x="636588" y="641350"/>
                  </a:lnTo>
                  <a:lnTo>
                    <a:pt x="636588" y="636587"/>
                  </a:lnTo>
                  <a:lnTo>
                    <a:pt x="636588" y="633412"/>
                  </a:lnTo>
                  <a:lnTo>
                    <a:pt x="635000" y="608012"/>
                  </a:lnTo>
                  <a:lnTo>
                    <a:pt x="630238" y="595312"/>
                  </a:lnTo>
                  <a:lnTo>
                    <a:pt x="630238" y="596900"/>
                  </a:lnTo>
                  <a:lnTo>
                    <a:pt x="628650" y="596900"/>
                  </a:lnTo>
                  <a:lnTo>
                    <a:pt x="619125" y="590550"/>
                  </a:lnTo>
                  <a:lnTo>
                    <a:pt x="619125" y="588962"/>
                  </a:lnTo>
                  <a:lnTo>
                    <a:pt x="620713" y="588962"/>
                  </a:lnTo>
                  <a:lnTo>
                    <a:pt x="625475" y="588962"/>
                  </a:lnTo>
                  <a:lnTo>
                    <a:pt x="625475" y="584200"/>
                  </a:lnTo>
                  <a:lnTo>
                    <a:pt x="639763" y="563562"/>
                  </a:lnTo>
                  <a:lnTo>
                    <a:pt x="641351" y="561975"/>
                  </a:lnTo>
                  <a:lnTo>
                    <a:pt x="639763" y="561975"/>
                  </a:lnTo>
                  <a:lnTo>
                    <a:pt x="628650" y="568325"/>
                  </a:lnTo>
                  <a:lnTo>
                    <a:pt x="625475" y="569912"/>
                  </a:lnTo>
                  <a:lnTo>
                    <a:pt x="625475" y="573087"/>
                  </a:lnTo>
                  <a:lnTo>
                    <a:pt x="625475" y="574675"/>
                  </a:lnTo>
                  <a:lnTo>
                    <a:pt x="625475" y="577850"/>
                  </a:lnTo>
                  <a:lnTo>
                    <a:pt x="620713" y="584200"/>
                  </a:lnTo>
                  <a:lnTo>
                    <a:pt x="614363" y="585787"/>
                  </a:lnTo>
                  <a:lnTo>
                    <a:pt x="612775" y="585787"/>
                  </a:lnTo>
                  <a:lnTo>
                    <a:pt x="609600" y="584200"/>
                  </a:lnTo>
                  <a:lnTo>
                    <a:pt x="608013" y="581025"/>
                  </a:lnTo>
                  <a:lnTo>
                    <a:pt x="608013" y="566737"/>
                  </a:lnTo>
                  <a:lnTo>
                    <a:pt x="608013" y="561975"/>
                  </a:lnTo>
                  <a:lnTo>
                    <a:pt x="609600" y="542925"/>
                  </a:lnTo>
                  <a:lnTo>
                    <a:pt x="614363" y="528637"/>
                  </a:lnTo>
                  <a:lnTo>
                    <a:pt x="606425" y="530225"/>
                  </a:lnTo>
                  <a:lnTo>
                    <a:pt x="595313" y="531812"/>
                  </a:lnTo>
                  <a:lnTo>
                    <a:pt x="598488" y="539750"/>
                  </a:lnTo>
                  <a:lnTo>
                    <a:pt x="598488" y="547687"/>
                  </a:lnTo>
                  <a:lnTo>
                    <a:pt x="598488" y="550862"/>
                  </a:lnTo>
                  <a:lnTo>
                    <a:pt x="598488" y="552450"/>
                  </a:lnTo>
                  <a:lnTo>
                    <a:pt x="585788" y="546100"/>
                  </a:lnTo>
                  <a:lnTo>
                    <a:pt x="584200" y="546100"/>
                  </a:lnTo>
                  <a:lnTo>
                    <a:pt x="584200" y="542925"/>
                  </a:lnTo>
                  <a:lnTo>
                    <a:pt x="581025" y="542925"/>
                  </a:lnTo>
                  <a:lnTo>
                    <a:pt x="574675" y="531812"/>
                  </a:lnTo>
                  <a:lnTo>
                    <a:pt x="574675" y="530225"/>
                  </a:lnTo>
                  <a:lnTo>
                    <a:pt x="573088" y="528637"/>
                  </a:lnTo>
                  <a:lnTo>
                    <a:pt x="569913" y="520700"/>
                  </a:lnTo>
                  <a:lnTo>
                    <a:pt x="565150" y="512762"/>
                  </a:lnTo>
                  <a:lnTo>
                    <a:pt x="557213" y="485775"/>
                  </a:lnTo>
                  <a:lnTo>
                    <a:pt x="557213" y="484187"/>
                  </a:lnTo>
                  <a:lnTo>
                    <a:pt x="557213" y="481012"/>
                  </a:lnTo>
                  <a:lnTo>
                    <a:pt x="554038" y="473075"/>
                  </a:lnTo>
                  <a:lnTo>
                    <a:pt x="552450" y="469900"/>
                  </a:lnTo>
                  <a:lnTo>
                    <a:pt x="542925" y="463550"/>
                  </a:lnTo>
                  <a:lnTo>
                    <a:pt x="546100" y="463550"/>
                  </a:lnTo>
                  <a:lnTo>
                    <a:pt x="552450" y="458787"/>
                  </a:lnTo>
                  <a:lnTo>
                    <a:pt x="552450" y="452437"/>
                  </a:lnTo>
                  <a:lnTo>
                    <a:pt x="552450" y="450850"/>
                  </a:lnTo>
                  <a:lnTo>
                    <a:pt x="547688" y="450850"/>
                  </a:lnTo>
                  <a:lnTo>
                    <a:pt x="557213" y="439737"/>
                  </a:lnTo>
                  <a:lnTo>
                    <a:pt x="557213" y="436562"/>
                  </a:lnTo>
                  <a:lnTo>
                    <a:pt x="565150" y="428625"/>
                  </a:lnTo>
                  <a:lnTo>
                    <a:pt x="568325" y="425450"/>
                  </a:lnTo>
                  <a:lnTo>
                    <a:pt x="573088" y="420687"/>
                  </a:lnTo>
                  <a:lnTo>
                    <a:pt x="574675" y="417512"/>
                  </a:lnTo>
                  <a:lnTo>
                    <a:pt x="574675" y="414337"/>
                  </a:lnTo>
                  <a:lnTo>
                    <a:pt x="573088" y="407987"/>
                  </a:lnTo>
                  <a:lnTo>
                    <a:pt x="569913" y="403225"/>
                  </a:lnTo>
                  <a:lnTo>
                    <a:pt x="568325" y="401637"/>
                  </a:lnTo>
                  <a:lnTo>
                    <a:pt x="541338" y="387350"/>
                  </a:lnTo>
                  <a:lnTo>
                    <a:pt x="536575" y="401637"/>
                  </a:lnTo>
                  <a:lnTo>
                    <a:pt x="539750" y="403225"/>
                  </a:lnTo>
                  <a:lnTo>
                    <a:pt x="546100" y="407987"/>
                  </a:lnTo>
                  <a:lnTo>
                    <a:pt x="550863" y="409575"/>
                  </a:lnTo>
                  <a:lnTo>
                    <a:pt x="550863" y="414337"/>
                  </a:lnTo>
                  <a:lnTo>
                    <a:pt x="550863" y="417512"/>
                  </a:lnTo>
                  <a:lnTo>
                    <a:pt x="547688" y="428625"/>
                  </a:lnTo>
                  <a:lnTo>
                    <a:pt x="547688" y="431800"/>
                  </a:lnTo>
                  <a:lnTo>
                    <a:pt x="546100" y="431800"/>
                  </a:lnTo>
                  <a:lnTo>
                    <a:pt x="536575" y="436562"/>
                  </a:lnTo>
                  <a:lnTo>
                    <a:pt x="534988" y="434975"/>
                  </a:lnTo>
                  <a:lnTo>
                    <a:pt x="525463" y="417512"/>
                  </a:lnTo>
                  <a:lnTo>
                    <a:pt x="523875" y="414337"/>
                  </a:lnTo>
                  <a:lnTo>
                    <a:pt x="523875" y="412750"/>
                  </a:lnTo>
                  <a:lnTo>
                    <a:pt x="523875" y="409575"/>
                  </a:lnTo>
                  <a:lnTo>
                    <a:pt x="523875" y="407987"/>
                  </a:lnTo>
                  <a:lnTo>
                    <a:pt x="525463" y="407987"/>
                  </a:lnTo>
                  <a:lnTo>
                    <a:pt x="527050" y="401637"/>
                  </a:lnTo>
                  <a:lnTo>
                    <a:pt x="527050" y="396875"/>
                  </a:lnTo>
                  <a:lnTo>
                    <a:pt x="531813" y="384175"/>
                  </a:lnTo>
                  <a:lnTo>
                    <a:pt x="534988" y="363537"/>
                  </a:lnTo>
                  <a:lnTo>
                    <a:pt x="536575" y="352425"/>
                  </a:lnTo>
                  <a:lnTo>
                    <a:pt x="542925" y="336550"/>
                  </a:lnTo>
                  <a:lnTo>
                    <a:pt x="542925" y="334962"/>
                  </a:lnTo>
                  <a:lnTo>
                    <a:pt x="546100" y="320675"/>
                  </a:lnTo>
                  <a:lnTo>
                    <a:pt x="547688" y="301625"/>
                  </a:lnTo>
                  <a:lnTo>
                    <a:pt x="546100" y="293687"/>
                  </a:lnTo>
                  <a:lnTo>
                    <a:pt x="546100" y="292100"/>
                  </a:lnTo>
                  <a:lnTo>
                    <a:pt x="542925" y="290512"/>
                  </a:lnTo>
                  <a:lnTo>
                    <a:pt x="541338" y="287337"/>
                  </a:lnTo>
                  <a:lnTo>
                    <a:pt x="542925" y="285750"/>
                  </a:lnTo>
                  <a:lnTo>
                    <a:pt x="546100" y="285750"/>
                  </a:lnTo>
                  <a:lnTo>
                    <a:pt x="546100" y="282575"/>
                  </a:lnTo>
                  <a:lnTo>
                    <a:pt x="547688" y="280987"/>
                  </a:lnTo>
                  <a:lnTo>
                    <a:pt x="547688" y="279400"/>
                  </a:lnTo>
                  <a:lnTo>
                    <a:pt x="547688" y="276225"/>
                  </a:lnTo>
                  <a:lnTo>
                    <a:pt x="546100" y="276225"/>
                  </a:lnTo>
                  <a:lnTo>
                    <a:pt x="546100" y="274637"/>
                  </a:lnTo>
                  <a:lnTo>
                    <a:pt x="534988" y="260350"/>
                  </a:lnTo>
                  <a:lnTo>
                    <a:pt x="531813" y="252412"/>
                  </a:lnTo>
                  <a:lnTo>
                    <a:pt x="527050" y="241300"/>
                  </a:lnTo>
                  <a:lnTo>
                    <a:pt x="525463" y="241300"/>
                  </a:lnTo>
                  <a:lnTo>
                    <a:pt x="514350" y="238125"/>
                  </a:lnTo>
                  <a:lnTo>
                    <a:pt x="509588" y="236537"/>
                  </a:lnTo>
                  <a:lnTo>
                    <a:pt x="508000" y="238125"/>
                  </a:lnTo>
                  <a:lnTo>
                    <a:pt x="498475" y="231775"/>
                  </a:lnTo>
                  <a:lnTo>
                    <a:pt x="496888" y="225425"/>
                  </a:lnTo>
                  <a:lnTo>
                    <a:pt x="482600" y="204787"/>
                  </a:lnTo>
                  <a:lnTo>
                    <a:pt x="468313" y="196850"/>
                  </a:lnTo>
                  <a:lnTo>
                    <a:pt x="465138" y="193675"/>
                  </a:lnTo>
                  <a:lnTo>
                    <a:pt x="463550" y="193675"/>
                  </a:lnTo>
                  <a:lnTo>
                    <a:pt x="463550" y="192087"/>
                  </a:lnTo>
                  <a:lnTo>
                    <a:pt x="460375" y="185737"/>
                  </a:lnTo>
                  <a:lnTo>
                    <a:pt x="458788" y="174625"/>
                  </a:lnTo>
                  <a:lnTo>
                    <a:pt x="457200" y="171450"/>
                  </a:lnTo>
                  <a:lnTo>
                    <a:pt x="447675" y="168275"/>
                  </a:lnTo>
                  <a:lnTo>
                    <a:pt x="442913" y="163512"/>
                  </a:lnTo>
                  <a:lnTo>
                    <a:pt x="442913" y="160337"/>
                  </a:lnTo>
                  <a:lnTo>
                    <a:pt x="442913" y="158750"/>
                  </a:lnTo>
                  <a:lnTo>
                    <a:pt x="442913" y="157162"/>
                  </a:lnTo>
                  <a:lnTo>
                    <a:pt x="438150" y="147637"/>
                  </a:lnTo>
                  <a:lnTo>
                    <a:pt x="436563" y="147637"/>
                  </a:lnTo>
                  <a:lnTo>
                    <a:pt x="434975" y="142875"/>
                  </a:lnTo>
                  <a:lnTo>
                    <a:pt x="425450" y="136525"/>
                  </a:lnTo>
                  <a:lnTo>
                    <a:pt x="420688" y="133350"/>
                  </a:lnTo>
                  <a:lnTo>
                    <a:pt x="419100" y="133350"/>
                  </a:lnTo>
                  <a:lnTo>
                    <a:pt x="415925" y="131762"/>
                  </a:lnTo>
                  <a:lnTo>
                    <a:pt x="409575" y="130175"/>
                  </a:lnTo>
                  <a:lnTo>
                    <a:pt x="407988" y="127000"/>
                  </a:lnTo>
                  <a:lnTo>
                    <a:pt x="403225" y="122237"/>
                  </a:lnTo>
                  <a:lnTo>
                    <a:pt x="396875" y="119062"/>
                  </a:lnTo>
                  <a:lnTo>
                    <a:pt x="393700" y="119062"/>
                  </a:lnTo>
                  <a:lnTo>
                    <a:pt x="393700" y="115887"/>
                  </a:lnTo>
                  <a:lnTo>
                    <a:pt x="374650" y="115887"/>
                  </a:lnTo>
                  <a:lnTo>
                    <a:pt x="369887" y="119062"/>
                  </a:lnTo>
                  <a:lnTo>
                    <a:pt x="368300" y="119062"/>
                  </a:lnTo>
                  <a:lnTo>
                    <a:pt x="360362" y="120650"/>
                  </a:lnTo>
                  <a:lnTo>
                    <a:pt x="347662" y="130175"/>
                  </a:lnTo>
                  <a:lnTo>
                    <a:pt x="347662" y="131762"/>
                  </a:lnTo>
                  <a:lnTo>
                    <a:pt x="349250" y="136525"/>
                  </a:lnTo>
                  <a:lnTo>
                    <a:pt x="352425" y="136525"/>
                  </a:lnTo>
                  <a:lnTo>
                    <a:pt x="354012" y="136525"/>
                  </a:lnTo>
                  <a:lnTo>
                    <a:pt x="358775" y="138112"/>
                  </a:lnTo>
                  <a:lnTo>
                    <a:pt x="360362" y="138112"/>
                  </a:lnTo>
                  <a:lnTo>
                    <a:pt x="360362" y="141287"/>
                  </a:lnTo>
                  <a:lnTo>
                    <a:pt x="360362" y="142875"/>
                  </a:lnTo>
                  <a:lnTo>
                    <a:pt x="358775" y="142875"/>
                  </a:lnTo>
                  <a:lnTo>
                    <a:pt x="358775" y="146050"/>
                  </a:lnTo>
                  <a:lnTo>
                    <a:pt x="357187" y="146050"/>
                  </a:lnTo>
                  <a:lnTo>
                    <a:pt x="357187" y="142875"/>
                  </a:lnTo>
                  <a:lnTo>
                    <a:pt x="354012" y="142875"/>
                  </a:lnTo>
                  <a:lnTo>
                    <a:pt x="352425" y="141287"/>
                  </a:lnTo>
                  <a:lnTo>
                    <a:pt x="347662" y="141287"/>
                  </a:lnTo>
                  <a:lnTo>
                    <a:pt x="341312" y="141287"/>
                  </a:lnTo>
                  <a:lnTo>
                    <a:pt x="336550" y="142875"/>
                  </a:lnTo>
                  <a:lnTo>
                    <a:pt x="334962" y="146050"/>
                  </a:lnTo>
                  <a:lnTo>
                    <a:pt x="325437" y="152400"/>
                  </a:lnTo>
                  <a:lnTo>
                    <a:pt x="319087" y="157162"/>
                  </a:lnTo>
                  <a:lnTo>
                    <a:pt x="314325" y="158750"/>
                  </a:lnTo>
                  <a:lnTo>
                    <a:pt x="304800" y="163512"/>
                  </a:lnTo>
                  <a:lnTo>
                    <a:pt x="303212" y="165100"/>
                  </a:lnTo>
                  <a:lnTo>
                    <a:pt x="300037" y="163512"/>
                  </a:lnTo>
                  <a:lnTo>
                    <a:pt x="303212" y="158750"/>
                  </a:lnTo>
                  <a:lnTo>
                    <a:pt x="303212" y="157162"/>
                  </a:lnTo>
                  <a:lnTo>
                    <a:pt x="300037" y="157162"/>
                  </a:lnTo>
                  <a:lnTo>
                    <a:pt x="296862" y="158750"/>
                  </a:lnTo>
                  <a:lnTo>
                    <a:pt x="288925" y="165100"/>
                  </a:lnTo>
                  <a:lnTo>
                    <a:pt x="280987" y="168275"/>
                  </a:lnTo>
                  <a:lnTo>
                    <a:pt x="265112" y="169862"/>
                  </a:lnTo>
                  <a:lnTo>
                    <a:pt x="255587" y="171450"/>
                  </a:lnTo>
                  <a:lnTo>
                    <a:pt x="249237" y="171450"/>
                  </a:lnTo>
                  <a:lnTo>
                    <a:pt x="254000" y="169862"/>
                  </a:lnTo>
                  <a:lnTo>
                    <a:pt x="254000" y="163512"/>
                  </a:lnTo>
                  <a:lnTo>
                    <a:pt x="254000" y="157162"/>
                  </a:lnTo>
                  <a:lnTo>
                    <a:pt x="254000" y="153987"/>
                  </a:lnTo>
                  <a:lnTo>
                    <a:pt x="247650" y="146050"/>
                  </a:lnTo>
                  <a:lnTo>
                    <a:pt x="247650" y="142875"/>
                  </a:lnTo>
                  <a:lnTo>
                    <a:pt x="242887" y="141287"/>
                  </a:lnTo>
                  <a:lnTo>
                    <a:pt x="242887" y="138112"/>
                  </a:lnTo>
                  <a:lnTo>
                    <a:pt x="227012" y="125412"/>
                  </a:lnTo>
                  <a:lnTo>
                    <a:pt x="220662" y="122237"/>
                  </a:lnTo>
                  <a:lnTo>
                    <a:pt x="220662" y="120650"/>
                  </a:lnTo>
                  <a:lnTo>
                    <a:pt x="219075" y="119062"/>
                  </a:lnTo>
                  <a:lnTo>
                    <a:pt x="219075" y="115887"/>
                  </a:lnTo>
                  <a:lnTo>
                    <a:pt x="220662" y="115887"/>
                  </a:lnTo>
                  <a:lnTo>
                    <a:pt x="222250" y="115887"/>
                  </a:lnTo>
                  <a:lnTo>
                    <a:pt x="225425" y="120650"/>
                  </a:lnTo>
                  <a:lnTo>
                    <a:pt x="227012" y="120650"/>
                  </a:lnTo>
                  <a:lnTo>
                    <a:pt x="227012" y="122237"/>
                  </a:lnTo>
                  <a:lnTo>
                    <a:pt x="230187" y="122237"/>
                  </a:lnTo>
                  <a:lnTo>
                    <a:pt x="233362" y="127000"/>
                  </a:lnTo>
                  <a:lnTo>
                    <a:pt x="236537" y="127000"/>
                  </a:lnTo>
                  <a:lnTo>
                    <a:pt x="238125" y="130175"/>
                  </a:lnTo>
                  <a:lnTo>
                    <a:pt x="241300" y="127000"/>
                  </a:lnTo>
                  <a:lnTo>
                    <a:pt x="242887" y="125412"/>
                  </a:lnTo>
                  <a:lnTo>
                    <a:pt x="244475" y="125412"/>
                  </a:lnTo>
                  <a:lnTo>
                    <a:pt x="242887" y="122237"/>
                  </a:lnTo>
                  <a:lnTo>
                    <a:pt x="241300" y="122237"/>
                  </a:lnTo>
                  <a:lnTo>
                    <a:pt x="238125" y="122237"/>
                  </a:lnTo>
                  <a:lnTo>
                    <a:pt x="215900" y="111125"/>
                  </a:lnTo>
                  <a:lnTo>
                    <a:pt x="211137" y="104775"/>
                  </a:lnTo>
                  <a:lnTo>
                    <a:pt x="214312" y="98425"/>
                  </a:lnTo>
                  <a:lnTo>
                    <a:pt x="204787" y="92075"/>
                  </a:lnTo>
                  <a:lnTo>
                    <a:pt x="196850" y="92075"/>
                  </a:lnTo>
                  <a:lnTo>
                    <a:pt x="196850" y="93662"/>
                  </a:lnTo>
                  <a:lnTo>
                    <a:pt x="193675" y="96837"/>
                  </a:lnTo>
                  <a:lnTo>
                    <a:pt x="193675" y="98425"/>
                  </a:lnTo>
                  <a:lnTo>
                    <a:pt x="196850" y="100012"/>
                  </a:lnTo>
                  <a:lnTo>
                    <a:pt x="198437" y="100012"/>
                  </a:lnTo>
                  <a:lnTo>
                    <a:pt x="198437" y="98425"/>
                  </a:lnTo>
                  <a:lnTo>
                    <a:pt x="200025" y="98425"/>
                  </a:lnTo>
                  <a:lnTo>
                    <a:pt x="203200" y="98425"/>
                  </a:lnTo>
                  <a:lnTo>
                    <a:pt x="204787" y="98425"/>
                  </a:lnTo>
                  <a:lnTo>
                    <a:pt x="207962" y="104775"/>
                  </a:lnTo>
                  <a:lnTo>
                    <a:pt x="207962" y="109537"/>
                  </a:lnTo>
                  <a:lnTo>
                    <a:pt x="207962" y="114300"/>
                  </a:lnTo>
                  <a:lnTo>
                    <a:pt x="203200" y="109537"/>
                  </a:lnTo>
                  <a:lnTo>
                    <a:pt x="196850" y="104775"/>
                  </a:lnTo>
                  <a:lnTo>
                    <a:pt x="192087" y="103187"/>
                  </a:lnTo>
                  <a:lnTo>
                    <a:pt x="188912" y="100012"/>
                  </a:lnTo>
                  <a:lnTo>
                    <a:pt x="185737" y="98425"/>
                  </a:lnTo>
                  <a:lnTo>
                    <a:pt x="174625" y="93662"/>
                  </a:lnTo>
                  <a:lnTo>
                    <a:pt x="169862" y="92075"/>
                  </a:lnTo>
                  <a:lnTo>
                    <a:pt x="160337" y="87312"/>
                  </a:lnTo>
                  <a:lnTo>
                    <a:pt x="152400" y="85725"/>
                  </a:lnTo>
                  <a:lnTo>
                    <a:pt x="149225" y="82550"/>
                  </a:lnTo>
                  <a:lnTo>
                    <a:pt x="142875" y="82550"/>
                  </a:lnTo>
                  <a:lnTo>
                    <a:pt x="141287" y="80962"/>
                  </a:lnTo>
                  <a:lnTo>
                    <a:pt x="141287" y="77787"/>
                  </a:lnTo>
                  <a:lnTo>
                    <a:pt x="160337" y="77787"/>
                  </a:lnTo>
                  <a:lnTo>
                    <a:pt x="166687" y="80962"/>
                  </a:lnTo>
                  <a:lnTo>
                    <a:pt x="165100" y="76200"/>
                  </a:lnTo>
                  <a:lnTo>
                    <a:pt x="165100" y="74612"/>
                  </a:lnTo>
                  <a:lnTo>
                    <a:pt x="155575" y="69850"/>
                  </a:lnTo>
                  <a:lnTo>
                    <a:pt x="149225" y="65087"/>
                  </a:lnTo>
                  <a:lnTo>
                    <a:pt x="130175" y="65087"/>
                  </a:lnTo>
                  <a:lnTo>
                    <a:pt x="125412" y="69850"/>
                  </a:lnTo>
                  <a:lnTo>
                    <a:pt x="122237" y="69850"/>
                  </a:lnTo>
                  <a:lnTo>
                    <a:pt x="114300" y="76200"/>
                  </a:lnTo>
                  <a:lnTo>
                    <a:pt x="111125" y="76200"/>
                  </a:lnTo>
                  <a:lnTo>
                    <a:pt x="109537" y="76200"/>
                  </a:lnTo>
                  <a:lnTo>
                    <a:pt x="104775" y="76200"/>
                  </a:lnTo>
                  <a:lnTo>
                    <a:pt x="100012" y="76200"/>
                  </a:lnTo>
                  <a:lnTo>
                    <a:pt x="92075" y="76200"/>
                  </a:lnTo>
                  <a:lnTo>
                    <a:pt x="76200" y="77787"/>
                  </a:lnTo>
                  <a:lnTo>
                    <a:pt x="71437" y="77787"/>
                  </a:lnTo>
                  <a:lnTo>
                    <a:pt x="60325" y="80962"/>
                  </a:lnTo>
                  <a:lnTo>
                    <a:pt x="58737" y="82550"/>
                  </a:lnTo>
                  <a:lnTo>
                    <a:pt x="53975" y="82550"/>
                  </a:lnTo>
                  <a:lnTo>
                    <a:pt x="47625" y="85725"/>
                  </a:lnTo>
                  <a:lnTo>
                    <a:pt x="49212" y="82550"/>
                  </a:lnTo>
                  <a:lnTo>
                    <a:pt x="49212" y="80962"/>
                  </a:lnTo>
                  <a:lnTo>
                    <a:pt x="55562" y="77787"/>
                  </a:lnTo>
                  <a:lnTo>
                    <a:pt x="58737" y="77787"/>
                  </a:lnTo>
                  <a:lnTo>
                    <a:pt x="60325" y="77787"/>
                  </a:lnTo>
                  <a:lnTo>
                    <a:pt x="66675" y="77787"/>
                  </a:lnTo>
                  <a:lnTo>
                    <a:pt x="66675" y="76200"/>
                  </a:lnTo>
                  <a:lnTo>
                    <a:pt x="69850" y="76200"/>
                  </a:lnTo>
                  <a:lnTo>
                    <a:pt x="71437" y="76200"/>
                  </a:lnTo>
                  <a:lnTo>
                    <a:pt x="76200" y="71437"/>
                  </a:lnTo>
                  <a:lnTo>
                    <a:pt x="73025" y="69850"/>
                  </a:lnTo>
                  <a:lnTo>
                    <a:pt x="66675" y="63500"/>
                  </a:lnTo>
                  <a:lnTo>
                    <a:pt x="58737" y="60325"/>
                  </a:lnTo>
                  <a:lnTo>
                    <a:pt x="50800" y="63500"/>
                  </a:lnTo>
                  <a:lnTo>
                    <a:pt x="50800" y="65087"/>
                  </a:lnTo>
                  <a:lnTo>
                    <a:pt x="50800" y="66675"/>
                  </a:lnTo>
                  <a:lnTo>
                    <a:pt x="50800" y="69850"/>
                  </a:lnTo>
                  <a:lnTo>
                    <a:pt x="49212" y="74612"/>
                  </a:lnTo>
                  <a:lnTo>
                    <a:pt x="39687" y="85725"/>
                  </a:lnTo>
                  <a:lnTo>
                    <a:pt x="36512" y="85725"/>
                  </a:lnTo>
                  <a:lnTo>
                    <a:pt x="36512" y="88900"/>
                  </a:lnTo>
                  <a:lnTo>
                    <a:pt x="31750" y="88900"/>
                  </a:lnTo>
                  <a:lnTo>
                    <a:pt x="17462" y="92075"/>
                  </a:lnTo>
                  <a:lnTo>
                    <a:pt x="14287" y="93662"/>
                  </a:lnTo>
                  <a:lnTo>
                    <a:pt x="11112" y="93662"/>
                  </a:lnTo>
                  <a:lnTo>
                    <a:pt x="14287" y="92075"/>
                  </a:lnTo>
                  <a:lnTo>
                    <a:pt x="15875" y="92075"/>
                  </a:lnTo>
                  <a:lnTo>
                    <a:pt x="17462" y="88900"/>
                  </a:lnTo>
                  <a:lnTo>
                    <a:pt x="22225" y="87312"/>
                  </a:lnTo>
                  <a:lnTo>
                    <a:pt x="22225" y="85725"/>
                  </a:lnTo>
                  <a:lnTo>
                    <a:pt x="31750" y="74612"/>
                  </a:lnTo>
                  <a:lnTo>
                    <a:pt x="31750" y="71437"/>
                  </a:lnTo>
                  <a:lnTo>
                    <a:pt x="28575" y="71437"/>
                  </a:lnTo>
                  <a:lnTo>
                    <a:pt x="28575" y="69850"/>
                  </a:lnTo>
                  <a:lnTo>
                    <a:pt x="22225" y="66675"/>
                  </a:lnTo>
                  <a:lnTo>
                    <a:pt x="20637" y="63500"/>
                  </a:lnTo>
                  <a:lnTo>
                    <a:pt x="20637" y="60325"/>
                  </a:lnTo>
                  <a:lnTo>
                    <a:pt x="20637" y="58737"/>
                  </a:lnTo>
                  <a:lnTo>
                    <a:pt x="22225" y="55562"/>
                  </a:lnTo>
                  <a:lnTo>
                    <a:pt x="22225" y="53975"/>
                  </a:lnTo>
                  <a:lnTo>
                    <a:pt x="25400" y="52387"/>
                  </a:lnTo>
                  <a:lnTo>
                    <a:pt x="25400" y="47625"/>
                  </a:lnTo>
                  <a:lnTo>
                    <a:pt x="25400" y="44450"/>
                  </a:lnTo>
                  <a:lnTo>
                    <a:pt x="25400" y="42862"/>
                  </a:lnTo>
                  <a:lnTo>
                    <a:pt x="22225" y="41275"/>
                  </a:lnTo>
                  <a:lnTo>
                    <a:pt x="20637" y="38100"/>
                  </a:lnTo>
                  <a:lnTo>
                    <a:pt x="17462" y="38100"/>
                  </a:lnTo>
                  <a:lnTo>
                    <a:pt x="15875" y="38100"/>
                  </a:lnTo>
                  <a:lnTo>
                    <a:pt x="14287" y="36512"/>
                  </a:lnTo>
                  <a:lnTo>
                    <a:pt x="11112" y="33337"/>
                  </a:lnTo>
                  <a:lnTo>
                    <a:pt x="9525" y="31750"/>
                  </a:lnTo>
                  <a:lnTo>
                    <a:pt x="0" y="19050"/>
                  </a:lnTo>
                  <a:lnTo>
                    <a:pt x="0" y="15875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72" name="Freeform 97"/>
            <p:cNvSpPr>
              <a:spLocks/>
            </p:cNvSpPr>
            <p:nvPr/>
          </p:nvSpPr>
          <p:spPr bwMode="auto">
            <a:xfrm>
              <a:off x="5928496" y="3863037"/>
              <a:ext cx="588010" cy="501047"/>
            </a:xfrm>
            <a:custGeom>
              <a:avLst/>
              <a:gdLst>
                <a:gd name="T0" fmla="*/ 241 w 338"/>
                <a:gd name="T1" fmla="*/ 266 h 288"/>
                <a:gd name="T2" fmla="*/ 245 w 338"/>
                <a:gd name="T3" fmla="*/ 268 h 288"/>
                <a:gd name="T4" fmla="*/ 235 w 338"/>
                <a:gd name="T5" fmla="*/ 288 h 288"/>
                <a:gd name="T6" fmla="*/ 49 w 338"/>
                <a:gd name="T7" fmla="*/ 288 h 288"/>
                <a:gd name="T8" fmla="*/ 39 w 338"/>
                <a:gd name="T9" fmla="*/ 261 h 288"/>
                <a:gd name="T10" fmla="*/ 35 w 338"/>
                <a:gd name="T11" fmla="*/ 241 h 288"/>
                <a:gd name="T12" fmla="*/ 21 w 338"/>
                <a:gd name="T13" fmla="*/ 240 h 288"/>
                <a:gd name="T14" fmla="*/ 21 w 338"/>
                <a:gd name="T15" fmla="*/ 241 h 288"/>
                <a:gd name="T16" fmla="*/ 17 w 338"/>
                <a:gd name="T17" fmla="*/ 243 h 288"/>
                <a:gd name="T18" fmla="*/ 8 w 338"/>
                <a:gd name="T19" fmla="*/ 236 h 288"/>
                <a:gd name="T20" fmla="*/ 11 w 338"/>
                <a:gd name="T21" fmla="*/ 135 h 288"/>
                <a:gd name="T22" fmla="*/ 11 w 338"/>
                <a:gd name="T23" fmla="*/ 90 h 288"/>
                <a:gd name="T24" fmla="*/ 4 w 338"/>
                <a:gd name="T25" fmla="*/ 30 h 288"/>
                <a:gd name="T26" fmla="*/ 22 w 338"/>
                <a:gd name="T27" fmla="*/ 0 h 288"/>
                <a:gd name="T28" fmla="*/ 314 w 338"/>
                <a:gd name="T29" fmla="*/ 10 h 288"/>
                <a:gd name="T30" fmla="*/ 313 w 338"/>
                <a:gd name="T31" fmla="*/ 18 h 288"/>
                <a:gd name="T32" fmla="*/ 306 w 338"/>
                <a:gd name="T33" fmla="*/ 25 h 288"/>
                <a:gd name="T34" fmla="*/ 297 w 338"/>
                <a:gd name="T35" fmla="*/ 32 h 288"/>
                <a:gd name="T36" fmla="*/ 293 w 338"/>
                <a:gd name="T37" fmla="*/ 39 h 288"/>
                <a:gd name="T38" fmla="*/ 300 w 338"/>
                <a:gd name="T39" fmla="*/ 42 h 288"/>
                <a:gd name="T40" fmla="*/ 338 w 338"/>
                <a:gd name="T41" fmla="*/ 55 h 288"/>
                <a:gd name="T42" fmla="*/ 336 w 338"/>
                <a:gd name="T43" fmla="*/ 56 h 288"/>
                <a:gd name="T44" fmla="*/ 329 w 338"/>
                <a:gd name="T45" fmla="*/ 62 h 288"/>
                <a:gd name="T46" fmla="*/ 324 w 338"/>
                <a:gd name="T47" fmla="*/ 70 h 288"/>
                <a:gd name="T48" fmla="*/ 306 w 338"/>
                <a:gd name="T49" fmla="*/ 88 h 288"/>
                <a:gd name="T50" fmla="*/ 306 w 338"/>
                <a:gd name="T51" fmla="*/ 93 h 288"/>
                <a:gd name="T52" fmla="*/ 307 w 338"/>
                <a:gd name="T53" fmla="*/ 93 h 288"/>
                <a:gd name="T54" fmla="*/ 308 w 338"/>
                <a:gd name="T55" fmla="*/ 90 h 288"/>
                <a:gd name="T56" fmla="*/ 311 w 338"/>
                <a:gd name="T57" fmla="*/ 91 h 288"/>
                <a:gd name="T58" fmla="*/ 311 w 338"/>
                <a:gd name="T59" fmla="*/ 112 h 288"/>
                <a:gd name="T60" fmla="*/ 303 w 338"/>
                <a:gd name="T61" fmla="*/ 121 h 288"/>
                <a:gd name="T62" fmla="*/ 297 w 338"/>
                <a:gd name="T63" fmla="*/ 119 h 288"/>
                <a:gd name="T64" fmla="*/ 297 w 338"/>
                <a:gd name="T65" fmla="*/ 123 h 288"/>
                <a:gd name="T66" fmla="*/ 298 w 338"/>
                <a:gd name="T67" fmla="*/ 126 h 288"/>
                <a:gd name="T68" fmla="*/ 300 w 338"/>
                <a:gd name="T69" fmla="*/ 129 h 288"/>
                <a:gd name="T70" fmla="*/ 297 w 338"/>
                <a:gd name="T71" fmla="*/ 136 h 288"/>
                <a:gd name="T72" fmla="*/ 289 w 338"/>
                <a:gd name="T73" fmla="*/ 135 h 288"/>
                <a:gd name="T74" fmla="*/ 286 w 338"/>
                <a:gd name="T75" fmla="*/ 133 h 288"/>
                <a:gd name="T76" fmla="*/ 280 w 338"/>
                <a:gd name="T77" fmla="*/ 140 h 288"/>
                <a:gd name="T78" fmla="*/ 280 w 338"/>
                <a:gd name="T79" fmla="*/ 147 h 288"/>
                <a:gd name="T80" fmla="*/ 282 w 338"/>
                <a:gd name="T81" fmla="*/ 147 h 288"/>
                <a:gd name="T82" fmla="*/ 277 w 338"/>
                <a:gd name="T83" fmla="*/ 171 h 288"/>
                <a:gd name="T84" fmla="*/ 258 w 338"/>
                <a:gd name="T85" fmla="*/ 188 h 288"/>
                <a:gd name="T86" fmla="*/ 252 w 338"/>
                <a:gd name="T87" fmla="*/ 195 h 288"/>
                <a:gd name="T88" fmla="*/ 256 w 338"/>
                <a:gd name="T89" fmla="*/ 198 h 288"/>
                <a:gd name="T90" fmla="*/ 258 w 338"/>
                <a:gd name="T91" fmla="*/ 201 h 288"/>
                <a:gd name="T92" fmla="*/ 256 w 338"/>
                <a:gd name="T93" fmla="*/ 203 h 288"/>
                <a:gd name="T94" fmla="*/ 244 w 338"/>
                <a:gd name="T95" fmla="*/ 205 h 288"/>
                <a:gd name="T96" fmla="*/ 247 w 338"/>
                <a:gd name="T97" fmla="*/ 212 h 288"/>
                <a:gd name="T98" fmla="*/ 235 w 338"/>
                <a:gd name="T99" fmla="*/ 244 h 288"/>
                <a:gd name="T100" fmla="*/ 235 w 338"/>
                <a:gd name="T101" fmla="*/ 257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8" h="288">
                  <a:moveTo>
                    <a:pt x="240" y="265"/>
                  </a:moveTo>
                  <a:lnTo>
                    <a:pt x="241" y="266"/>
                  </a:lnTo>
                  <a:lnTo>
                    <a:pt x="241" y="266"/>
                  </a:lnTo>
                  <a:lnTo>
                    <a:pt x="241" y="266"/>
                  </a:lnTo>
                  <a:lnTo>
                    <a:pt x="241" y="266"/>
                  </a:lnTo>
                  <a:lnTo>
                    <a:pt x="242" y="266"/>
                  </a:lnTo>
                  <a:lnTo>
                    <a:pt x="242" y="266"/>
                  </a:lnTo>
                  <a:lnTo>
                    <a:pt x="245" y="268"/>
                  </a:lnTo>
                  <a:lnTo>
                    <a:pt x="240" y="285"/>
                  </a:lnTo>
                  <a:lnTo>
                    <a:pt x="240" y="285"/>
                  </a:lnTo>
                  <a:lnTo>
                    <a:pt x="237" y="288"/>
                  </a:lnTo>
                  <a:lnTo>
                    <a:pt x="235" y="288"/>
                  </a:lnTo>
                  <a:lnTo>
                    <a:pt x="230" y="288"/>
                  </a:lnTo>
                  <a:lnTo>
                    <a:pt x="220" y="288"/>
                  </a:lnTo>
                  <a:lnTo>
                    <a:pt x="144" y="288"/>
                  </a:lnTo>
                  <a:lnTo>
                    <a:pt x="49" y="288"/>
                  </a:lnTo>
                  <a:lnTo>
                    <a:pt x="39" y="288"/>
                  </a:lnTo>
                  <a:lnTo>
                    <a:pt x="39" y="288"/>
                  </a:lnTo>
                  <a:lnTo>
                    <a:pt x="39" y="286"/>
                  </a:lnTo>
                  <a:lnTo>
                    <a:pt x="39" y="261"/>
                  </a:lnTo>
                  <a:lnTo>
                    <a:pt x="39" y="245"/>
                  </a:lnTo>
                  <a:lnTo>
                    <a:pt x="39" y="243"/>
                  </a:lnTo>
                  <a:lnTo>
                    <a:pt x="36" y="241"/>
                  </a:lnTo>
                  <a:lnTo>
                    <a:pt x="35" y="241"/>
                  </a:lnTo>
                  <a:lnTo>
                    <a:pt x="29" y="240"/>
                  </a:lnTo>
                  <a:lnTo>
                    <a:pt x="28" y="240"/>
                  </a:lnTo>
                  <a:lnTo>
                    <a:pt x="22" y="240"/>
                  </a:lnTo>
                  <a:lnTo>
                    <a:pt x="21" y="240"/>
                  </a:lnTo>
                  <a:lnTo>
                    <a:pt x="21" y="240"/>
                  </a:lnTo>
                  <a:lnTo>
                    <a:pt x="21" y="240"/>
                  </a:lnTo>
                  <a:lnTo>
                    <a:pt x="21" y="241"/>
                  </a:lnTo>
                  <a:lnTo>
                    <a:pt x="21" y="241"/>
                  </a:lnTo>
                  <a:lnTo>
                    <a:pt x="21" y="243"/>
                  </a:lnTo>
                  <a:lnTo>
                    <a:pt x="21" y="243"/>
                  </a:lnTo>
                  <a:lnTo>
                    <a:pt x="19" y="243"/>
                  </a:lnTo>
                  <a:lnTo>
                    <a:pt x="17" y="243"/>
                  </a:lnTo>
                  <a:lnTo>
                    <a:pt x="15" y="243"/>
                  </a:lnTo>
                  <a:lnTo>
                    <a:pt x="15" y="243"/>
                  </a:lnTo>
                  <a:lnTo>
                    <a:pt x="11" y="238"/>
                  </a:lnTo>
                  <a:lnTo>
                    <a:pt x="8" y="236"/>
                  </a:lnTo>
                  <a:lnTo>
                    <a:pt x="8" y="219"/>
                  </a:lnTo>
                  <a:lnTo>
                    <a:pt x="10" y="210"/>
                  </a:lnTo>
                  <a:lnTo>
                    <a:pt x="11" y="151"/>
                  </a:lnTo>
                  <a:lnTo>
                    <a:pt x="11" y="135"/>
                  </a:lnTo>
                  <a:lnTo>
                    <a:pt x="11" y="95"/>
                  </a:lnTo>
                  <a:lnTo>
                    <a:pt x="11" y="93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11" y="80"/>
                  </a:lnTo>
                  <a:lnTo>
                    <a:pt x="11" y="79"/>
                  </a:lnTo>
                  <a:lnTo>
                    <a:pt x="5" y="46"/>
                  </a:lnTo>
                  <a:lnTo>
                    <a:pt x="4" y="30"/>
                  </a:lnTo>
                  <a:lnTo>
                    <a:pt x="1" y="15"/>
                  </a:lnTo>
                  <a:lnTo>
                    <a:pt x="0" y="0"/>
                  </a:lnTo>
                  <a:lnTo>
                    <a:pt x="0" y="0"/>
                  </a:lnTo>
                  <a:lnTo>
                    <a:pt x="22" y="0"/>
                  </a:lnTo>
                  <a:lnTo>
                    <a:pt x="109" y="0"/>
                  </a:lnTo>
                  <a:lnTo>
                    <a:pt x="186" y="0"/>
                  </a:lnTo>
                  <a:lnTo>
                    <a:pt x="307" y="0"/>
                  </a:lnTo>
                  <a:lnTo>
                    <a:pt x="314" y="10"/>
                  </a:lnTo>
                  <a:lnTo>
                    <a:pt x="314" y="11"/>
                  </a:lnTo>
                  <a:lnTo>
                    <a:pt x="314" y="17"/>
                  </a:lnTo>
                  <a:lnTo>
                    <a:pt x="314" y="18"/>
                  </a:lnTo>
                  <a:lnTo>
                    <a:pt x="313" y="18"/>
                  </a:lnTo>
                  <a:lnTo>
                    <a:pt x="313" y="20"/>
                  </a:lnTo>
                  <a:lnTo>
                    <a:pt x="308" y="24"/>
                  </a:lnTo>
                  <a:lnTo>
                    <a:pt x="308" y="24"/>
                  </a:lnTo>
                  <a:lnTo>
                    <a:pt x="306" y="25"/>
                  </a:lnTo>
                  <a:lnTo>
                    <a:pt x="306" y="25"/>
                  </a:lnTo>
                  <a:lnTo>
                    <a:pt x="304" y="27"/>
                  </a:lnTo>
                  <a:lnTo>
                    <a:pt x="303" y="27"/>
                  </a:lnTo>
                  <a:lnTo>
                    <a:pt x="297" y="32"/>
                  </a:lnTo>
                  <a:lnTo>
                    <a:pt x="296" y="34"/>
                  </a:lnTo>
                  <a:lnTo>
                    <a:pt x="296" y="34"/>
                  </a:lnTo>
                  <a:lnTo>
                    <a:pt x="294" y="37"/>
                  </a:lnTo>
                  <a:lnTo>
                    <a:pt x="293" y="39"/>
                  </a:lnTo>
                  <a:lnTo>
                    <a:pt x="291" y="41"/>
                  </a:lnTo>
                  <a:lnTo>
                    <a:pt x="291" y="42"/>
                  </a:lnTo>
                  <a:lnTo>
                    <a:pt x="291" y="42"/>
                  </a:lnTo>
                  <a:lnTo>
                    <a:pt x="300" y="42"/>
                  </a:lnTo>
                  <a:lnTo>
                    <a:pt x="324" y="42"/>
                  </a:lnTo>
                  <a:lnTo>
                    <a:pt x="336" y="41"/>
                  </a:lnTo>
                  <a:lnTo>
                    <a:pt x="338" y="44"/>
                  </a:lnTo>
                  <a:lnTo>
                    <a:pt x="338" y="55"/>
                  </a:lnTo>
                  <a:lnTo>
                    <a:pt x="338" y="55"/>
                  </a:lnTo>
                  <a:lnTo>
                    <a:pt x="338" y="55"/>
                  </a:lnTo>
                  <a:lnTo>
                    <a:pt x="336" y="56"/>
                  </a:lnTo>
                  <a:lnTo>
                    <a:pt x="336" y="56"/>
                  </a:lnTo>
                  <a:lnTo>
                    <a:pt x="335" y="58"/>
                  </a:lnTo>
                  <a:lnTo>
                    <a:pt x="331" y="60"/>
                  </a:lnTo>
                  <a:lnTo>
                    <a:pt x="331" y="60"/>
                  </a:lnTo>
                  <a:lnTo>
                    <a:pt x="329" y="62"/>
                  </a:lnTo>
                  <a:lnTo>
                    <a:pt x="328" y="62"/>
                  </a:lnTo>
                  <a:lnTo>
                    <a:pt x="327" y="62"/>
                  </a:lnTo>
                  <a:lnTo>
                    <a:pt x="325" y="63"/>
                  </a:lnTo>
                  <a:lnTo>
                    <a:pt x="324" y="70"/>
                  </a:lnTo>
                  <a:lnTo>
                    <a:pt x="325" y="73"/>
                  </a:lnTo>
                  <a:lnTo>
                    <a:pt x="315" y="79"/>
                  </a:lnTo>
                  <a:lnTo>
                    <a:pt x="308" y="87"/>
                  </a:lnTo>
                  <a:lnTo>
                    <a:pt x="306" y="88"/>
                  </a:lnTo>
                  <a:lnTo>
                    <a:pt x="306" y="90"/>
                  </a:lnTo>
                  <a:lnTo>
                    <a:pt x="306" y="91"/>
                  </a:lnTo>
                  <a:lnTo>
                    <a:pt x="306" y="91"/>
                  </a:lnTo>
                  <a:lnTo>
                    <a:pt x="306" y="93"/>
                  </a:lnTo>
                  <a:lnTo>
                    <a:pt x="306" y="93"/>
                  </a:lnTo>
                  <a:lnTo>
                    <a:pt x="306" y="93"/>
                  </a:lnTo>
                  <a:lnTo>
                    <a:pt x="307" y="93"/>
                  </a:lnTo>
                  <a:lnTo>
                    <a:pt x="307" y="93"/>
                  </a:lnTo>
                  <a:lnTo>
                    <a:pt x="307" y="93"/>
                  </a:lnTo>
                  <a:lnTo>
                    <a:pt x="308" y="91"/>
                  </a:lnTo>
                  <a:lnTo>
                    <a:pt x="308" y="90"/>
                  </a:lnTo>
                  <a:lnTo>
                    <a:pt x="308" y="90"/>
                  </a:lnTo>
                  <a:lnTo>
                    <a:pt x="310" y="90"/>
                  </a:lnTo>
                  <a:lnTo>
                    <a:pt x="310" y="91"/>
                  </a:lnTo>
                  <a:lnTo>
                    <a:pt x="311" y="91"/>
                  </a:lnTo>
                  <a:lnTo>
                    <a:pt x="311" y="91"/>
                  </a:lnTo>
                  <a:lnTo>
                    <a:pt x="313" y="109"/>
                  </a:lnTo>
                  <a:lnTo>
                    <a:pt x="313" y="109"/>
                  </a:lnTo>
                  <a:lnTo>
                    <a:pt x="313" y="111"/>
                  </a:lnTo>
                  <a:lnTo>
                    <a:pt x="311" y="112"/>
                  </a:lnTo>
                  <a:lnTo>
                    <a:pt x="311" y="114"/>
                  </a:lnTo>
                  <a:lnTo>
                    <a:pt x="304" y="119"/>
                  </a:lnTo>
                  <a:lnTo>
                    <a:pt x="303" y="119"/>
                  </a:lnTo>
                  <a:lnTo>
                    <a:pt x="303" y="121"/>
                  </a:lnTo>
                  <a:lnTo>
                    <a:pt x="301" y="121"/>
                  </a:lnTo>
                  <a:lnTo>
                    <a:pt x="301" y="121"/>
                  </a:lnTo>
                  <a:lnTo>
                    <a:pt x="300" y="119"/>
                  </a:lnTo>
                  <a:lnTo>
                    <a:pt x="297" y="119"/>
                  </a:lnTo>
                  <a:lnTo>
                    <a:pt x="297" y="121"/>
                  </a:lnTo>
                  <a:lnTo>
                    <a:pt x="297" y="121"/>
                  </a:lnTo>
                  <a:lnTo>
                    <a:pt x="297" y="122"/>
                  </a:lnTo>
                  <a:lnTo>
                    <a:pt x="297" y="123"/>
                  </a:lnTo>
                  <a:lnTo>
                    <a:pt x="297" y="123"/>
                  </a:lnTo>
                  <a:lnTo>
                    <a:pt x="297" y="123"/>
                  </a:lnTo>
                  <a:lnTo>
                    <a:pt x="298" y="125"/>
                  </a:lnTo>
                  <a:lnTo>
                    <a:pt x="298" y="126"/>
                  </a:lnTo>
                  <a:lnTo>
                    <a:pt x="300" y="126"/>
                  </a:lnTo>
                  <a:lnTo>
                    <a:pt x="300" y="128"/>
                  </a:lnTo>
                  <a:lnTo>
                    <a:pt x="300" y="128"/>
                  </a:lnTo>
                  <a:lnTo>
                    <a:pt x="300" y="129"/>
                  </a:lnTo>
                  <a:lnTo>
                    <a:pt x="300" y="130"/>
                  </a:lnTo>
                  <a:lnTo>
                    <a:pt x="300" y="132"/>
                  </a:lnTo>
                  <a:lnTo>
                    <a:pt x="297" y="135"/>
                  </a:lnTo>
                  <a:lnTo>
                    <a:pt x="297" y="136"/>
                  </a:lnTo>
                  <a:lnTo>
                    <a:pt x="297" y="136"/>
                  </a:lnTo>
                  <a:lnTo>
                    <a:pt x="296" y="136"/>
                  </a:lnTo>
                  <a:lnTo>
                    <a:pt x="289" y="136"/>
                  </a:lnTo>
                  <a:lnTo>
                    <a:pt x="289" y="135"/>
                  </a:lnTo>
                  <a:lnTo>
                    <a:pt x="289" y="133"/>
                  </a:lnTo>
                  <a:lnTo>
                    <a:pt x="287" y="133"/>
                  </a:lnTo>
                  <a:lnTo>
                    <a:pt x="287" y="133"/>
                  </a:lnTo>
                  <a:lnTo>
                    <a:pt x="286" y="133"/>
                  </a:lnTo>
                  <a:lnTo>
                    <a:pt x="286" y="133"/>
                  </a:lnTo>
                  <a:lnTo>
                    <a:pt x="286" y="133"/>
                  </a:lnTo>
                  <a:lnTo>
                    <a:pt x="280" y="140"/>
                  </a:lnTo>
                  <a:lnTo>
                    <a:pt x="280" y="140"/>
                  </a:lnTo>
                  <a:lnTo>
                    <a:pt x="280" y="142"/>
                  </a:lnTo>
                  <a:lnTo>
                    <a:pt x="280" y="146"/>
                  </a:lnTo>
                  <a:lnTo>
                    <a:pt x="280" y="147"/>
                  </a:lnTo>
                  <a:lnTo>
                    <a:pt x="280" y="147"/>
                  </a:lnTo>
                  <a:lnTo>
                    <a:pt x="280" y="147"/>
                  </a:lnTo>
                  <a:lnTo>
                    <a:pt x="280" y="147"/>
                  </a:lnTo>
                  <a:lnTo>
                    <a:pt x="282" y="147"/>
                  </a:lnTo>
                  <a:lnTo>
                    <a:pt x="282" y="147"/>
                  </a:lnTo>
                  <a:lnTo>
                    <a:pt x="284" y="153"/>
                  </a:lnTo>
                  <a:lnTo>
                    <a:pt x="282" y="161"/>
                  </a:lnTo>
                  <a:lnTo>
                    <a:pt x="277" y="170"/>
                  </a:lnTo>
                  <a:lnTo>
                    <a:pt x="277" y="171"/>
                  </a:lnTo>
                  <a:lnTo>
                    <a:pt x="277" y="173"/>
                  </a:lnTo>
                  <a:lnTo>
                    <a:pt x="276" y="173"/>
                  </a:lnTo>
                  <a:lnTo>
                    <a:pt x="265" y="182"/>
                  </a:lnTo>
                  <a:lnTo>
                    <a:pt x="258" y="188"/>
                  </a:lnTo>
                  <a:lnTo>
                    <a:pt x="252" y="194"/>
                  </a:lnTo>
                  <a:lnTo>
                    <a:pt x="252" y="194"/>
                  </a:lnTo>
                  <a:lnTo>
                    <a:pt x="252" y="195"/>
                  </a:lnTo>
                  <a:lnTo>
                    <a:pt x="252" y="195"/>
                  </a:lnTo>
                  <a:lnTo>
                    <a:pt x="254" y="196"/>
                  </a:lnTo>
                  <a:lnTo>
                    <a:pt x="255" y="198"/>
                  </a:lnTo>
                  <a:lnTo>
                    <a:pt x="256" y="198"/>
                  </a:lnTo>
                  <a:lnTo>
                    <a:pt x="256" y="198"/>
                  </a:lnTo>
                  <a:lnTo>
                    <a:pt x="258" y="198"/>
                  </a:lnTo>
                  <a:lnTo>
                    <a:pt x="258" y="198"/>
                  </a:lnTo>
                  <a:lnTo>
                    <a:pt x="258" y="199"/>
                  </a:lnTo>
                  <a:lnTo>
                    <a:pt x="258" y="201"/>
                  </a:lnTo>
                  <a:lnTo>
                    <a:pt x="258" y="201"/>
                  </a:lnTo>
                  <a:lnTo>
                    <a:pt x="258" y="202"/>
                  </a:lnTo>
                  <a:lnTo>
                    <a:pt x="256" y="202"/>
                  </a:lnTo>
                  <a:lnTo>
                    <a:pt x="256" y="203"/>
                  </a:lnTo>
                  <a:lnTo>
                    <a:pt x="255" y="203"/>
                  </a:lnTo>
                  <a:lnTo>
                    <a:pt x="255" y="203"/>
                  </a:lnTo>
                  <a:lnTo>
                    <a:pt x="249" y="205"/>
                  </a:lnTo>
                  <a:lnTo>
                    <a:pt x="244" y="205"/>
                  </a:lnTo>
                  <a:lnTo>
                    <a:pt x="245" y="209"/>
                  </a:lnTo>
                  <a:lnTo>
                    <a:pt x="247" y="210"/>
                  </a:lnTo>
                  <a:lnTo>
                    <a:pt x="247" y="212"/>
                  </a:lnTo>
                  <a:lnTo>
                    <a:pt x="247" y="212"/>
                  </a:lnTo>
                  <a:lnTo>
                    <a:pt x="244" y="223"/>
                  </a:lnTo>
                  <a:lnTo>
                    <a:pt x="240" y="229"/>
                  </a:lnTo>
                  <a:lnTo>
                    <a:pt x="235" y="241"/>
                  </a:lnTo>
                  <a:lnTo>
                    <a:pt x="235" y="244"/>
                  </a:lnTo>
                  <a:lnTo>
                    <a:pt x="234" y="254"/>
                  </a:lnTo>
                  <a:lnTo>
                    <a:pt x="234" y="255"/>
                  </a:lnTo>
                  <a:lnTo>
                    <a:pt x="234" y="255"/>
                  </a:lnTo>
                  <a:lnTo>
                    <a:pt x="235" y="257"/>
                  </a:lnTo>
                  <a:lnTo>
                    <a:pt x="235" y="257"/>
                  </a:lnTo>
                  <a:lnTo>
                    <a:pt x="237" y="257"/>
                  </a:lnTo>
                  <a:lnTo>
                    <a:pt x="240" y="265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73" name="Freeform 98"/>
            <p:cNvSpPr>
              <a:spLocks/>
            </p:cNvSpPr>
            <p:nvPr/>
          </p:nvSpPr>
          <p:spPr bwMode="auto">
            <a:xfrm>
              <a:off x="4194036" y="3791709"/>
              <a:ext cx="732405" cy="812463"/>
            </a:xfrm>
            <a:custGeom>
              <a:avLst/>
              <a:gdLst>
                <a:gd name="T0" fmla="*/ 0 w 421"/>
                <a:gd name="T1" fmla="*/ 467 h 467"/>
                <a:gd name="T2" fmla="*/ 0 w 421"/>
                <a:gd name="T3" fmla="*/ 420 h 467"/>
                <a:gd name="T4" fmla="*/ 0 w 421"/>
                <a:gd name="T5" fmla="*/ 375 h 467"/>
                <a:gd name="T6" fmla="*/ 0 w 421"/>
                <a:gd name="T7" fmla="*/ 300 h 467"/>
                <a:gd name="T8" fmla="*/ 0 w 421"/>
                <a:gd name="T9" fmla="*/ 187 h 467"/>
                <a:gd name="T10" fmla="*/ 0 w 421"/>
                <a:gd name="T11" fmla="*/ 135 h 467"/>
                <a:gd name="T12" fmla="*/ 0 w 421"/>
                <a:gd name="T13" fmla="*/ 97 h 467"/>
                <a:gd name="T14" fmla="*/ 0 w 421"/>
                <a:gd name="T15" fmla="*/ 24 h 467"/>
                <a:gd name="T16" fmla="*/ 43 w 421"/>
                <a:gd name="T17" fmla="*/ 0 h 467"/>
                <a:gd name="T18" fmla="*/ 405 w 421"/>
                <a:gd name="T19" fmla="*/ 0 h 467"/>
                <a:gd name="T20" fmla="*/ 418 w 421"/>
                <a:gd name="T21" fmla="*/ 6 h 467"/>
                <a:gd name="T22" fmla="*/ 418 w 421"/>
                <a:gd name="T23" fmla="*/ 16 h 467"/>
                <a:gd name="T24" fmla="*/ 418 w 421"/>
                <a:gd name="T25" fmla="*/ 23 h 467"/>
                <a:gd name="T26" fmla="*/ 418 w 421"/>
                <a:gd name="T27" fmla="*/ 26 h 467"/>
                <a:gd name="T28" fmla="*/ 418 w 421"/>
                <a:gd name="T29" fmla="*/ 30 h 467"/>
                <a:gd name="T30" fmla="*/ 418 w 421"/>
                <a:gd name="T31" fmla="*/ 34 h 467"/>
                <a:gd name="T32" fmla="*/ 418 w 421"/>
                <a:gd name="T33" fmla="*/ 37 h 467"/>
                <a:gd name="T34" fmla="*/ 418 w 421"/>
                <a:gd name="T35" fmla="*/ 41 h 467"/>
                <a:gd name="T36" fmla="*/ 415 w 421"/>
                <a:gd name="T37" fmla="*/ 156 h 467"/>
                <a:gd name="T38" fmla="*/ 415 w 421"/>
                <a:gd name="T39" fmla="*/ 270 h 467"/>
                <a:gd name="T40" fmla="*/ 414 w 421"/>
                <a:gd name="T41" fmla="*/ 310 h 467"/>
                <a:gd name="T42" fmla="*/ 414 w 421"/>
                <a:gd name="T43" fmla="*/ 330 h 467"/>
                <a:gd name="T44" fmla="*/ 414 w 421"/>
                <a:gd name="T45" fmla="*/ 413 h 467"/>
                <a:gd name="T46" fmla="*/ 355 w 421"/>
                <a:gd name="T47" fmla="*/ 413 h 467"/>
                <a:gd name="T48" fmla="*/ 311 w 421"/>
                <a:gd name="T49" fmla="*/ 413 h 467"/>
                <a:gd name="T50" fmla="*/ 165 w 421"/>
                <a:gd name="T51" fmla="*/ 413 h 467"/>
                <a:gd name="T52" fmla="*/ 167 w 421"/>
                <a:gd name="T53" fmla="*/ 421 h 467"/>
                <a:gd name="T54" fmla="*/ 171 w 421"/>
                <a:gd name="T55" fmla="*/ 427 h 467"/>
                <a:gd name="T56" fmla="*/ 174 w 421"/>
                <a:gd name="T57" fmla="*/ 431 h 467"/>
                <a:gd name="T58" fmla="*/ 168 w 421"/>
                <a:gd name="T59" fmla="*/ 431 h 467"/>
                <a:gd name="T60" fmla="*/ 132 w 421"/>
                <a:gd name="T61" fmla="*/ 431 h 467"/>
                <a:gd name="T62" fmla="*/ 125 w 421"/>
                <a:gd name="T63" fmla="*/ 431 h 467"/>
                <a:gd name="T64" fmla="*/ 118 w 421"/>
                <a:gd name="T65" fmla="*/ 431 h 467"/>
                <a:gd name="T66" fmla="*/ 111 w 421"/>
                <a:gd name="T67" fmla="*/ 431 h 467"/>
                <a:gd name="T68" fmla="*/ 102 w 421"/>
                <a:gd name="T69" fmla="*/ 431 h 467"/>
                <a:gd name="T70" fmla="*/ 92 w 421"/>
                <a:gd name="T71" fmla="*/ 431 h 467"/>
                <a:gd name="T72" fmla="*/ 60 w 421"/>
                <a:gd name="T73" fmla="*/ 431 h 467"/>
                <a:gd name="T74" fmla="*/ 59 w 421"/>
                <a:gd name="T75" fmla="*/ 436 h 467"/>
                <a:gd name="T76" fmla="*/ 59 w 421"/>
                <a:gd name="T77" fmla="*/ 450 h 467"/>
                <a:gd name="T78" fmla="*/ 59 w 421"/>
                <a:gd name="T79" fmla="*/ 465 h 467"/>
                <a:gd name="T80" fmla="*/ 20 w 421"/>
                <a:gd name="T81" fmla="*/ 467 h 467"/>
                <a:gd name="T82" fmla="*/ 15 w 421"/>
                <a:gd name="T83" fmla="*/ 467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1" h="467">
                  <a:moveTo>
                    <a:pt x="15" y="467"/>
                  </a:moveTo>
                  <a:lnTo>
                    <a:pt x="0" y="467"/>
                  </a:lnTo>
                  <a:lnTo>
                    <a:pt x="0" y="453"/>
                  </a:lnTo>
                  <a:lnTo>
                    <a:pt x="0" y="420"/>
                  </a:lnTo>
                  <a:lnTo>
                    <a:pt x="0" y="408"/>
                  </a:lnTo>
                  <a:lnTo>
                    <a:pt x="0" y="375"/>
                  </a:lnTo>
                  <a:lnTo>
                    <a:pt x="0" y="329"/>
                  </a:lnTo>
                  <a:lnTo>
                    <a:pt x="0" y="300"/>
                  </a:lnTo>
                  <a:lnTo>
                    <a:pt x="0" y="277"/>
                  </a:lnTo>
                  <a:lnTo>
                    <a:pt x="0" y="187"/>
                  </a:lnTo>
                  <a:lnTo>
                    <a:pt x="0" y="145"/>
                  </a:lnTo>
                  <a:lnTo>
                    <a:pt x="0" y="135"/>
                  </a:lnTo>
                  <a:lnTo>
                    <a:pt x="0" y="125"/>
                  </a:lnTo>
                  <a:lnTo>
                    <a:pt x="0" y="97"/>
                  </a:lnTo>
                  <a:lnTo>
                    <a:pt x="0" y="52"/>
                  </a:lnTo>
                  <a:lnTo>
                    <a:pt x="0" y="24"/>
                  </a:lnTo>
                  <a:lnTo>
                    <a:pt x="0" y="0"/>
                  </a:lnTo>
                  <a:lnTo>
                    <a:pt x="43" y="0"/>
                  </a:lnTo>
                  <a:lnTo>
                    <a:pt x="235" y="0"/>
                  </a:lnTo>
                  <a:lnTo>
                    <a:pt x="405" y="0"/>
                  </a:lnTo>
                  <a:lnTo>
                    <a:pt x="421" y="0"/>
                  </a:lnTo>
                  <a:lnTo>
                    <a:pt x="418" y="6"/>
                  </a:lnTo>
                  <a:lnTo>
                    <a:pt x="418" y="10"/>
                  </a:lnTo>
                  <a:lnTo>
                    <a:pt x="418" y="16"/>
                  </a:lnTo>
                  <a:lnTo>
                    <a:pt x="418" y="20"/>
                  </a:lnTo>
                  <a:lnTo>
                    <a:pt x="418" y="23"/>
                  </a:lnTo>
                  <a:lnTo>
                    <a:pt x="418" y="24"/>
                  </a:lnTo>
                  <a:lnTo>
                    <a:pt x="418" y="26"/>
                  </a:lnTo>
                  <a:lnTo>
                    <a:pt x="418" y="27"/>
                  </a:lnTo>
                  <a:lnTo>
                    <a:pt x="418" y="30"/>
                  </a:lnTo>
                  <a:lnTo>
                    <a:pt x="418" y="31"/>
                  </a:lnTo>
                  <a:lnTo>
                    <a:pt x="418" y="34"/>
                  </a:lnTo>
                  <a:lnTo>
                    <a:pt x="418" y="35"/>
                  </a:lnTo>
                  <a:lnTo>
                    <a:pt x="418" y="37"/>
                  </a:lnTo>
                  <a:lnTo>
                    <a:pt x="418" y="38"/>
                  </a:lnTo>
                  <a:lnTo>
                    <a:pt x="418" y="41"/>
                  </a:lnTo>
                  <a:lnTo>
                    <a:pt x="415" y="54"/>
                  </a:lnTo>
                  <a:lnTo>
                    <a:pt x="415" y="156"/>
                  </a:lnTo>
                  <a:lnTo>
                    <a:pt x="415" y="247"/>
                  </a:lnTo>
                  <a:lnTo>
                    <a:pt x="415" y="270"/>
                  </a:lnTo>
                  <a:lnTo>
                    <a:pt x="414" y="291"/>
                  </a:lnTo>
                  <a:lnTo>
                    <a:pt x="414" y="310"/>
                  </a:lnTo>
                  <a:lnTo>
                    <a:pt x="414" y="319"/>
                  </a:lnTo>
                  <a:lnTo>
                    <a:pt x="414" y="330"/>
                  </a:lnTo>
                  <a:lnTo>
                    <a:pt x="414" y="368"/>
                  </a:lnTo>
                  <a:lnTo>
                    <a:pt x="414" y="413"/>
                  </a:lnTo>
                  <a:lnTo>
                    <a:pt x="414" y="413"/>
                  </a:lnTo>
                  <a:lnTo>
                    <a:pt x="355" y="413"/>
                  </a:lnTo>
                  <a:lnTo>
                    <a:pt x="320" y="413"/>
                  </a:lnTo>
                  <a:lnTo>
                    <a:pt x="311" y="413"/>
                  </a:lnTo>
                  <a:lnTo>
                    <a:pt x="168" y="413"/>
                  </a:lnTo>
                  <a:lnTo>
                    <a:pt x="165" y="413"/>
                  </a:lnTo>
                  <a:lnTo>
                    <a:pt x="165" y="414"/>
                  </a:lnTo>
                  <a:lnTo>
                    <a:pt x="167" y="421"/>
                  </a:lnTo>
                  <a:lnTo>
                    <a:pt x="170" y="427"/>
                  </a:lnTo>
                  <a:lnTo>
                    <a:pt x="171" y="427"/>
                  </a:lnTo>
                  <a:lnTo>
                    <a:pt x="175" y="431"/>
                  </a:lnTo>
                  <a:lnTo>
                    <a:pt x="174" y="431"/>
                  </a:lnTo>
                  <a:lnTo>
                    <a:pt x="172" y="431"/>
                  </a:lnTo>
                  <a:lnTo>
                    <a:pt x="168" y="431"/>
                  </a:lnTo>
                  <a:lnTo>
                    <a:pt x="136" y="431"/>
                  </a:lnTo>
                  <a:lnTo>
                    <a:pt x="132" y="431"/>
                  </a:lnTo>
                  <a:lnTo>
                    <a:pt x="130" y="431"/>
                  </a:lnTo>
                  <a:lnTo>
                    <a:pt x="125" y="431"/>
                  </a:lnTo>
                  <a:lnTo>
                    <a:pt x="123" y="431"/>
                  </a:lnTo>
                  <a:lnTo>
                    <a:pt x="118" y="431"/>
                  </a:lnTo>
                  <a:lnTo>
                    <a:pt x="116" y="431"/>
                  </a:lnTo>
                  <a:lnTo>
                    <a:pt x="111" y="431"/>
                  </a:lnTo>
                  <a:lnTo>
                    <a:pt x="106" y="431"/>
                  </a:lnTo>
                  <a:lnTo>
                    <a:pt x="102" y="431"/>
                  </a:lnTo>
                  <a:lnTo>
                    <a:pt x="99" y="431"/>
                  </a:lnTo>
                  <a:lnTo>
                    <a:pt x="92" y="431"/>
                  </a:lnTo>
                  <a:lnTo>
                    <a:pt x="78" y="431"/>
                  </a:lnTo>
                  <a:lnTo>
                    <a:pt x="60" y="431"/>
                  </a:lnTo>
                  <a:lnTo>
                    <a:pt x="59" y="431"/>
                  </a:lnTo>
                  <a:lnTo>
                    <a:pt x="59" y="436"/>
                  </a:lnTo>
                  <a:lnTo>
                    <a:pt x="59" y="445"/>
                  </a:lnTo>
                  <a:lnTo>
                    <a:pt x="59" y="450"/>
                  </a:lnTo>
                  <a:lnTo>
                    <a:pt x="59" y="459"/>
                  </a:lnTo>
                  <a:lnTo>
                    <a:pt x="59" y="465"/>
                  </a:lnTo>
                  <a:lnTo>
                    <a:pt x="59" y="467"/>
                  </a:lnTo>
                  <a:lnTo>
                    <a:pt x="20" y="467"/>
                  </a:lnTo>
                  <a:lnTo>
                    <a:pt x="17" y="467"/>
                  </a:lnTo>
                  <a:lnTo>
                    <a:pt x="15" y="467"/>
                  </a:lnTo>
                  <a:lnTo>
                    <a:pt x="15" y="467"/>
                  </a:lnTo>
                  <a:close/>
                </a:path>
              </a:pathLst>
            </a:custGeom>
            <a:solidFill>
              <a:srgbClr val="FFC000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74" name="Freeform 100"/>
            <p:cNvSpPr>
              <a:spLocks/>
            </p:cNvSpPr>
            <p:nvPr/>
          </p:nvSpPr>
          <p:spPr bwMode="auto">
            <a:xfrm>
              <a:off x="7504644" y="4661581"/>
              <a:ext cx="6959" cy="31315"/>
            </a:xfrm>
            <a:custGeom>
              <a:avLst/>
              <a:gdLst>
                <a:gd name="T0" fmla="*/ 1 w 4"/>
                <a:gd name="T1" fmla="*/ 12 h 18"/>
                <a:gd name="T2" fmla="*/ 2 w 4"/>
                <a:gd name="T3" fmla="*/ 14 h 18"/>
                <a:gd name="T4" fmla="*/ 2 w 4"/>
                <a:gd name="T5" fmla="*/ 16 h 18"/>
                <a:gd name="T6" fmla="*/ 2 w 4"/>
                <a:gd name="T7" fmla="*/ 18 h 18"/>
                <a:gd name="T8" fmla="*/ 2 w 4"/>
                <a:gd name="T9" fmla="*/ 18 h 18"/>
                <a:gd name="T10" fmla="*/ 2 w 4"/>
                <a:gd name="T11" fmla="*/ 18 h 18"/>
                <a:gd name="T12" fmla="*/ 1 w 4"/>
                <a:gd name="T13" fmla="*/ 18 h 18"/>
                <a:gd name="T14" fmla="*/ 1 w 4"/>
                <a:gd name="T15" fmla="*/ 18 h 18"/>
                <a:gd name="T16" fmla="*/ 1 w 4"/>
                <a:gd name="T17" fmla="*/ 18 h 18"/>
                <a:gd name="T18" fmla="*/ 1 w 4"/>
                <a:gd name="T19" fmla="*/ 16 h 18"/>
                <a:gd name="T20" fmla="*/ 1 w 4"/>
                <a:gd name="T21" fmla="*/ 15 h 18"/>
                <a:gd name="T22" fmla="*/ 0 w 4"/>
                <a:gd name="T23" fmla="*/ 5 h 18"/>
                <a:gd name="T24" fmla="*/ 0 w 4"/>
                <a:gd name="T25" fmla="*/ 4 h 18"/>
                <a:gd name="T26" fmla="*/ 0 w 4"/>
                <a:gd name="T27" fmla="*/ 2 h 18"/>
                <a:gd name="T28" fmla="*/ 4 w 4"/>
                <a:gd name="T29" fmla="*/ 0 h 18"/>
                <a:gd name="T30" fmla="*/ 4 w 4"/>
                <a:gd name="T31" fmla="*/ 0 h 18"/>
                <a:gd name="T32" fmla="*/ 1 w 4"/>
                <a:gd name="T3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" h="18">
                  <a:moveTo>
                    <a:pt x="1" y="12"/>
                  </a:moveTo>
                  <a:lnTo>
                    <a:pt x="2" y="14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1" y="12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75" name="Freeform 110"/>
            <p:cNvSpPr>
              <a:spLocks/>
            </p:cNvSpPr>
            <p:nvPr/>
          </p:nvSpPr>
          <p:spPr bwMode="auto">
            <a:xfrm>
              <a:off x="6285129" y="4077027"/>
              <a:ext cx="426221" cy="694161"/>
            </a:xfrm>
            <a:custGeom>
              <a:avLst/>
              <a:gdLst>
                <a:gd name="T0" fmla="*/ 244 w 245"/>
                <a:gd name="T1" fmla="*/ 9 h 399"/>
                <a:gd name="T2" fmla="*/ 242 w 245"/>
                <a:gd name="T3" fmla="*/ 37 h 399"/>
                <a:gd name="T4" fmla="*/ 228 w 245"/>
                <a:gd name="T5" fmla="*/ 153 h 399"/>
                <a:gd name="T6" fmla="*/ 220 w 245"/>
                <a:gd name="T7" fmla="*/ 309 h 399"/>
                <a:gd name="T8" fmla="*/ 222 w 245"/>
                <a:gd name="T9" fmla="*/ 383 h 399"/>
                <a:gd name="T10" fmla="*/ 217 w 245"/>
                <a:gd name="T11" fmla="*/ 386 h 399"/>
                <a:gd name="T12" fmla="*/ 203 w 245"/>
                <a:gd name="T13" fmla="*/ 385 h 399"/>
                <a:gd name="T14" fmla="*/ 183 w 245"/>
                <a:gd name="T15" fmla="*/ 379 h 399"/>
                <a:gd name="T16" fmla="*/ 164 w 245"/>
                <a:gd name="T17" fmla="*/ 387 h 399"/>
                <a:gd name="T18" fmla="*/ 151 w 245"/>
                <a:gd name="T19" fmla="*/ 399 h 399"/>
                <a:gd name="T20" fmla="*/ 143 w 245"/>
                <a:gd name="T21" fmla="*/ 397 h 399"/>
                <a:gd name="T22" fmla="*/ 136 w 245"/>
                <a:gd name="T23" fmla="*/ 375 h 399"/>
                <a:gd name="T24" fmla="*/ 127 w 245"/>
                <a:gd name="T25" fmla="*/ 368 h 399"/>
                <a:gd name="T26" fmla="*/ 126 w 245"/>
                <a:gd name="T27" fmla="*/ 350 h 399"/>
                <a:gd name="T28" fmla="*/ 129 w 245"/>
                <a:gd name="T29" fmla="*/ 345 h 399"/>
                <a:gd name="T30" fmla="*/ 0 w 245"/>
                <a:gd name="T31" fmla="*/ 330 h 399"/>
                <a:gd name="T32" fmla="*/ 0 w 245"/>
                <a:gd name="T33" fmla="*/ 309 h 399"/>
                <a:gd name="T34" fmla="*/ 7 w 245"/>
                <a:gd name="T35" fmla="*/ 308 h 399"/>
                <a:gd name="T36" fmla="*/ 8 w 245"/>
                <a:gd name="T37" fmla="*/ 305 h 399"/>
                <a:gd name="T38" fmla="*/ 5 w 245"/>
                <a:gd name="T39" fmla="*/ 299 h 399"/>
                <a:gd name="T40" fmla="*/ 15 w 245"/>
                <a:gd name="T41" fmla="*/ 282 h 399"/>
                <a:gd name="T42" fmla="*/ 16 w 245"/>
                <a:gd name="T43" fmla="*/ 271 h 399"/>
                <a:gd name="T44" fmla="*/ 22 w 245"/>
                <a:gd name="T45" fmla="*/ 260 h 399"/>
                <a:gd name="T46" fmla="*/ 43 w 245"/>
                <a:gd name="T47" fmla="*/ 237 h 399"/>
                <a:gd name="T48" fmla="*/ 40 w 245"/>
                <a:gd name="T49" fmla="*/ 233 h 399"/>
                <a:gd name="T50" fmla="*/ 37 w 245"/>
                <a:gd name="T51" fmla="*/ 236 h 399"/>
                <a:gd name="T52" fmla="*/ 33 w 245"/>
                <a:gd name="T53" fmla="*/ 235 h 399"/>
                <a:gd name="T54" fmla="*/ 33 w 245"/>
                <a:gd name="T55" fmla="*/ 230 h 399"/>
                <a:gd name="T56" fmla="*/ 39 w 245"/>
                <a:gd name="T57" fmla="*/ 212 h 399"/>
                <a:gd name="T58" fmla="*/ 32 w 245"/>
                <a:gd name="T59" fmla="*/ 195 h 399"/>
                <a:gd name="T60" fmla="*/ 36 w 245"/>
                <a:gd name="T61" fmla="*/ 191 h 399"/>
                <a:gd name="T62" fmla="*/ 37 w 245"/>
                <a:gd name="T63" fmla="*/ 186 h 399"/>
                <a:gd name="T64" fmla="*/ 32 w 245"/>
                <a:gd name="T65" fmla="*/ 184 h 399"/>
                <a:gd name="T66" fmla="*/ 35 w 245"/>
                <a:gd name="T67" fmla="*/ 177 h 399"/>
                <a:gd name="T68" fmla="*/ 37 w 245"/>
                <a:gd name="T69" fmla="*/ 169 h 399"/>
                <a:gd name="T70" fmla="*/ 35 w 245"/>
                <a:gd name="T71" fmla="*/ 167 h 399"/>
                <a:gd name="T72" fmla="*/ 35 w 245"/>
                <a:gd name="T73" fmla="*/ 172 h 399"/>
                <a:gd name="T74" fmla="*/ 30 w 245"/>
                <a:gd name="T75" fmla="*/ 173 h 399"/>
                <a:gd name="T76" fmla="*/ 28 w 245"/>
                <a:gd name="T77" fmla="*/ 170 h 399"/>
                <a:gd name="T78" fmla="*/ 35 w 245"/>
                <a:gd name="T79" fmla="*/ 162 h 399"/>
                <a:gd name="T80" fmla="*/ 36 w 245"/>
                <a:gd name="T81" fmla="*/ 143 h 399"/>
                <a:gd name="T82" fmla="*/ 29 w 245"/>
                <a:gd name="T83" fmla="*/ 132 h 399"/>
                <a:gd name="T84" fmla="*/ 39 w 245"/>
                <a:gd name="T85" fmla="*/ 100 h 399"/>
                <a:gd name="T86" fmla="*/ 44 w 245"/>
                <a:gd name="T87" fmla="*/ 82 h 399"/>
                <a:gd name="T88" fmla="*/ 53 w 245"/>
                <a:gd name="T89" fmla="*/ 78 h 399"/>
                <a:gd name="T90" fmla="*/ 51 w 245"/>
                <a:gd name="T91" fmla="*/ 75 h 399"/>
                <a:gd name="T92" fmla="*/ 47 w 245"/>
                <a:gd name="T93" fmla="*/ 71 h 399"/>
                <a:gd name="T94" fmla="*/ 72 w 245"/>
                <a:gd name="T95" fmla="*/ 47 h 399"/>
                <a:gd name="T96" fmla="*/ 75 w 245"/>
                <a:gd name="T97" fmla="*/ 24 h 399"/>
                <a:gd name="T98" fmla="*/ 75 w 245"/>
                <a:gd name="T99" fmla="*/ 17 h 399"/>
                <a:gd name="T100" fmla="*/ 84 w 245"/>
                <a:gd name="T101" fmla="*/ 10 h 399"/>
                <a:gd name="T102" fmla="*/ 92 w 245"/>
                <a:gd name="T103" fmla="*/ 12 h 399"/>
                <a:gd name="T104" fmla="*/ 95 w 245"/>
                <a:gd name="T105" fmla="*/ 3 h 399"/>
                <a:gd name="T106" fmla="*/ 116 w 245"/>
                <a:gd name="T107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5" h="399">
                  <a:moveTo>
                    <a:pt x="239" y="5"/>
                  </a:moveTo>
                  <a:lnTo>
                    <a:pt x="241" y="6"/>
                  </a:lnTo>
                  <a:lnTo>
                    <a:pt x="241" y="6"/>
                  </a:lnTo>
                  <a:lnTo>
                    <a:pt x="242" y="7"/>
                  </a:lnTo>
                  <a:lnTo>
                    <a:pt x="244" y="7"/>
                  </a:lnTo>
                  <a:lnTo>
                    <a:pt x="244" y="9"/>
                  </a:lnTo>
                  <a:lnTo>
                    <a:pt x="244" y="9"/>
                  </a:lnTo>
                  <a:lnTo>
                    <a:pt x="245" y="9"/>
                  </a:lnTo>
                  <a:lnTo>
                    <a:pt x="244" y="21"/>
                  </a:lnTo>
                  <a:lnTo>
                    <a:pt x="244" y="24"/>
                  </a:lnTo>
                  <a:lnTo>
                    <a:pt x="242" y="33"/>
                  </a:lnTo>
                  <a:lnTo>
                    <a:pt x="242" y="37"/>
                  </a:lnTo>
                  <a:lnTo>
                    <a:pt x="241" y="48"/>
                  </a:lnTo>
                  <a:lnTo>
                    <a:pt x="238" y="65"/>
                  </a:lnTo>
                  <a:lnTo>
                    <a:pt x="237" y="85"/>
                  </a:lnTo>
                  <a:lnTo>
                    <a:pt x="234" y="107"/>
                  </a:lnTo>
                  <a:lnTo>
                    <a:pt x="232" y="121"/>
                  </a:lnTo>
                  <a:lnTo>
                    <a:pt x="228" y="153"/>
                  </a:lnTo>
                  <a:lnTo>
                    <a:pt x="220" y="232"/>
                  </a:lnTo>
                  <a:lnTo>
                    <a:pt x="218" y="243"/>
                  </a:lnTo>
                  <a:lnTo>
                    <a:pt x="217" y="257"/>
                  </a:lnTo>
                  <a:lnTo>
                    <a:pt x="218" y="268"/>
                  </a:lnTo>
                  <a:lnTo>
                    <a:pt x="220" y="296"/>
                  </a:lnTo>
                  <a:lnTo>
                    <a:pt x="220" y="309"/>
                  </a:lnTo>
                  <a:lnTo>
                    <a:pt x="220" y="312"/>
                  </a:lnTo>
                  <a:lnTo>
                    <a:pt x="221" y="320"/>
                  </a:lnTo>
                  <a:lnTo>
                    <a:pt x="222" y="359"/>
                  </a:lnTo>
                  <a:lnTo>
                    <a:pt x="222" y="375"/>
                  </a:lnTo>
                  <a:lnTo>
                    <a:pt x="224" y="382"/>
                  </a:lnTo>
                  <a:lnTo>
                    <a:pt x="222" y="383"/>
                  </a:lnTo>
                  <a:lnTo>
                    <a:pt x="222" y="383"/>
                  </a:lnTo>
                  <a:lnTo>
                    <a:pt x="222" y="385"/>
                  </a:lnTo>
                  <a:lnTo>
                    <a:pt x="220" y="387"/>
                  </a:lnTo>
                  <a:lnTo>
                    <a:pt x="220" y="387"/>
                  </a:lnTo>
                  <a:lnTo>
                    <a:pt x="218" y="387"/>
                  </a:lnTo>
                  <a:lnTo>
                    <a:pt x="217" y="386"/>
                  </a:lnTo>
                  <a:lnTo>
                    <a:pt x="217" y="386"/>
                  </a:lnTo>
                  <a:lnTo>
                    <a:pt x="213" y="385"/>
                  </a:lnTo>
                  <a:lnTo>
                    <a:pt x="211" y="385"/>
                  </a:lnTo>
                  <a:lnTo>
                    <a:pt x="208" y="383"/>
                  </a:lnTo>
                  <a:lnTo>
                    <a:pt x="203" y="385"/>
                  </a:lnTo>
                  <a:lnTo>
                    <a:pt x="203" y="385"/>
                  </a:lnTo>
                  <a:lnTo>
                    <a:pt x="201" y="385"/>
                  </a:lnTo>
                  <a:lnTo>
                    <a:pt x="200" y="385"/>
                  </a:lnTo>
                  <a:lnTo>
                    <a:pt x="197" y="382"/>
                  </a:lnTo>
                  <a:lnTo>
                    <a:pt x="196" y="382"/>
                  </a:lnTo>
                  <a:lnTo>
                    <a:pt x="193" y="379"/>
                  </a:lnTo>
                  <a:lnTo>
                    <a:pt x="183" y="379"/>
                  </a:lnTo>
                  <a:lnTo>
                    <a:pt x="183" y="382"/>
                  </a:lnTo>
                  <a:lnTo>
                    <a:pt x="168" y="386"/>
                  </a:lnTo>
                  <a:lnTo>
                    <a:pt x="168" y="386"/>
                  </a:lnTo>
                  <a:lnTo>
                    <a:pt x="165" y="387"/>
                  </a:lnTo>
                  <a:lnTo>
                    <a:pt x="164" y="387"/>
                  </a:lnTo>
                  <a:lnTo>
                    <a:pt x="164" y="387"/>
                  </a:lnTo>
                  <a:lnTo>
                    <a:pt x="164" y="387"/>
                  </a:lnTo>
                  <a:lnTo>
                    <a:pt x="161" y="387"/>
                  </a:lnTo>
                  <a:lnTo>
                    <a:pt x="161" y="387"/>
                  </a:lnTo>
                  <a:lnTo>
                    <a:pt x="152" y="397"/>
                  </a:lnTo>
                  <a:lnTo>
                    <a:pt x="151" y="399"/>
                  </a:lnTo>
                  <a:lnTo>
                    <a:pt x="151" y="399"/>
                  </a:lnTo>
                  <a:lnTo>
                    <a:pt x="151" y="399"/>
                  </a:lnTo>
                  <a:lnTo>
                    <a:pt x="148" y="399"/>
                  </a:lnTo>
                  <a:lnTo>
                    <a:pt x="145" y="397"/>
                  </a:lnTo>
                  <a:lnTo>
                    <a:pt x="143" y="397"/>
                  </a:lnTo>
                  <a:lnTo>
                    <a:pt x="143" y="397"/>
                  </a:lnTo>
                  <a:lnTo>
                    <a:pt x="143" y="397"/>
                  </a:lnTo>
                  <a:lnTo>
                    <a:pt x="141" y="397"/>
                  </a:lnTo>
                  <a:lnTo>
                    <a:pt x="141" y="394"/>
                  </a:lnTo>
                  <a:lnTo>
                    <a:pt x="140" y="392"/>
                  </a:lnTo>
                  <a:lnTo>
                    <a:pt x="136" y="380"/>
                  </a:lnTo>
                  <a:lnTo>
                    <a:pt x="136" y="376"/>
                  </a:lnTo>
                  <a:lnTo>
                    <a:pt x="136" y="375"/>
                  </a:lnTo>
                  <a:lnTo>
                    <a:pt x="136" y="375"/>
                  </a:lnTo>
                  <a:lnTo>
                    <a:pt x="130" y="369"/>
                  </a:lnTo>
                  <a:lnTo>
                    <a:pt x="130" y="369"/>
                  </a:lnTo>
                  <a:lnTo>
                    <a:pt x="129" y="368"/>
                  </a:lnTo>
                  <a:lnTo>
                    <a:pt x="129" y="368"/>
                  </a:lnTo>
                  <a:lnTo>
                    <a:pt x="127" y="368"/>
                  </a:lnTo>
                  <a:lnTo>
                    <a:pt x="127" y="366"/>
                  </a:lnTo>
                  <a:lnTo>
                    <a:pt x="126" y="365"/>
                  </a:lnTo>
                  <a:lnTo>
                    <a:pt x="126" y="364"/>
                  </a:lnTo>
                  <a:lnTo>
                    <a:pt x="124" y="358"/>
                  </a:lnTo>
                  <a:lnTo>
                    <a:pt x="124" y="357"/>
                  </a:lnTo>
                  <a:lnTo>
                    <a:pt x="126" y="350"/>
                  </a:lnTo>
                  <a:lnTo>
                    <a:pt x="126" y="350"/>
                  </a:lnTo>
                  <a:lnTo>
                    <a:pt x="126" y="348"/>
                  </a:lnTo>
                  <a:lnTo>
                    <a:pt x="126" y="347"/>
                  </a:lnTo>
                  <a:lnTo>
                    <a:pt x="127" y="347"/>
                  </a:lnTo>
                  <a:lnTo>
                    <a:pt x="127" y="345"/>
                  </a:lnTo>
                  <a:lnTo>
                    <a:pt x="129" y="345"/>
                  </a:lnTo>
                  <a:lnTo>
                    <a:pt x="130" y="338"/>
                  </a:lnTo>
                  <a:lnTo>
                    <a:pt x="131" y="333"/>
                  </a:lnTo>
                  <a:lnTo>
                    <a:pt x="129" y="331"/>
                  </a:lnTo>
                  <a:lnTo>
                    <a:pt x="0" y="331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4" y="324"/>
                  </a:lnTo>
                  <a:lnTo>
                    <a:pt x="1" y="317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0" y="309"/>
                  </a:lnTo>
                  <a:lnTo>
                    <a:pt x="0" y="309"/>
                  </a:lnTo>
                  <a:lnTo>
                    <a:pt x="0" y="309"/>
                  </a:lnTo>
                  <a:lnTo>
                    <a:pt x="1" y="308"/>
                  </a:lnTo>
                  <a:lnTo>
                    <a:pt x="1" y="308"/>
                  </a:lnTo>
                  <a:lnTo>
                    <a:pt x="5" y="308"/>
                  </a:lnTo>
                  <a:lnTo>
                    <a:pt x="7" y="308"/>
                  </a:lnTo>
                  <a:lnTo>
                    <a:pt x="7" y="308"/>
                  </a:lnTo>
                  <a:lnTo>
                    <a:pt x="8" y="308"/>
                  </a:lnTo>
                  <a:lnTo>
                    <a:pt x="8" y="306"/>
                  </a:lnTo>
                  <a:lnTo>
                    <a:pt x="9" y="306"/>
                  </a:lnTo>
                  <a:lnTo>
                    <a:pt x="9" y="305"/>
                  </a:lnTo>
                  <a:lnTo>
                    <a:pt x="8" y="305"/>
                  </a:lnTo>
                  <a:lnTo>
                    <a:pt x="8" y="305"/>
                  </a:lnTo>
                  <a:lnTo>
                    <a:pt x="8" y="303"/>
                  </a:lnTo>
                  <a:lnTo>
                    <a:pt x="7" y="302"/>
                  </a:lnTo>
                  <a:lnTo>
                    <a:pt x="5" y="302"/>
                  </a:lnTo>
                  <a:lnTo>
                    <a:pt x="5" y="301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4" y="298"/>
                  </a:lnTo>
                  <a:lnTo>
                    <a:pt x="4" y="296"/>
                  </a:lnTo>
                  <a:lnTo>
                    <a:pt x="5" y="296"/>
                  </a:lnTo>
                  <a:lnTo>
                    <a:pt x="11" y="285"/>
                  </a:lnTo>
                  <a:lnTo>
                    <a:pt x="15" y="282"/>
                  </a:lnTo>
                  <a:lnTo>
                    <a:pt x="16" y="275"/>
                  </a:lnTo>
                  <a:lnTo>
                    <a:pt x="16" y="274"/>
                  </a:lnTo>
                  <a:lnTo>
                    <a:pt x="16" y="274"/>
                  </a:lnTo>
                  <a:lnTo>
                    <a:pt x="16" y="272"/>
                  </a:lnTo>
                  <a:lnTo>
                    <a:pt x="16" y="272"/>
                  </a:lnTo>
                  <a:lnTo>
                    <a:pt x="16" y="271"/>
                  </a:lnTo>
                  <a:lnTo>
                    <a:pt x="19" y="264"/>
                  </a:lnTo>
                  <a:lnTo>
                    <a:pt x="19" y="263"/>
                  </a:lnTo>
                  <a:lnTo>
                    <a:pt x="21" y="261"/>
                  </a:lnTo>
                  <a:lnTo>
                    <a:pt x="21" y="260"/>
                  </a:lnTo>
                  <a:lnTo>
                    <a:pt x="22" y="260"/>
                  </a:lnTo>
                  <a:lnTo>
                    <a:pt x="22" y="260"/>
                  </a:lnTo>
                  <a:lnTo>
                    <a:pt x="26" y="258"/>
                  </a:lnTo>
                  <a:lnTo>
                    <a:pt x="35" y="250"/>
                  </a:lnTo>
                  <a:lnTo>
                    <a:pt x="36" y="244"/>
                  </a:lnTo>
                  <a:lnTo>
                    <a:pt x="39" y="242"/>
                  </a:lnTo>
                  <a:lnTo>
                    <a:pt x="43" y="237"/>
                  </a:lnTo>
                  <a:lnTo>
                    <a:pt x="43" y="237"/>
                  </a:lnTo>
                  <a:lnTo>
                    <a:pt x="43" y="236"/>
                  </a:lnTo>
                  <a:lnTo>
                    <a:pt x="43" y="236"/>
                  </a:lnTo>
                  <a:lnTo>
                    <a:pt x="43" y="235"/>
                  </a:lnTo>
                  <a:lnTo>
                    <a:pt x="43" y="235"/>
                  </a:lnTo>
                  <a:lnTo>
                    <a:pt x="42" y="233"/>
                  </a:lnTo>
                  <a:lnTo>
                    <a:pt x="40" y="233"/>
                  </a:lnTo>
                  <a:lnTo>
                    <a:pt x="40" y="233"/>
                  </a:lnTo>
                  <a:lnTo>
                    <a:pt x="40" y="233"/>
                  </a:lnTo>
                  <a:lnTo>
                    <a:pt x="40" y="233"/>
                  </a:lnTo>
                  <a:lnTo>
                    <a:pt x="39" y="233"/>
                  </a:lnTo>
                  <a:lnTo>
                    <a:pt x="39" y="233"/>
                  </a:lnTo>
                  <a:lnTo>
                    <a:pt x="37" y="236"/>
                  </a:lnTo>
                  <a:lnTo>
                    <a:pt x="35" y="236"/>
                  </a:lnTo>
                  <a:lnTo>
                    <a:pt x="35" y="236"/>
                  </a:lnTo>
                  <a:lnTo>
                    <a:pt x="35" y="236"/>
                  </a:lnTo>
                  <a:lnTo>
                    <a:pt x="33" y="236"/>
                  </a:lnTo>
                  <a:lnTo>
                    <a:pt x="33" y="236"/>
                  </a:lnTo>
                  <a:lnTo>
                    <a:pt x="33" y="235"/>
                  </a:lnTo>
                  <a:lnTo>
                    <a:pt x="33" y="235"/>
                  </a:lnTo>
                  <a:lnTo>
                    <a:pt x="32" y="235"/>
                  </a:lnTo>
                  <a:lnTo>
                    <a:pt x="32" y="233"/>
                  </a:lnTo>
                  <a:lnTo>
                    <a:pt x="32" y="232"/>
                  </a:lnTo>
                  <a:lnTo>
                    <a:pt x="33" y="232"/>
                  </a:lnTo>
                  <a:lnTo>
                    <a:pt x="33" y="230"/>
                  </a:lnTo>
                  <a:lnTo>
                    <a:pt x="33" y="230"/>
                  </a:lnTo>
                  <a:lnTo>
                    <a:pt x="33" y="230"/>
                  </a:lnTo>
                  <a:lnTo>
                    <a:pt x="39" y="229"/>
                  </a:lnTo>
                  <a:lnTo>
                    <a:pt x="49" y="223"/>
                  </a:lnTo>
                  <a:lnTo>
                    <a:pt x="43" y="215"/>
                  </a:lnTo>
                  <a:lnTo>
                    <a:pt x="39" y="212"/>
                  </a:lnTo>
                  <a:lnTo>
                    <a:pt x="39" y="211"/>
                  </a:lnTo>
                  <a:lnTo>
                    <a:pt x="37" y="211"/>
                  </a:lnTo>
                  <a:lnTo>
                    <a:pt x="37" y="209"/>
                  </a:lnTo>
                  <a:lnTo>
                    <a:pt x="36" y="209"/>
                  </a:lnTo>
                  <a:lnTo>
                    <a:pt x="33" y="197"/>
                  </a:lnTo>
                  <a:lnTo>
                    <a:pt x="32" y="195"/>
                  </a:lnTo>
                  <a:lnTo>
                    <a:pt x="32" y="194"/>
                  </a:lnTo>
                  <a:lnTo>
                    <a:pt x="32" y="194"/>
                  </a:lnTo>
                  <a:lnTo>
                    <a:pt x="33" y="193"/>
                  </a:lnTo>
                  <a:lnTo>
                    <a:pt x="33" y="193"/>
                  </a:lnTo>
                  <a:lnTo>
                    <a:pt x="35" y="193"/>
                  </a:lnTo>
                  <a:lnTo>
                    <a:pt x="36" y="191"/>
                  </a:lnTo>
                  <a:lnTo>
                    <a:pt x="39" y="190"/>
                  </a:lnTo>
                  <a:lnTo>
                    <a:pt x="39" y="188"/>
                  </a:lnTo>
                  <a:lnTo>
                    <a:pt x="39" y="187"/>
                  </a:lnTo>
                  <a:lnTo>
                    <a:pt x="39" y="187"/>
                  </a:lnTo>
                  <a:lnTo>
                    <a:pt x="39" y="186"/>
                  </a:lnTo>
                  <a:lnTo>
                    <a:pt x="37" y="186"/>
                  </a:lnTo>
                  <a:lnTo>
                    <a:pt x="37" y="186"/>
                  </a:lnTo>
                  <a:lnTo>
                    <a:pt x="35" y="186"/>
                  </a:lnTo>
                  <a:lnTo>
                    <a:pt x="33" y="186"/>
                  </a:lnTo>
                  <a:lnTo>
                    <a:pt x="33" y="186"/>
                  </a:lnTo>
                  <a:lnTo>
                    <a:pt x="32" y="184"/>
                  </a:lnTo>
                  <a:lnTo>
                    <a:pt x="32" y="184"/>
                  </a:lnTo>
                  <a:lnTo>
                    <a:pt x="32" y="183"/>
                  </a:lnTo>
                  <a:lnTo>
                    <a:pt x="32" y="183"/>
                  </a:lnTo>
                  <a:lnTo>
                    <a:pt x="32" y="181"/>
                  </a:lnTo>
                  <a:lnTo>
                    <a:pt x="33" y="179"/>
                  </a:lnTo>
                  <a:lnTo>
                    <a:pt x="35" y="177"/>
                  </a:lnTo>
                  <a:lnTo>
                    <a:pt x="35" y="177"/>
                  </a:lnTo>
                  <a:lnTo>
                    <a:pt x="36" y="176"/>
                  </a:lnTo>
                  <a:lnTo>
                    <a:pt x="37" y="176"/>
                  </a:lnTo>
                  <a:lnTo>
                    <a:pt x="37" y="176"/>
                  </a:lnTo>
                  <a:lnTo>
                    <a:pt x="37" y="174"/>
                  </a:lnTo>
                  <a:lnTo>
                    <a:pt x="37" y="170"/>
                  </a:lnTo>
                  <a:lnTo>
                    <a:pt x="37" y="169"/>
                  </a:lnTo>
                  <a:lnTo>
                    <a:pt x="37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6"/>
                  </a:lnTo>
                  <a:lnTo>
                    <a:pt x="35" y="167"/>
                  </a:lnTo>
                  <a:lnTo>
                    <a:pt x="35" y="167"/>
                  </a:lnTo>
                  <a:lnTo>
                    <a:pt x="35" y="167"/>
                  </a:lnTo>
                  <a:lnTo>
                    <a:pt x="33" y="169"/>
                  </a:lnTo>
                  <a:lnTo>
                    <a:pt x="35" y="170"/>
                  </a:lnTo>
                  <a:lnTo>
                    <a:pt x="35" y="170"/>
                  </a:lnTo>
                  <a:lnTo>
                    <a:pt x="35" y="172"/>
                  </a:lnTo>
                  <a:lnTo>
                    <a:pt x="35" y="172"/>
                  </a:lnTo>
                  <a:lnTo>
                    <a:pt x="35" y="172"/>
                  </a:lnTo>
                  <a:lnTo>
                    <a:pt x="33" y="173"/>
                  </a:lnTo>
                  <a:lnTo>
                    <a:pt x="33" y="173"/>
                  </a:lnTo>
                  <a:lnTo>
                    <a:pt x="32" y="173"/>
                  </a:lnTo>
                  <a:lnTo>
                    <a:pt x="30" y="173"/>
                  </a:lnTo>
                  <a:lnTo>
                    <a:pt x="30" y="173"/>
                  </a:lnTo>
                  <a:lnTo>
                    <a:pt x="29" y="173"/>
                  </a:lnTo>
                  <a:lnTo>
                    <a:pt x="29" y="173"/>
                  </a:lnTo>
                  <a:lnTo>
                    <a:pt x="29" y="173"/>
                  </a:lnTo>
                  <a:lnTo>
                    <a:pt x="28" y="172"/>
                  </a:lnTo>
                  <a:lnTo>
                    <a:pt x="28" y="170"/>
                  </a:lnTo>
                  <a:lnTo>
                    <a:pt x="28" y="170"/>
                  </a:lnTo>
                  <a:lnTo>
                    <a:pt x="29" y="167"/>
                  </a:lnTo>
                  <a:lnTo>
                    <a:pt x="29" y="167"/>
                  </a:lnTo>
                  <a:lnTo>
                    <a:pt x="32" y="165"/>
                  </a:lnTo>
                  <a:lnTo>
                    <a:pt x="35" y="162"/>
                  </a:lnTo>
                  <a:lnTo>
                    <a:pt x="35" y="162"/>
                  </a:lnTo>
                  <a:lnTo>
                    <a:pt x="40" y="145"/>
                  </a:lnTo>
                  <a:lnTo>
                    <a:pt x="37" y="143"/>
                  </a:lnTo>
                  <a:lnTo>
                    <a:pt x="37" y="143"/>
                  </a:lnTo>
                  <a:lnTo>
                    <a:pt x="36" y="143"/>
                  </a:lnTo>
                  <a:lnTo>
                    <a:pt x="36" y="143"/>
                  </a:lnTo>
                  <a:lnTo>
                    <a:pt x="36" y="143"/>
                  </a:lnTo>
                  <a:lnTo>
                    <a:pt x="36" y="143"/>
                  </a:lnTo>
                  <a:lnTo>
                    <a:pt x="35" y="142"/>
                  </a:lnTo>
                  <a:lnTo>
                    <a:pt x="32" y="134"/>
                  </a:lnTo>
                  <a:lnTo>
                    <a:pt x="30" y="134"/>
                  </a:lnTo>
                  <a:lnTo>
                    <a:pt x="30" y="134"/>
                  </a:lnTo>
                  <a:lnTo>
                    <a:pt x="29" y="132"/>
                  </a:lnTo>
                  <a:lnTo>
                    <a:pt x="29" y="132"/>
                  </a:lnTo>
                  <a:lnTo>
                    <a:pt x="29" y="132"/>
                  </a:lnTo>
                  <a:lnTo>
                    <a:pt x="30" y="121"/>
                  </a:lnTo>
                  <a:lnTo>
                    <a:pt x="30" y="118"/>
                  </a:lnTo>
                  <a:lnTo>
                    <a:pt x="35" y="106"/>
                  </a:lnTo>
                  <a:lnTo>
                    <a:pt x="39" y="100"/>
                  </a:lnTo>
                  <a:lnTo>
                    <a:pt x="42" y="89"/>
                  </a:lnTo>
                  <a:lnTo>
                    <a:pt x="42" y="89"/>
                  </a:lnTo>
                  <a:lnTo>
                    <a:pt x="42" y="87"/>
                  </a:lnTo>
                  <a:lnTo>
                    <a:pt x="40" y="86"/>
                  </a:lnTo>
                  <a:lnTo>
                    <a:pt x="39" y="82"/>
                  </a:lnTo>
                  <a:lnTo>
                    <a:pt x="44" y="82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1" y="80"/>
                  </a:lnTo>
                  <a:lnTo>
                    <a:pt x="51" y="79"/>
                  </a:lnTo>
                  <a:lnTo>
                    <a:pt x="53" y="79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3" y="76"/>
                  </a:lnTo>
                  <a:lnTo>
                    <a:pt x="53" y="75"/>
                  </a:lnTo>
                  <a:lnTo>
                    <a:pt x="53" y="75"/>
                  </a:lnTo>
                  <a:lnTo>
                    <a:pt x="51" y="75"/>
                  </a:lnTo>
                  <a:lnTo>
                    <a:pt x="51" y="75"/>
                  </a:lnTo>
                  <a:lnTo>
                    <a:pt x="50" y="75"/>
                  </a:lnTo>
                  <a:lnTo>
                    <a:pt x="49" y="73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1"/>
                  </a:lnTo>
                  <a:lnTo>
                    <a:pt x="47" y="71"/>
                  </a:lnTo>
                  <a:lnTo>
                    <a:pt x="53" y="65"/>
                  </a:lnTo>
                  <a:lnTo>
                    <a:pt x="60" y="59"/>
                  </a:lnTo>
                  <a:lnTo>
                    <a:pt x="71" y="50"/>
                  </a:lnTo>
                  <a:lnTo>
                    <a:pt x="72" y="50"/>
                  </a:lnTo>
                  <a:lnTo>
                    <a:pt x="72" y="48"/>
                  </a:lnTo>
                  <a:lnTo>
                    <a:pt x="72" y="47"/>
                  </a:lnTo>
                  <a:lnTo>
                    <a:pt x="77" y="38"/>
                  </a:lnTo>
                  <a:lnTo>
                    <a:pt x="79" y="30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5" y="23"/>
                  </a:lnTo>
                  <a:lnTo>
                    <a:pt x="75" y="19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2" y="10"/>
                  </a:lnTo>
                  <a:lnTo>
                    <a:pt x="84" y="10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91" y="13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92" y="12"/>
                  </a:lnTo>
                  <a:lnTo>
                    <a:pt x="95" y="9"/>
                  </a:lnTo>
                  <a:lnTo>
                    <a:pt x="95" y="7"/>
                  </a:lnTo>
                  <a:lnTo>
                    <a:pt x="95" y="6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5" y="3"/>
                  </a:lnTo>
                  <a:lnTo>
                    <a:pt x="93" y="3"/>
                  </a:lnTo>
                  <a:lnTo>
                    <a:pt x="93" y="2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103" y="0"/>
                  </a:lnTo>
                  <a:lnTo>
                    <a:pt x="116" y="0"/>
                  </a:lnTo>
                  <a:lnTo>
                    <a:pt x="185" y="0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5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auto">
            <a:xfrm>
              <a:off x="3595588" y="3074932"/>
              <a:ext cx="598449" cy="716777"/>
            </a:xfrm>
            <a:custGeom>
              <a:avLst/>
              <a:gdLst>
                <a:gd name="T0" fmla="*/ 181 w 344"/>
                <a:gd name="T1" fmla="*/ 412 h 412"/>
                <a:gd name="T2" fmla="*/ 169 w 344"/>
                <a:gd name="T3" fmla="*/ 412 h 412"/>
                <a:gd name="T4" fmla="*/ 38 w 344"/>
                <a:gd name="T5" fmla="*/ 412 h 412"/>
                <a:gd name="T6" fmla="*/ 0 w 344"/>
                <a:gd name="T7" fmla="*/ 411 h 412"/>
                <a:gd name="T8" fmla="*/ 0 w 344"/>
                <a:gd name="T9" fmla="*/ 403 h 412"/>
                <a:gd name="T10" fmla="*/ 0 w 344"/>
                <a:gd name="T11" fmla="*/ 358 h 412"/>
                <a:gd name="T12" fmla="*/ 0 w 344"/>
                <a:gd name="T13" fmla="*/ 334 h 412"/>
                <a:gd name="T14" fmla="*/ 0 w 344"/>
                <a:gd name="T15" fmla="*/ 327 h 412"/>
                <a:gd name="T16" fmla="*/ 0 w 344"/>
                <a:gd name="T17" fmla="*/ 129 h 412"/>
                <a:gd name="T18" fmla="*/ 0 w 344"/>
                <a:gd name="T19" fmla="*/ 97 h 412"/>
                <a:gd name="T20" fmla="*/ 0 w 344"/>
                <a:gd name="T21" fmla="*/ 55 h 412"/>
                <a:gd name="T22" fmla="*/ 0 w 344"/>
                <a:gd name="T23" fmla="*/ 7 h 412"/>
                <a:gd name="T24" fmla="*/ 0 w 344"/>
                <a:gd name="T25" fmla="*/ 2 h 412"/>
                <a:gd name="T26" fmla="*/ 0 w 344"/>
                <a:gd name="T27" fmla="*/ 0 h 412"/>
                <a:gd name="T28" fmla="*/ 206 w 344"/>
                <a:gd name="T29" fmla="*/ 0 h 412"/>
                <a:gd name="T30" fmla="*/ 206 w 344"/>
                <a:gd name="T31" fmla="*/ 4 h 412"/>
                <a:gd name="T32" fmla="*/ 206 w 344"/>
                <a:gd name="T33" fmla="*/ 79 h 412"/>
                <a:gd name="T34" fmla="*/ 206 w 344"/>
                <a:gd name="T35" fmla="*/ 81 h 412"/>
                <a:gd name="T36" fmla="*/ 313 w 344"/>
                <a:gd name="T37" fmla="*/ 81 h 412"/>
                <a:gd name="T38" fmla="*/ 344 w 344"/>
                <a:gd name="T39" fmla="*/ 81 h 412"/>
                <a:gd name="T40" fmla="*/ 344 w 344"/>
                <a:gd name="T41" fmla="*/ 88 h 412"/>
                <a:gd name="T42" fmla="*/ 344 w 344"/>
                <a:gd name="T43" fmla="*/ 105 h 412"/>
                <a:gd name="T44" fmla="*/ 344 w 344"/>
                <a:gd name="T45" fmla="*/ 121 h 412"/>
                <a:gd name="T46" fmla="*/ 344 w 344"/>
                <a:gd name="T47" fmla="*/ 250 h 412"/>
                <a:gd name="T48" fmla="*/ 344 w 344"/>
                <a:gd name="T49" fmla="*/ 278 h 412"/>
                <a:gd name="T50" fmla="*/ 344 w 344"/>
                <a:gd name="T51" fmla="*/ 306 h 412"/>
                <a:gd name="T52" fmla="*/ 344 w 344"/>
                <a:gd name="T53" fmla="*/ 307 h 412"/>
                <a:gd name="T54" fmla="*/ 344 w 344"/>
                <a:gd name="T55" fmla="*/ 337 h 412"/>
                <a:gd name="T56" fmla="*/ 344 w 344"/>
                <a:gd name="T57" fmla="*/ 412 h 412"/>
                <a:gd name="T58" fmla="*/ 181 w 344"/>
                <a:gd name="T59" fmla="*/ 412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4" h="412">
                  <a:moveTo>
                    <a:pt x="181" y="412"/>
                  </a:moveTo>
                  <a:lnTo>
                    <a:pt x="169" y="412"/>
                  </a:lnTo>
                  <a:lnTo>
                    <a:pt x="38" y="412"/>
                  </a:lnTo>
                  <a:lnTo>
                    <a:pt x="0" y="411"/>
                  </a:lnTo>
                  <a:lnTo>
                    <a:pt x="0" y="403"/>
                  </a:lnTo>
                  <a:lnTo>
                    <a:pt x="0" y="358"/>
                  </a:lnTo>
                  <a:lnTo>
                    <a:pt x="0" y="334"/>
                  </a:lnTo>
                  <a:lnTo>
                    <a:pt x="0" y="327"/>
                  </a:lnTo>
                  <a:lnTo>
                    <a:pt x="0" y="129"/>
                  </a:lnTo>
                  <a:lnTo>
                    <a:pt x="0" y="97"/>
                  </a:lnTo>
                  <a:lnTo>
                    <a:pt x="0" y="55"/>
                  </a:lnTo>
                  <a:lnTo>
                    <a:pt x="0" y="7"/>
                  </a:lnTo>
                  <a:lnTo>
                    <a:pt x="0" y="2"/>
                  </a:lnTo>
                  <a:lnTo>
                    <a:pt x="0" y="0"/>
                  </a:lnTo>
                  <a:lnTo>
                    <a:pt x="206" y="0"/>
                  </a:lnTo>
                  <a:lnTo>
                    <a:pt x="206" y="4"/>
                  </a:lnTo>
                  <a:lnTo>
                    <a:pt x="206" y="79"/>
                  </a:lnTo>
                  <a:lnTo>
                    <a:pt x="206" y="81"/>
                  </a:lnTo>
                  <a:lnTo>
                    <a:pt x="313" y="81"/>
                  </a:lnTo>
                  <a:lnTo>
                    <a:pt x="344" y="81"/>
                  </a:lnTo>
                  <a:lnTo>
                    <a:pt x="344" y="88"/>
                  </a:lnTo>
                  <a:lnTo>
                    <a:pt x="344" y="105"/>
                  </a:lnTo>
                  <a:lnTo>
                    <a:pt x="344" y="121"/>
                  </a:lnTo>
                  <a:lnTo>
                    <a:pt x="344" y="250"/>
                  </a:lnTo>
                  <a:lnTo>
                    <a:pt x="344" y="278"/>
                  </a:lnTo>
                  <a:lnTo>
                    <a:pt x="344" y="306"/>
                  </a:lnTo>
                  <a:lnTo>
                    <a:pt x="344" y="307"/>
                  </a:lnTo>
                  <a:lnTo>
                    <a:pt x="344" y="337"/>
                  </a:lnTo>
                  <a:lnTo>
                    <a:pt x="344" y="412"/>
                  </a:lnTo>
                  <a:lnTo>
                    <a:pt x="181" y="412"/>
                  </a:lnTo>
                  <a:close/>
                </a:path>
              </a:pathLst>
            </a:custGeom>
            <a:solidFill>
              <a:srgbClr val="FFFF00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77" name="Freeform 76"/>
            <p:cNvSpPr>
              <a:spLocks/>
            </p:cNvSpPr>
            <p:nvPr/>
          </p:nvSpPr>
          <p:spPr bwMode="auto">
            <a:xfrm>
              <a:off x="4481084" y="3863037"/>
              <a:ext cx="1576148" cy="1529239"/>
            </a:xfrm>
            <a:custGeom>
              <a:avLst/>
              <a:gdLst>
                <a:gd name="connsiteX0" fmla="*/ 1016000 w 1438275"/>
                <a:gd name="connsiteY0" fmla="*/ 1244600 h 1395413"/>
                <a:gd name="connsiteX1" fmla="*/ 1020763 w 1438275"/>
                <a:gd name="connsiteY1" fmla="*/ 1263650 h 1395413"/>
                <a:gd name="connsiteX2" fmla="*/ 1020763 w 1438275"/>
                <a:gd name="connsiteY2" fmla="*/ 1266825 h 1395413"/>
                <a:gd name="connsiteX3" fmla="*/ 1022350 w 1438275"/>
                <a:gd name="connsiteY3" fmla="*/ 1273175 h 1395413"/>
                <a:gd name="connsiteX4" fmla="*/ 1022350 w 1438275"/>
                <a:gd name="connsiteY4" fmla="*/ 1284287 h 1395413"/>
                <a:gd name="connsiteX5" fmla="*/ 1027113 w 1438275"/>
                <a:gd name="connsiteY5" fmla="*/ 1298575 h 1395413"/>
                <a:gd name="connsiteX6" fmla="*/ 1031876 w 1438275"/>
                <a:gd name="connsiteY6" fmla="*/ 1306512 h 1395413"/>
                <a:gd name="connsiteX7" fmla="*/ 1031876 w 1438275"/>
                <a:gd name="connsiteY7" fmla="*/ 1311275 h 1395413"/>
                <a:gd name="connsiteX8" fmla="*/ 1033463 w 1438275"/>
                <a:gd name="connsiteY8" fmla="*/ 1322387 h 1395413"/>
                <a:gd name="connsiteX9" fmla="*/ 1035051 w 1438275"/>
                <a:gd name="connsiteY9" fmla="*/ 1331913 h 1395413"/>
                <a:gd name="connsiteX10" fmla="*/ 1038226 w 1438275"/>
                <a:gd name="connsiteY10" fmla="*/ 1338263 h 1395413"/>
                <a:gd name="connsiteX11" fmla="*/ 1039813 w 1438275"/>
                <a:gd name="connsiteY11" fmla="*/ 1354138 h 1395413"/>
                <a:gd name="connsiteX12" fmla="*/ 1039813 w 1438275"/>
                <a:gd name="connsiteY12" fmla="*/ 1360488 h 1395413"/>
                <a:gd name="connsiteX13" fmla="*/ 1039813 w 1438275"/>
                <a:gd name="connsiteY13" fmla="*/ 1362075 h 1395413"/>
                <a:gd name="connsiteX14" fmla="*/ 1039813 w 1438275"/>
                <a:gd name="connsiteY14" fmla="*/ 1365250 h 1395413"/>
                <a:gd name="connsiteX15" fmla="*/ 1038226 w 1438275"/>
                <a:gd name="connsiteY15" fmla="*/ 1362075 h 1395413"/>
                <a:gd name="connsiteX16" fmla="*/ 1038226 w 1438275"/>
                <a:gd name="connsiteY16" fmla="*/ 1360488 h 1395413"/>
                <a:gd name="connsiteX17" fmla="*/ 1038226 w 1438275"/>
                <a:gd name="connsiteY17" fmla="*/ 1355725 h 1395413"/>
                <a:gd name="connsiteX18" fmla="*/ 1035051 w 1438275"/>
                <a:gd name="connsiteY18" fmla="*/ 1344613 h 1395413"/>
                <a:gd name="connsiteX19" fmla="*/ 1033463 w 1438275"/>
                <a:gd name="connsiteY19" fmla="*/ 1331913 h 1395413"/>
                <a:gd name="connsiteX20" fmla="*/ 1028701 w 1438275"/>
                <a:gd name="connsiteY20" fmla="*/ 1309687 h 1395413"/>
                <a:gd name="connsiteX21" fmla="*/ 1023938 w 1438275"/>
                <a:gd name="connsiteY21" fmla="*/ 1300162 h 1395413"/>
                <a:gd name="connsiteX22" fmla="*/ 1020763 w 1438275"/>
                <a:gd name="connsiteY22" fmla="*/ 1284287 h 1395413"/>
                <a:gd name="connsiteX23" fmla="*/ 1020763 w 1438275"/>
                <a:gd name="connsiteY23" fmla="*/ 1282700 h 1395413"/>
                <a:gd name="connsiteX24" fmla="*/ 1017588 w 1438275"/>
                <a:gd name="connsiteY24" fmla="*/ 1271587 h 1395413"/>
                <a:gd name="connsiteX25" fmla="*/ 1016000 w 1438275"/>
                <a:gd name="connsiteY25" fmla="*/ 1263650 h 1395413"/>
                <a:gd name="connsiteX26" fmla="*/ 1016000 w 1438275"/>
                <a:gd name="connsiteY26" fmla="*/ 1217612 h 1395413"/>
                <a:gd name="connsiteX27" fmla="*/ 1017588 w 1438275"/>
                <a:gd name="connsiteY27" fmla="*/ 1217612 h 1395413"/>
                <a:gd name="connsiteX28" fmla="*/ 1017588 w 1438275"/>
                <a:gd name="connsiteY28" fmla="*/ 1219200 h 1395413"/>
                <a:gd name="connsiteX29" fmla="*/ 1017588 w 1438275"/>
                <a:gd name="connsiteY29" fmla="*/ 1227137 h 1395413"/>
                <a:gd name="connsiteX30" fmla="*/ 1016000 w 1438275"/>
                <a:gd name="connsiteY30" fmla="*/ 1238250 h 1395413"/>
                <a:gd name="connsiteX31" fmla="*/ 1016000 w 1438275"/>
                <a:gd name="connsiteY31" fmla="*/ 1228725 h 1395413"/>
                <a:gd name="connsiteX32" fmla="*/ 1016000 w 1438275"/>
                <a:gd name="connsiteY32" fmla="*/ 1227137 h 1395413"/>
                <a:gd name="connsiteX33" fmla="*/ 1016000 w 1438275"/>
                <a:gd name="connsiteY33" fmla="*/ 1223962 h 1395413"/>
                <a:gd name="connsiteX34" fmla="*/ 1050925 w 1438275"/>
                <a:gd name="connsiteY34" fmla="*/ 1133475 h 1395413"/>
                <a:gd name="connsiteX35" fmla="*/ 1054100 w 1438275"/>
                <a:gd name="connsiteY35" fmla="*/ 1133475 h 1395413"/>
                <a:gd name="connsiteX36" fmla="*/ 1054100 w 1438275"/>
                <a:gd name="connsiteY36" fmla="*/ 1135062 h 1395413"/>
                <a:gd name="connsiteX37" fmla="*/ 1054100 w 1438275"/>
                <a:gd name="connsiteY37" fmla="*/ 1138237 h 1395413"/>
                <a:gd name="connsiteX38" fmla="*/ 1050925 w 1438275"/>
                <a:gd name="connsiteY38" fmla="*/ 1139825 h 1395413"/>
                <a:gd name="connsiteX39" fmla="*/ 1046163 w 1438275"/>
                <a:gd name="connsiteY39" fmla="*/ 1144587 h 1395413"/>
                <a:gd name="connsiteX40" fmla="*/ 1046163 w 1438275"/>
                <a:gd name="connsiteY40" fmla="*/ 1146175 h 1395413"/>
                <a:gd name="connsiteX41" fmla="*/ 1039813 w 1438275"/>
                <a:gd name="connsiteY41" fmla="*/ 1155700 h 1395413"/>
                <a:gd name="connsiteX42" fmla="*/ 1039813 w 1438275"/>
                <a:gd name="connsiteY42" fmla="*/ 1157287 h 1395413"/>
                <a:gd name="connsiteX43" fmla="*/ 1031875 w 1438275"/>
                <a:gd name="connsiteY43" fmla="*/ 1173162 h 1395413"/>
                <a:gd name="connsiteX44" fmla="*/ 1028700 w 1438275"/>
                <a:gd name="connsiteY44" fmla="*/ 1177925 h 1395413"/>
                <a:gd name="connsiteX45" fmla="*/ 1027113 w 1438275"/>
                <a:gd name="connsiteY45" fmla="*/ 1184275 h 1395413"/>
                <a:gd name="connsiteX46" fmla="*/ 1023938 w 1438275"/>
                <a:gd name="connsiteY46" fmla="*/ 1189037 h 1395413"/>
                <a:gd name="connsiteX47" fmla="*/ 1022350 w 1438275"/>
                <a:gd name="connsiteY47" fmla="*/ 1195387 h 1395413"/>
                <a:gd name="connsiteX48" fmla="*/ 1022350 w 1438275"/>
                <a:gd name="connsiteY48" fmla="*/ 1196975 h 1395413"/>
                <a:gd name="connsiteX49" fmla="*/ 1020763 w 1438275"/>
                <a:gd name="connsiteY49" fmla="*/ 1201737 h 1395413"/>
                <a:gd name="connsiteX50" fmla="*/ 1020763 w 1438275"/>
                <a:gd name="connsiteY50" fmla="*/ 1208087 h 1395413"/>
                <a:gd name="connsiteX51" fmla="*/ 1017588 w 1438275"/>
                <a:gd name="connsiteY51" fmla="*/ 1212850 h 1395413"/>
                <a:gd name="connsiteX52" fmla="*/ 1017588 w 1438275"/>
                <a:gd name="connsiteY52" fmla="*/ 1216025 h 1395413"/>
                <a:gd name="connsiteX53" fmla="*/ 1016000 w 1438275"/>
                <a:gd name="connsiteY53" fmla="*/ 1216025 h 1395413"/>
                <a:gd name="connsiteX54" fmla="*/ 1016000 w 1438275"/>
                <a:gd name="connsiteY54" fmla="*/ 1212850 h 1395413"/>
                <a:gd name="connsiteX55" fmla="*/ 1016000 w 1438275"/>
                <a:gd name="connsiteY55" fmla="*/ 1208087 h 1395413"/>
                <a:gd name="connsiteX56" fmla="*/ 1016000 w 1438275"/>
                <a:gd name="connsiteY56" fmla="*/ 1206500 h 1395413"/>
                <a:gd name="connsiteX57" fmla="*/ 1017588 w 1438275"/>
                <a:gd name="connsiteY57" fmla="*/ 1200150 h 1395413"/>
                <a:gd name="connsiteX58" fmla="*/ 1017588 w 1438275"/>
                <a:gd name="connsiteY58" fmla="*/ 1196975 h 1395413"/>
                <a:gd name="connsiteX59" fmla="*/ 1022350 w 1438275"/>
                <a:gd name="connsiteY59" fmla="*/ 1184275 h 1395413"/>
                <a:gd name="connsiteX60" fmla="*/ 1023938 w 1438275"/>
                <a:gd name="connsiteY60" fmla="*/ 1179512 h 1395413"/>
                <a:gd name="connsiteX61" fmla="*/ 1023938 w 1438275"/>
                <a:gd name="connsiteY61" fmla="*/ 1177925 h 1395413"/>
                <a:gd name="connsiteX62" fmla="*/ 1028700 w 1438275"/>
                <a:gd name="connsiteY62" fmla="*/ 1171575 h 1395413"/>
                <a:gd name="connsiteX63" fmla="*/ 1039813 w 1438275"/>
                <a:gd name="connsiteY63" fmla="*/ 1149350 h 1395413"/>
                <a:gd name="connsiteX64" fmla="*/ 1042988 w 1438275"/>
                <a:gd name="connsiteY64" fmla="*/ 1149350 h 1395413"/>
                <a:gd name="connsiteX65" fmla="*/ 1050925 w 1438275"/>
                <a:gd name="connsiteY65" fmla="*/ 1135062 h 1395413"/>
                <a:gd name="connsiteX66" fmla="*/ 1073150 w 1438275"/>
                <a:gd name="connsiteY66" fmla="*/ 1095375 h 1395413"/>
                <a:gd name="connsiteX67" fmla="*/ 1076325 w 1438275"/>
                <a:gd name="connsiteY67" fmla="*/ 1096962 h 1395413"/>
                <a:gd name="connsiteX68" fmla="*/ 1076325 w 1438275"/>
                <a:gd name="connsiteY68" fmla="*/ 1100137 h 1395413"/>
                <a:gd name="connsiteX69" fmla="*/ 1076325 w 1438275"/>
                <a:gd name="connsiteY69" fmla="*/ 1101725 h 1395413"/>
                <a:gd name="connsiteX70" fmla="*/ 1071563 w 1438275"/>
                <a:gd name="connsiteY70" fmla="*/ 1108075 h 1395413"/>
                <a:gd name="connsiteX71" fmla="*/ 1055687 w 1438275"/>
                <a:gd name="connsiteY71" fmla="*/ 1130300 h 1395413"/>
                <a:gd name="connsiteX72" fmla="*/ 1055687 w 1438275"/>
                <a:gd name="connsiteY72" fmla="*/ 1128712 h 1395413"/>
                <a:gd name="connsiteX73" fmla="*/ 1055687 w 1438275"/>
                <a:gd name="connsiteY73" fmla="*/ 1127125 h 1395413"/>
                <a:gd name="connsiteX74" fmla="*/ 1055687 w 1438275"/>
                <a:gd name="connsiteY74" fmla="*/ 1123950 h 1395413"/>
                <a:gd name="connsiteX75" fmla="*/ 1066800 w 1438275"/>
                <a:gd name="connsiteY75" fmla="*/ 1101725 h 1395413"/>
                <a:gd name="connsiteX76" fmla="*/ 1122363 w 1438275"/>
                <a:gd name="connsiteY76" fmla="*/ 1062037 h 1395413"/>
                <a:gd name="connsiteX77" fmla="*/ 1123950 w 1438275"/>
                <a:gd name="connsiteY77" fmla="*/ 1062037 h 1395413"/>
                <a:gd name="connsiteX78" fmla="*/ 1123950 w 1438275"/>
                <a:gd name="connsiteY78" fmla="*/ 1063624 h 1395413"/>
                <a:gd name="connsiteX79" fmla="*/ 1123950 w 1438275"/>
                <a:gd name="connsiteY79" fmla="*/ 1066799 h 1395413"/>
                <a:gd name="connsiteX80" fmla="*/ 1123950 w 1438275"/>
                <a:gd name="connsiteY80" fmla="*/ 1068387 h 1395413"/>
                <a:gd name="connsiteX81" fmla="*/ 1122363 w 1438275"/>
                <a:gd name="connsiteY81" fmla="*/ 1071562 h 1395413"/>
                <a:gd name="connsiteX82" fmla="*/ 1117600 w 1438275"/>
                <a:gd name="connsiteY82" fmla="*/ 1073150 h 1395413"/>
                <a:gd name="connsiteX83" fmla="*/ 1116013 w 1438275"/>
                <a:gd name="connsiteY83" fmla="*/ 1073150 h 1395413"/>
                <a:gd name="connsiteX84" fmla="*/ 1116013 w 1438275"/>
                <a:gd name="connsiteY84" fmla="*/ 1074737 h 1395413"/>
                <a:gd name="connsiteX85" fmla="*/ 1111250 w 1438275"/>
                <a:gd name="connsiteY85" fmla="*/ 1077912 h 1395413"/>
                <a:gd name="connsiteX86" fmla="*/ 1106488 w 1438275"/>
                <a:gd name="connsiteY86" fmla="*/ 1077912 h 1395413"/>
                <a:gd name="connsiteX87" fmla="*/ 1093787 w 1438275"/>
                <a:gd name="connsiteY87" fmla="*/ 1089025 h 1395413"/>
                <a:gd name="connsiteX88" fmla="*/ 1090612 w 1438275"/>
                <a:gd name="connsiteY88" fmla="*/ 1090612 h 1395413"/>
                <a:gd name="connsiteX89" fmla="*/ 1087437 w 1438275"/>
                <a:gd name="connsiteY89" fmla="*/ 1093787 h 1395413"/>
                <a:gd name="connsiteX90" fmla="*/ 1087437 w 1438275"/>
                <a:gd name="connsiteY90" fmla="*/ 1095375 h 1395413"/>
                <a:gd name="connsiteX91" fmla="*/ 1079500 w 1438275"/>
                <a:gd name="connsiteY91" fmla="*/ 1100137 h 1395413"/>
                <a:gd name="connsiteX92" fmla="*/ 1079500 w 1438275"/>
                <a:gd name="connsiteY92" fmla="*/ 1101725 h 1395413"/>
                <a:gd name="connsiteX93" fmla="*/ 1077912 w 1438275"/>
                <a:gd name="connsiteY93" fmla="*/ 1100137 h 1395413"/>
                <a:gd name="connsiteX94" fmla="*/ 1079500 w 1438275"/>
                <a:gd name="connsiteY94" fmla="*/ 1093787 h 1395413"/>
                <a:gd name="connsiteX95" fmla="*/ 1079500 w 1438275"/>
                <a:gd name="connsiteY95" fmla="*/ 1090612 h 1395413"/>
                <a:gd name="connsiteX96" fmla="*/ 1082675 w 1438275"/>
                <a:gd name="connsiteY96" fmla="*/ 1089025 h 1395413"/>
                <a:gd name="connsiteX97" fmla="*/ 1084262 w 1438275"/>
                <a:gd name="connsiteY97" fmla="*/ 1089025 h 1395413"/>
                <a:gd name="connsiteX98" fmla="*/ 1089025 w 1438275"/>
                <a:gd name="connsiteY98" fmla="*/ 1085850 h 1395413"/>
                <a:gd name="connsiteX99" fmla="*/ 1090612 w 1438275"/>
                <a:gd name="connsiteY99" fmla="*/ 1085850 h 1395413"/>
                <a:gd name="connsiteX100" fmla="*/ 1095375 w 1438275"/>
                <a:gd name="connsiteY100" fmla="*/ 1082675 h 1395413"/>
                <a:gd name="connsiteX101" fmla="*/ 1098550 w 1438275"/>
                <a:gd name="connsiteY101" fmla="*/ 1079500 h 1395413"/>
                <a:gd name="connsiteX102" fmla="*/ 1112838 w 1438275"/>
                <a:gd name="connsiteY102" fmla="*/ 1068387 h 1395413"/>
                <a:gd name="connsiteX103" fmla="*/ 1120775 w 1438275"/>
                <a:gd name="connsiteY103" fmla="*/ 1063624 h 1395413"/>
                <a:gd name="connsiteX104" fmla="*/ 1138238 w 1438275"/>
                <a:gd name="connsiteY104" fmla="*/ 1050925 h 1395413"/>
                <a:gd name="connsiteX105" fmla="*/ 1139825 w 1438275"/>
                <a:gd name="connsiteY105" fmla="*/ 1050925 h 1395413"/>
                <a:gd name="connsiteX106" fmla="*/ 1139825 w 1438275"/>
                <a:gd name="connsiteY106" fmla="*/ 1052513 h 1395413"/>
                <a:gd name="connsiteX107" fmla="*/ 1138238 w 1438275"/>
                <a:gd name="connsiteY107" fmla="*/ 1055688 h 1395413"/>
                <a:gd name="connsiteX108" fmla="*/ 1135063 w 1438275"/>
                <a:gd name="connsiteY108" fmla="*/ 1055688 h 1395413"/>
                <a:gd name="connsiteX109" fmla="*/ 1135063 w 1438275"/>
                <a:gd name="connsiteY109" fmla="*/ 1057275 h 1395413"/>
                <a:gd name="connsiteX110" fmla="*/ 1133475 w 1438275"/>
                <a:gd name="connsiteY110" fmla="*/ 1057275 h 1395413"/>
                <a:gd name="connsiteX111" fmla="*/ 1131888 w 1438275"/>
                <a:gd name="connsiteY111" fmla="*/ 1058863 h 1395413"/>
                <a:gd name="connsiteX112" fmla="*/ 1128713 w 1438275"/>
                <a:gd name="connsiteY112" fmla="*/ 1058863 h 1395413"/>
                <a:gd name="connsiteX113" fmla="*/ 1131888 w 1438275"/>
                <a:gd name="connsiteY113" fmla="*/ 1057275 h 1395413"/>
                <a:gd name="connsiteX114" fmla="*/ 1133475 w 1438275"/>
                <a:gd name="connsiteY114" fmla="*/ 1055688 h 1395413"/>
                <a:gd name="connsiteX115" fmla="*/ 1133475 w 1438275"/>
                <a:gd name="connsiteY115" fmla="*/ 1052513 h 1395413"/>
                <a:gd name="connsiteX116" fmla="*/ 1135063 w 1438275"/>
                <a:gd name="connsiteY116" fmla="*/ 1052513 h 1395413"/>
                <a:gd name="connsiteX117" fmla="*/ 1143000 w 1438275"/>
                <a:gd name="connsiteY117" fmla="*/ 1047750 h 1395413"/>
                <a:gd name="connsiteX118" fmla="*/ 1143000 w 1438275"/>
                <a:gd name="connsiteY118" fmla="*/ 1050925 h 1395413"/>
                <a:gd name="connsiteX119" fmla="*/ 1139825 w 1438275"/>
                <a:gd name="connsiteY119" fmla="*/ 1050925 h 1395413"/>
                <a:gd name="connsiteX120" fmla="*/ 1146175 w 1438275"/>
                <a:gd name="connsiteY120" fmla="*/ 1047353 h 1395413"/>
                <a:gd name="connsiteX121" fmla="*/ 1146175 w 1438275"/>
                <a:gd name="connsiteY121" fmla="*/ 1047750 h 1395413"/>
                <a:gd name="connsiteX122" fmla="*/ 1144588 w 1438275"/>
                <a:gd name="connsiteY122" fmla="*/ 1047750 h 1395413"/>
                <a:gd name="connsiteX123" fmla="*/ 1165225 w 1438275"/>
                <a:gd name="connsiteY123" fmla="*/ 1035050 h 1395413"/>
                <a:gd name="connsiteX124" fmla="*/ 1168400 w 1438275"/>
                <a:gd name="connsiteY124" fmla="*/ 1035050 h 1395413"/>
                <a:gd name="connsiteX125" fmla="*/ 1165225 w 1438275"/>
                <a:gd name="connsiteY125" fmla="*/ 1036638 h 1395413"/>
                <a:gd name="connsiteX126" fmla="*/ 1162050 w 1438275"/>
                <a:gd name="connsiteY126" fmla="*/ 1039813 h 1395413"/>
                <a:gd name="connsiteX127" fmla="*/ 1160463 w 1438275"/>
                <a:gd name="connsiteY127" fmla="*/ 1039813 h 1395413"/>
                <a:gd name="connsiteX128" fmla="*/ 1154113 w 1438275"/>
                <a:gd name="connsiteY128" fmla="*/ 1044575 h 1395413"/>
                <a:gd name="connsiteX129" fmla="*/ 1150938 w 1438275"/>
                <a:gd name="connsiteY129" fmla="*/ 1046163 h 1395413"/>
                <a:gd name="connsiteX130" fmla="*/ 1146175 w 1438275"/>
                <a:gd name="connsiteY130" fmla="*/ 1047353 h 1395413"/>
                <a:gd name="connsiteX131" fmla="*/ 1146175 w 1438275"/>
                <a:gd name="connsiteY131" fmla="*/ 1046163 h 1395413"/>
                <a:gd name="connsiteX132" fmla="*/ 1150938 w 1438275"/>
                <a:gd name="connsiteY132" fmla="*/ 1041400 h 1395413"/>
                <a:gd name="connsiteX133" fmla="*/ 1160463 w 1438275"/>
                <a:gd name="connsiteY133" fmla="*/ 1036638 h 1395413"/>
                <a:gd name="connsiteX134" fmla="*/ 1162050 w 1438275"/>
                <a:gd name="connsiteY134" fmla="*/ 1036638 h 1395413"/>
                <a:gd name="connsiteX135" fmla="*/ 1298575 w 1438275"/>
                <a:gd name="connsiteY135" fmla="*/ 936625 h 1395413"/>
                <a:gd name="connsiteX136" fmla="*/ 1300162 w 1438275"/>
                <a:gd name="connsiteY136" fmla="*/ 941387 h 1395413"/>
                <a:gd name="connsiteX137" fmla="*/ 1295400 w 1438275"/>
                <a:gd name="connsiteY137" fmla="*/ 946150 h 1395413"/>
                <a:gd name="connsiteX138" fmla="*/ 1295400 w 1438275"/>
                <a:gd name="connsiteY138" fmla="*/ 947738 h 1395413"/>
                <a:gd name="connsiteX139" fmla="*/ 1293812 w 1438275"/>
                <a:gd name="connsiteY139" fmla="*/ 947738 h 1395413"/>
                <a:gd name="connsiteX140" fmla="*/ 1292225 w 1438275"/>
                <a:gd name="connsiteY140" fmla="*/ 950913 h 1395413"/>
                <a:gd name="connsiteX141" fmla="*/ 1266825 w 1438275"/>
                <a:gd name="connsiteY141" fmla="*/ 968375 h 1395413"/>
                <a:gd name="connsiteX142" fmla="*/ 1265237 w 1438275"/>
                <a:gd name="connsiteY142" fmla="*/ 968375 h 1395413"/>
                <a:gd name="connsiteX143" fmla="*/ 1266825 w 1438275"/>
                <a:gd name="connsiteY143" fmla="*/ 966788 h 1395413"/>
                <a:gd name="connsiteX144" fmla="*/ 1282700 w 1438275"/>
                <a:gd name="connsiteY144" fmla="*/ 950913 h 1395413"/>
                <a:gd name="connsiteX145" fmla="*/ 396875 w 1438275"/>
                <a:gd name="connsiteY145" fmla="*/ 0 h 1395413"/>
                <a:gd name="connsiteX146" fmla="*/ 412750 w 1438275"/>
                <a:gd name="connsiteY146" fmla="*/ 0 h 1395413"/>
                <a:gd name="connsiteX147" fmla="*/ 442912 w 1438275"/>
                <a:gd name="connsiteY147" fmla="*/ 0 h 1395413"/>
                <a:gd name="connsiteX148" fmla="*/ 568325 w 1438275"/>
                <a:gd name="connsiteY148" fmla="*/ 0 h 1395413"/>
                <a:gd name="connsiteX149" fmla="*/ 669925 w 1438275"/>
                <a:gd name="connsiteY149" fmla="*/ 0 h 1395413"/>
                <a:gd name="connsiteX150" fmla="*/ 723900 w 1438275"/>
                <a:gd name="connsiteY150" fmla="*/ 0 h 1395413"/>
                <a:gd name="connsiteX151" fmla="*/ 730250 w 1438275"/>
                <a:gd name="connsiteY151" fmla="*/ 0 h 1395413"/>
                <a:gd name="connsiteX152" fmla="*/ 730250 w 1438275"/>
                <a:gd name="connsiteY152" fmla="*/ 31750 h 1395413"/>
                <a:gd name="connsiteX153" fmla="*/ 730250 w 1438275"/>
                <a:gd name="connsiteY153" fmla="*/ 53975 h 1395413"/>
                <a:gd name="connsiteX154" fmla="*/ 730250 w 1438275"/>
                <a:gd name="connsiteY154" fmla="*/ 252412 h 1395413"/>
                <a:gd name="connsiteX155" fmla="*/ 733425 w 1438275"/>
                <a:gd name="connsiteY155" fmla="*/ 254000 h 1395413"/>
                <a:gd name="connsiteX156" fmla="*/ 735012 w 1438275"/>
                <a:gd name="connsiteY156" fmla="*/ 254000 h 1395413"/>
                <a:gd name="connsiteX157" fmla="*/ 735012 w 1438275"/>
                <a:gd name="connsiteY157" fmla="*/ 252412 h 1395413"/>
                <a:gd name="connsiteX158" fmla="*/ 736600 w 1438275"/>
                <a:gd name="connsiteY158" fmla="*/ 252412 h 1395413"/>
                <a:gd name="connsiteX159" fmla="*/ 739775 w 1438275"/>
                <a:gd name="connsiteY159" fmla="*/ 252412 h 1395413"/>
                <a:gd name="connsiteX160" fmla="*/ 741362 w 1438275"/>
                <a:gd name="connsiteY160" fmla="*/ 254000 h 1395413"/>
                <a:gd name="connsiteX161" fmla="*/ 744537 w 1438275"/>
                <a:gd name="connsiteY161" fmla="*/ 254000 h 1395413"/>
                <a:gd name="connsiteX162" fmla="*/ 744537 w 1438275"/>
                <a:gd name="connsiteY162" fmla="*/ 255587 h 1395413"/>
                <a:gd name="connsiteX163" fmla="*/ 750887 w 1438275"/>
                <a:gd name="connsiteY163" fmla="*/ 260350 h 1395413"/>
                <a:gd name="connsiteX164" fmla="*/ 755650 w 1438275"/>
                <a:gd name="connsiteY164" fmla="*/ 265112 h 1395413"/>
                <a:gd name="connsiteX165" fmla="*/ 755650 w 1438275"/>
                <a:gd name="connsiteY165" fmla="*/ 266700 h 1395413"/>
                <a:gd name="connsiteX166" fmla="*/ 757237 w 1438275"/>
                <a:gd name="connsiteY166" fmla="*/ 266700 h 1395413"/>
                <a:gd name="connsiteX167" fmla="*/ 763587 w 1438275"/>
                <a:gd name="connsiteY167" fmla="*/ 274637 h 1395413"/>
                <a:gd name="connsiteX168" fmla="*/ 763587 w 1438275"/>
                <a:gd name="connsiteY168" fmla="*/ 276225 h 1395413"/>
                <a:gd name="connsiteX169" fmla="*/ 766762 w 1438275"/>
                <a:gd name="connsiteY169" fmla="*/ 276225 h 1395413"/>
                <a:gd name="connsiteX170" fmla="*/ 768350 w 1438275"/>
                <a:gd name="connsiteY170" fmla="*/ 277812 h 1395413"/>
                <a:gd name="connsiteX171" fmla="*/ 769937 w 1438275"/>
                <a:gd name="connsiteY171" fmla="*/ 277812 h 1395413"/>
                <a:gd name="connsiteX172" fmla="*/ 790575 w 1438275"/>
                <a:gd name="connsiteY172" fmla="*/ 277812 h 1395413"/>
                <a:gd name="connsiteX173" fmla="*/ 796925 w 1438275"/>
                <a:gd name="connsiteY173" fmla="*/ 271462 h 1395413"/>
                <a:gd name="connsiteX174" fmla="*/ 801687 w 1438275"/>
                <a:gd name="connsiteY174" fmla="*/ 269875 h 1395413"/>
                <a:gd name="connsiteX175" fmla="*/ 811212 w 1438275"/>
                <a:gd name="connsiteY175" fmla="*/ 274637 h 1395413"/>
                <a:gd name="connsiteX176" fmla="*/ 811212 w 1438275"/>
                <a:gd name="connsiteY176" fmla="*/ 276225 h 1395413"/>
                <a:gd name="connsiteX177" fmla="*/ 817562 w 1438275"/>
                <a:gd name="connsiteY177" fmla="*/ 282575 h 1395413"/>
                <a:gd name="connsiteX178" fmla="*/ 817562 w 1438275"/>
                <a:gd name="connsiteY178" fmla="*/ 285750 h 1395413"/>
                <a:gd name="connsiteX179" fmla="*/ 817562 w 1438275"/>
                <a:gd name="connsiteY179" fmla="*/ 292100 h 1395413"/>
                <a:gd name="connsiteX180" fmla="*/ 817562 w 1438275"/>
                <a:gd name="connsiteY180" fmla="*/ 293687 h 1395413"/>
                <a:gd name="connsiteX181" fmla="*/ 817562 w 1438275"/>
                <a:gd name="connsiteY181" fmla="*/ 296862 h 1395413"/>
                <a:gd name="connsiteX182" fmla="*/ 819150 w 1438275"/>
                <a:gd name="connsiteY182" fmla="*/ 298450 h 1395413"/>
                <a:gd name="connsiteX183" fmla="*/ 822325 w 1438275"/>
                <a:gd name="connsiteY183" fmla="*/ 300037 h 1395413"/>
                <a:gd name="connsiteX184" fmla="*/ 838200 w 1438275"/>
                <a:gd name="connsiteY184" fmla="*/ 300037 h 1395413"/>
                <a:gd name="connsiteX185" fmla="*/ 855662 w 1438275"/>
                <a:gd name="connsiteY185" fmla="*/ 307975 h 1395413"/>
                <a:gd name="connsiteX186" fmla="*/ 857250 w 1438275"/>
                <a:gd name="connsiteY186" fmla="*/ 307975 h 1395413"/>
                <a:gd name="connsiteX187" fmla="*/ 868362 w 1438275"/>
                <a:gd name="connsiteY187" fmla="*/ 309562 h 1395413"/>
                <a:gd name="connsiteX188" fmla="*/ 871537 w 1438275"/>
                <a:gd name="connsiteY188" fmla="*/ 309562 h 1395413"/>
                <a:gd name="connsiteX189" fmla="*/ 873125 w 1438275"/>
                <a:gd name="connsiteY189" fmla="*/ 309562 h 1395413"/>
                <a:gd name="connsiteX190" fmla="*/ 874712 w 1438275"/>
                <a:gd name="connsiteY190" fmla="*/ 307975 h 1395413"/>
                <a:gd name="connsiteX191" fmla="*/ 877887 w 1438275"/>
                <a:gd name="connsiteY191" fmla="*/ 307975 h 1395413"/>
                <a:gd name="connsiteX192" fmla="*/ 879475 w 1438275"/>
                <a:gd name="connsiteY192" fmla="*/ 307975 h 1395413"/>
                <a:gd name="connsiteX193" fmla="*/ 882650 w 1438275"/>
                <a:gd name="connsiteY193" fmla="*/ 307975 h 1395413"/>
                <a:gd name="connsiteX194" fmla="*/ 884237 w 1438275"/>
                <a:gd name="connsiteY194" fmla="*/ 307975 h 1395413"/>
                <a:gd name="connsiteX195" fmla="*/ 885825 w 1438275"/>
                <a:gd name="connsiteY195" fmla="*/ 307975 h 1395413"/>
                <a:gd name="connsiteX196" fmla="*/ 885825 w 1438275"/>
                <a:gd name="connsiteY196" fmla="*/ 309562 h 1395413"/>
                <a:gd name="connsiteX197" fmla="*/ 889000 w 1438275"/>
                <a:gd name="connsiteY197" fmla="*/ 311150 h 1395413"/>
                <a:gd name="connsiteX198" fmla="*/ 890587 w 1438275"/>
                <a:gd name="connsiteY198" fmla="*/ 314325 h 1395413"/>
                <a:gd name="connsiteX199" fmla="*/ 893762 w 1438275"/>
                <a:gd name="connsiteY199" fmla="*/ 315912 h 1395413"/>
                <a:gd name="connsiteX200" fmla="*/ 895350 w 1438275"/>
                <a:gd name="connsiteY200" fmla="*/ 319087 h 1395413"/>
                <a:gd name="connsiteX201" fmla="*/ 896937 w 1438275"/>
                <a:gd name="connsiteY201" fmla="*/ 319087 h 1395413"/>
                <a:gd name="connsiteX202" fmla="*/ 900112 w 1438275"/>
                <a:gd name="connsiteY202" fmla="*/ 319087 h 1395413"/>
                <a:gd name="connsiteX203" fmla="*/ 901700 w 1438275"/>
                <a:gd name="connsiteY203" fmla="*/ 319087 h 1395413"/>
                <a:gd name="connsiteX204" fmla="*/ 904875 w 1438275"/>
                <a:gd name="connsiteY204" fmla="*/ 319087 h 1395413"/>
                <a:gd name="connsiteX205" fmla="*/ 904875 w 1438275"/>
                <a:gd name="connsiteY205" fmla="*/ 315912 h 1395413"/>
                <a:gd name="connsiteX206" fmla="*/ 917575 w 1438275"/>
                <a:gd name="connsiteY206" fmla="*/ 309562 h 1395413"/>
                <a:gd name="connsiteX207" fmla="*/ 930275 w 1438275"/>
                <a:gd name="connsiteY207" fmla="*/ 311150 h 1395413"/>
                <a:gd name="connsiteX208" fmla="*/ 939800 w 1438275"/>
                <a:gd name="connsiteY208" fmla="*/ 315912 h 1395413"/>
                <a:gd name="connsiteX209" fmla="*/ 939800 w 1438275"/>
                <a:gd name="connsiteY209" fmla="*/ 319087 h 1395413"/>
                <a:gd name="connsiteX210" fmla="*/ 939800 w 1438275"/>
                <a:gd name="connsiteY210" fmla="*/ 320675 h 1395413"/>
                <a:gd name="connsiteX211" fmla="*/ 939800 w 1438275"/>
                <a:gd name="connsiteY211" fmla="*/ 322262 h 1395413"/>
                <a:gd name="connsiteX212" fmla="*/ 939800 w 1438275"/>
                <a:gd name="connsiteY212" fmla="*/ 325437 h 1395413"/>
                <a:gd name="connsiteX213" fmla="*/ 941387 w 1438275"/>
                <a:gd name="connsiteY213" fmla="*/ 325437 h 1395413"/>
                <a:gd name="connsiteX214" fmla="*/ 941387 w 1438275"/>
                <a:gd name="connsiteY214" fmla="*/ 327025 h 1395413"/>
                <a:gd name="connsiteX215" fmla="*/ 944562 w 1438275"/>
                <a:gd name="connsiteY215" fmla="*/ 327025 h 1395413"/>
                <a:gd name="connsiteX216" fmla="*/ 946150 w 1438275"/>
                <a:gd name="connsiteY216" fmla="*/ 327025 h 1395413"/>
                <a:gd name="connsiteX217" fmla="*/ 950912 w 1438275"/>
                <a:gd name="connsiteY217" fmla="*/ 327025 h 1395413"/>
                <a:gd name="connsiteX218" fmla="*/ 952500 w 1438275"/>
                <a:gd name="connsiteY218" fmla="*/ 327025 h 1395413"/>
                <a:gd name="connsiteX219" fmla="*/ 955675 w 1438275"/>
                <a:gd name="connsiteY219" fmla="*/ 330200 h 1395413"/>
                <a:gd name="connsiteX220" fmla="*/ 955675 w 1438275"/>
                <a:gd name="connsiteY220" fmla="*/ 333375 h 1395413"/>
                <a:gd name="connsiteX221" fmla="*/ 955675 w 1438275"/>
                <a:gd name="connsiteY221" fmla="*/ 336550 h 1395413"/>
                <a:gd name="connsiteX222" fmla="*/ 952500 w 1438275"/>
                <a:gd name="connsiteY222" fmla="*/ 338137 h 1395413"/>
                <a:gd name="connsiteX223" fmla="*/ 952500 w 1438275"/>
                <a:gd name="connsiteY223" fmla="*/ 341312 h 1395413"/>
                <a:gd name="connsiteX224" fmla="*/ 952500 w 1438275"/>
                <a:gd name="connsiteY224" fmla="*/ 342900 h 1395413"/>
                <a:gd name="connsiteX225" fmla="*/ 955675 w 1438275"/>
                <a:gd name="connsiteY225" fmla="*/ 342900 h 1395413"/>
                <a:gd name="connsiteX226" fmla="*/ 962025 w 1438275"/>
                <a:gd name="connsiteY226" fmla="*/ 344487 h 1395413"/>
                <a:gd name="connsiteX227" fmla="*/ 963612 w 1438275"/>
                <a:gd name="connsiteY227" fmla="*/ 344487 h 1395413"/>
                <a:gd name="connsiteX228" fmla="*/ 971550 w 1438275"/>
                <a:gd name="connsiteY228" fmla="*/ 342900 h 1395413"/>
                <a:gd name="connsiteX229" fmla="*/ 973137 w 1438275"/>
                <a:gd name="connsiteY229" fmla="*/ 342900 h 1395413"/>
                <a:gd name="connsiteX230" fmla="*/ 973137 w 1438275"/>
                <a:gd name="connsiteY230" fmla="*/ 341312 h 1395413"/>
                <a:gd name="connsiteX231" fmla="*/ 974725 w 1438275"/>
                <a:gd name="connsiteY231" fmla="*/ 338137 h 1395413"/>
                <a:gd name="connsiteX232" fmla="*/ 979487 w 1438275"/>
                <a:gd name="connsiteY232" fmla="*/ 333375 h 1395413"/>
                <a:gd name="connsiteX233" fmla="*/ 982662 w 1438275"/>
                <a:gd name="connsiteY233" fmla="*/ 331787 h 1395413"/>
                <a:gd name="connsiteX234" fmla="*/ 984250 w 1438275"/>
                <a:gd name="connsiteY234" fmla="*/ 330200 h 1395413"/>
                <a:gd name="connsiteX235" fmla="*/ 987425 w 1438275"/>
                <a:gd name="connsiteY235" fmla="*/ 330200 h 1395413"/>
                <a:gd name="connsiteX236" fmla="*/ 989012 w 1438275"/>
                <a:gd name="connsiteY236" fmla="*/ 330200 h 1395413"/>
                <a:gd name="connsiteX237" fmla="*/ 993775 w 1438275"/>
                <a:gd name="connsiteY237" fmla="*/ 331787 h 1395413"/>
                <a:gd name="connsiteX238" fmla="*/ 1001712 w 1438275"/>
                <a:gd name="connsiteY238" fmla="*/ 341312 h 1395413"/>
                <a:gd name="connsiteX239" fmla="*/ 1009650 w 1438275"/>
                <a:gd name="connsiteY239" fmla="*/ 347662 h 1395413"/>
                <a:gd name="connsiteX240" fmla="*/ 1009650 w 1438275"/>
                <a:gd name="connsiteY240" fmla="*/ 349250 h 1395413"/>
                <a:gd name="connsiteX241" fmla="*/ 1011237 w 1438275"/>
                <a:gd name="connsiteY241" fmla="*/ 352425 h 1395413"/>
                <a:gd name="connsiteX242" fmla="*/ 1012825 w 1438275"/>
                <a:gd name="connsiteY242" fmla="*/ 352425 h 1395413"/>
                <a:gd name="connsiteX243" fmla="*/ 1016000 w 1438275"/>
                <a:gd name="connsiteY243" fmla="*/ 352425 h 1395413"/>
                <a:gd name="connsiteX244" fmla="*/ 1017588 w 1438275"/>
                <a:gd name="connsiteY244" fmla="*/ 349250 h 1395413"/>
                <a:gd name="connsiteX245" fmla="*/ 1020763 w 1438275"/>
                <a:gd name="connsiteY245" fmla="*/ 349250 h 1395413"/>
                <a:gd name="connsiteX246" fmla="*/ 1031875 w 1438275"/>
                <a:gd name="connsiteY246" fmla="*/ 341312 h 1395413"/>
                <a:gd name="connsiteX247" fmla="*/ 1038225 w 1438275"/>
                <a:gd name="connsiteY247" fmla="*/ 349250 h 1395413"/>
                <a:gd name="connsiteX248" fmla="*/ 1035050 w 1438275"/>
                <a:gd name="connsiteY248" fmla="*/ 352425 h 1395413"/>
                <a:gd name="connsiteX249" fmla="*/ 1035050 w 1438275"/>
                <a:gd name="connsiteY249" fmla="*/ 354012 h 1395413"/>
                <a:gd name="connsiteX250" fmla="*/ 1038225 w 1438275"/>
                <a:gd name="connsiteY250" fmla="*/ 355600 h 1395413"/>
                <a:gd name="connsiteX251" fmla="*/ 1038225 w 1438275"/>
                <a:gd name="connsiteY251" fmla="*/ 358775 h 1395413"/>
                <a:gd name="connsiteX252" fmla="*/ 1038225 w 1438275"/>
                <a:gd name="connsiteY252" fmla="*/ 360362 h 1395413"/>
                <a:gd name="connsiteX253" fmla="*/ 1039813 w 1438275"/>
                <a:gd name="connsiteY253" fmla="*/ 363537 h 1395413"/>
                <a:gd name="connsiteX254" fmla="*/ 1042988 w 1438275"/>
                <a:gd name="connsiteY254" fmla="*/ 363537 h 1395413"/>
                <a:gd name="connsiteX255" fmla="*/ 1044575 w 1438275"/>
                <a:gd name="connsiteY255" fmla="*/ 363537 h 1395413"/>
                <a:gd name="connsiteX256" fmla="*/ 1049338 w 1438275"/>
                <a:gd name="connsiteY256" fmla="*/ 360362 h 1395413"/>
                <a:gd name="connsiteX257" fmla="*/ 1054100 w 1438275"/>
                <a:gd name="connsiteY257" fmla="*/ 347662 h 1395413"/>
                <a:gd name="connsiteX258" fmla="*/ 1060450 w 1438275"/>
                <a:gd name="connsiteY258" fmla="*/ 333375 h 1395413"/>
                <a:gd name="connsiteX259" fmla="*/ 1062038 w 1438275"/>
                <a:gd name="connsiteY259" fmla="*/ 333375 h 1395413"/>
                <a:gd name="connsiteX260" fmla="*/ 1065213 w 1438275"/>
                <a:gd name="connsiteY260" fmla="*/ 333375 h 1395413"/>
                <a:gd name="connsiteX261" fmla="*/ 1066800 w 1438275"/>
                <a:gd name="connsiteY261" fmla="*/ 333375 h 1395413"/>
                <a:gd name="connsiteX262" fmla="*/ 1068388 w 1438275"/>
                <a:gd name="connsiteY262" fmla="*/ 333375 h 1395413"/>
                <a:gd name="connsiteX263" fmla="*/ 1071563 w 1438275"/>
                <a:gd name="connsiteY263" fmla="*/ 333375 h 1395413"/>
                <a:gd name="connsiteX264" fmla="*/ 1071563 w 1438275"/>
                <a:gd name="connsiteY264" fmla="*/ 336550 h 1395413"/>
                <a:gd name="connsiteX265" fmla="*/ 1071563 w 1438275"/>
                <a:gd name="connsiteY265" fmla="*/ 338137 h 1395413"/>
                <a:gd name="connsiteX266" fmla="*/ 1071563 w 1438275"/>
                <a:gd name="connsiteY266" fmla="*/ 341312 h 1395413"/>
                <a:gd name="connsiteX267" fmla="*/ 1073150 w 1438275"/>
                <a:gd name="connsiteY267" fmla="*/ 341312 h 1395413"/>
                <a:gd name="connsiteX268" fmla="*/ 1073150 w 1438275"/>
                <a:gd name="connsiteY268" fmla="*/ 342900 h 1395413"/>
                <a:gd name="connsiteX269" fmla="*/ 1073150 w 1438275"/>
                <a:gd name="connsiteY269" fmla="*/ 344487 h 1395413"/>
                <a:gd name="connsiteX270" fmla="*/ 1076325 w 1438275"/>
                <a:gd name="connsiteY270" fmla="*/ 344487 h 1395413"/>
                <a:gd name="connsiteX271" fmla="*/ 1087438 w 1438275"/>
                <a:gd name="connsiteY271" fmla="*/ 347662 h 1395413"/>
                <a:gd name="connsiteX272" fmla="*/ 1089025 w 1438275"/>
                <a:gd name="connsiteY272" fmla="*/ 347662 h 1395413"/>
                <a:gd name="connsiteX273" fmla="*/ 1090613 w 1438275"/>
                <a:gd name="connsiteY273" fmla="*/ 347662 h 1395413"/>
                <a:gd name="connsiteX274" fmla="*/ 1101725 w 1438275"/>
                <a:gd name="connsiteY274" fmla="*/ 347662 h 1395413"/>
                <a:gd name="connsiteX275" fmla="*/ 1116013 w 1438275"/>
                <a:gd name="connsiteY275" fmla="*/ 355600 h 1395413"/>
                <a:gd name="connsiteX276" fmla="*/ 1131888 w 1438275"/>
                <a:gd name="connsiteY276" fmla="*/ 366712 h 1395413"/>
                <a:gd name="connsiteX277" fmla="*/ 1133475 w 1438275"/>
                <a:gd name="connsiteY277" fmla="*/ 366712 h 1395413"/>
                <a:gd name="connsiteX278" fmla="*/ 1146175 w 1438275"/>
                <a:gd name="connsiteY278" fmla="*/ 358775 h 1395413"/>
                <a:gd name="connsiteX279" fmla="*/ 1149350 w 1438275"/>
                <a:gd name="connsiteY279" fmla="*/ 358775 h 1395413"/>
                <a:gd name="connsiteX280" fmla="*/ 1149350 w 1438275"/>
                <a:gd name="connsiteY280" fmla="*/ 355600 h 1395413"/>
                <a:gd name="connsiteX281" fmla="*/ 1149350 w 1438275"/>
                <a:gd name="connsiteY281" fmla="*/ 354012 h 1395413"/>
                <a:gd name="connsiteX282" fmla="*/ 1150938 w 1438275"/>
                <a:gd name="connsiteY282" fmla="*/ 354012 h 1395413"/>
                <a:gd name="connsiteX283" fmla="*/ 1150938 w 1438275"/>
                <a:gd name="connsiteY283" fmla="*/ 352425 h 1395413"/>
                <a:gd name="connsiteX284" fmla="*/ 1154113 w 1438275"/>
                <a:gd name="connsiteY284" fmla="*/ 349250 h 1395413"/>
                <a:gd name="connsiteX285" fmla="*/ 1155700 w 1438275"/>
                <a:gd name="connsiteY285" fmla="*/ 349250 h 1395413"/>
                <a:gd name="connsiteX286" fmla="*/ 1157288 w 1438275"/>
                <a:gd name="connsiteY286" fmla="*/ 347662 h 1395413"/>
                <a:gd name="connsiteX287" fmla="*/ 1173163 w 1438275"/>
                <a:gd name="connsiteY287" fmla="*/ 344487 h 1395413"/>
                <a:gd name="connsiteX288" fmla="*/ 1182688 w 1438275"/>
                <a:gd name="connsiteY288" fmla="*/ 347662 h 1395413"/>
                <a:gd name="connsiteX289" fmla="*/ 1193800 w 1438275"/>
                <a:gd name="connsiteY289" fmla="*/ 344487 h 1395413"/>
                <a:gd name="connsiteX290" fmla="*/ 1195388 w 1438275"/>
                <a:gd name="connsiteY290" fmla="*/ 342900 h 1395413"/>
                <a:gd name="connsiteX291" fmla="*/ 1211263 w 1438275"/>
                <a:gd name="connsiteY291" fmla="*/ 336550 h 1395413"/>
                <a:gd name="connsiteX292" fmla="*/ 1214438 w 1438275"/>
                <a:gd name="connsiteY292" fmla="*/ 333375 h 1395413"/>
                <a:gd name="connsiteX293" fmla="*/ 1214438 w 1438275"/>
                <a:gd name="connsiteY293" fmla="*/ 336550 h 1395413"/>
                <a:gd name="connsiteX294" fmla="*/ 1216025 w 1438275"/>
                <a:gd name="connsiteY294" fmla="*/ 336550 h 1395413"/>
                <a:gd name="connsiteX295" fmla="*/ 1217613 w 1438275"/>
                <a:gd name="connsiteY295" fmla="*/ 338137 h 1395413"/>
                <a:gd name="connsiteX296" fmla="*/ 1217613 w 1438275"/>
                <a:gd name="connsiteY296" fmla="*/ 341312 h 1395413"/>
                <a:gd name="connsiteX297" fmla="*/ 1217613 w 1438275"/>
                <a:gd name="connsiteY297" fmla="*/ 342900 h 1395413"/>
                <a:gd name="connsiteX298" fmla="*/ 1231900 w 1438275"/>
                <a:gd name="connsiteY298" fmla="*/ 344487 h 1395413"/>
                <a:gd name="connsiteX299" fmla="*/ 1238250 w 1438275"/>
                <a:gd name="connsiteY299" fmla="*/ 344487 h 1395413"/>
                <a:gd name="connsiteX300" fmla="*/ 1239838 w 1438275"/>
                <a:gd name="connsiteY300" fmla="*/ 342900 h 1395413"/>
                <a:gd name="connsiteX301" fmla="*/ 1244600 w 1438275"/>
                <a:gd name="connsiteY301" fmla="*/ 342900 h 1395413"/>
                <a:gd name="connsiteX302" fmla="*/ 1249363 w 1438275"/>
                <a:gd name="connsiteY302" fmla="*/ 341312 h 1395413"/>
                <a:gd name="connsiteX303" fmla="*/ 1249363 w 1438275"/>
                <a:gd name="connsiteY303" fmla="*/ 338137 h 1395413"/>
                <a:gd name="connsiteX304" fmla="*/ 1249363 w 1438275"/>
                <a:gd name="connsiteY304" fmla="*/ 336550 h 1395413"/>
                <a:gd name="connsiteX305" fmla="*/ 1250950 w 1438275"/>
                <a:gd name="connsiteY305" fmla="*/ 333375 h 1395413"/>
                <a:gd name="connsiteX306" fmla="*/ 1250950 w 1438275"/>
                <a:gd name="connsiteY306" fmla="*/ 331787 h 1395413"/>
                <a:gd name="connsiteX307" fmla="*/ 1254125 w 1438275"/>
                <a:gd name="connsiteY307" fmla="*/ 331787 h 1395413"/>
                <a:gd name="connsiteX308" fmla="*/ 1260475 w 1438275"/>
                <a:gd name="connsiteY308" fmla="*/ 333375 h 1395413"/>
                <a:gd name="connsiteX309" fmla="*/ 1277938 w 1438275"/>
                <a:gd name="connsiteY309" fmla="*/ 347662 h 1395413"/>
                <a:gd name="connsiteX310" fmla="*/ 1282700 w 1438275"/>
                <a:gd name="connsiteY310" fmla="*/ 352425 h 1395413"/>
                <a:gd name="connsiteX311" fmla="*/ 1293813 w 1438275"/>
                <a:gd name="connsiteY311" fmla="*/ 360362 h 1395413"/>
                <a:gd name="connsiteX312" fmla="*/ 1309688 w 1438275"/>
                <a:gd name="connsiteY312" fmla="*/ 366712 h 1395413"/>
                <a:gd name="connsiteX313" fmla="*/ 1327150 w 1438275"/>
                <a:gd name="connsiteY313" fmla="*/ 374650 h 1395413"/>
                <a:gd name="connsiteX314" fmla="*/ 1331913 w 1438275"/>
                <a:gd name="connsiteY314" fmla="*/ 374650 h 1395413"/>
                <a:gd name="connsiteX315" fmla="*/ 1333500 w 1438275"/>
                <a:gd name="connsiteY315" fmla="*/ 374650 h 1395413"/>
                <a:gd name="connsiteX316" fmla="*/ 1338263 w 1438275"/>
                <a:gd name="connsiteY316" fmla="*/ 377825 h 1395413"/>
                <a:gd name="connsiteX317" fmla="*/ 1344613 w 1438275"/>
                <a:gd name="connsiteY317" fmla="*/ 385762 h 1395413"/>
                <a:gd name="connsiteX318" fmla="*/ 1347788 w 1438275"/>
                <a:gd name="connsiteY318" fmla="*/ 385762 h 1395413"/>
                <a:gd name="connsiteX319" fmla="*/ 1350963 w 1438275"/>
                <a:gd name="connsiteY319" fmla="*/ 385762 h 1395413"/>
                <a:gd name="connsiteX320" fmla="*/ 1354138 w 1438275"/>
                <a:gd name="connsiteY320" fmla="*/ 385762 h 1395413"/>
                <a:gd name="connsiteX321" fmla="*/ 1354138 w 1438275"/>
                <a:gd name="connsiteY321" fmla="*/ 382587 h 1395413"/>
                <a:gd name="connsiteX322" fmla="*/ 1354138 w 1438275"/>
                <a:gd name="connsiteY322" fmla="*/ 381000 h 1395413"/>
                <a:gd name="connsiteX323" fmla="*/ 1355725 w 1438275"/>
                <a:gd name="connsiteY323" fmla="*/ 381000 h 1395413"/>
                <a:gd name="connsiteX324" fmla="*/ 1365250 w 1438275"/>
                <a:gd name="connsiteY324" fmla="*/ 381000 h 1395413"/>
                <a:gd name="connsiteX325" fmla="*/ 1366838 w 1438275"/>
                <a:gd name="connsiteY325" fmla="*/ 381000 h 1395413"/>
                <a:gd name="connsiteX326" fmla="*/ 1376363 w 1438275"/>
                <a:gd name="connsiteY326" fmla="*/ 382587 h 1395413"/>
                <a:gd name="connsiteX327" fmla="*/ 1377950 w 1438275"/>
                <a:gd name="connsiteY327" fmla="*/ 382587 h 1395413"/>
                <a:gd name="connsiteX328" fmla="*/ 1382713 w 1438275"/>
                <a:gd name="connsiteY328" fmla="*/ 385762 h 1395413"/>
                <a:gd name="connsiteX329" fmla="*/ 1382713 w 1438275"/>
                <a:gd name="connsiteY329" fmla="*/ 388937 h 1395413"/>
                <a:gd name="connsiteX330" fmla="*/ 1382713 w 1438275"/>
                <a:gd name="connsiteY330" fmla="*/ 392112 h 1395413"/>
                <a:gd name="connsiteX331" fmla="*/ 1382713 w 1438275"/>
                <a:gd name="connsiteY331" fmla="*/ 454025 h 1395413"/>
                <a:gd name="connsiteX332" fmla="*/ 1382713 w 1438275"/>
                <a:gd name="connsiteY332" fmla="*/ 457200 h 1395413"/>
                <a:gd name="connsiteX333" fmla="*/ 1382713 w 1438275"/>
                <a:gd name="connsiteY333" fmla="*/ 469900 h 1395413"/>
                <a:gd name="connsiteX334" fmla="*/ 1382713 w 1438275"/>
                <a:gd name="connsiteY334" fmla="*/ 554038 h 1395413"/>
                <a:gd name="connsiteX335" fmla="*/ 1382713 w 1438275"/>
                <a:gd name="connsiteY335" fmla="*/ 590550 h 1395413"/>
                <a:gd name="connsiteX336" fmla="*/ 1389063 w 1438275"/>
                <a:gd name="connsiteY336" fmla="*/ 598488 h 1395413"/>
                <a:gd name="connsiteX337" fmla="*/ 1392238 w 1438275"/>
                <a:gd name="connsiteY337" fmla="*/ 598488 h 1395413"/>
                <a:gd name="connsiteX338" fmla="*/ 1393825 w 1438275"/>
                <a:gd name="connsiteY338" fmla="*/ 601663 h 1395413"/>
                <a:gd name="connsiteX339" fmla="*/ 1397000 w 1438275"/>
                <a:gd name="connsiteY339" fmla="*/ 603250 h 1395413"/>
                <a:gd name="connsiteX340" fmla="*/ 1398588 w 1438275"/>
                <a:gd name="connsiteY340" fmla="*/ 603250 h 1395413"/>
                <a:gd name="connsiteX341" fmla="*/ 1398588 w 1438275"/>
                <a:gd name="connsiteY341" fmla="*/ 608013 h 1395413"/>
                <a:gd name="connsiteX342" fmla="*/ 1400175 w 1438275"/>
                <a:gd name="connsiteY342" fmla="*/ 608013 h 1395413"/>
                <a:gd name="connsiteX343" fmla="*/ 1404938 w 1438275"/>
                <a:gd name="connsiteY343" fmla="*/ 615950 h 1395413"/>
                <a:gd name="connsiteX344" fmla="*/ 1404938 w 1438275"/>
                <a:gd name="connsiteY344" fmla="*/ 619125 h 1395413"/>
                <a:gd name="connsiteX345" fmla="*/ 1408113 w 1438275"/>
                <a:gd name="connsiteY345" fmla="*/ 627063 h 1395413"/>
                <a:gd name="connsiteX346" fmla="*/ 1408113 w 1438275"/>
                <a:gd name="connsiteY346" fmla="*/ 630238 h 1395413"/>
                <a:gd name="connsiteX347" fmla="*/ 1408113 w 1438275"/>
                <a:gd name="connsiteY347" fmla="*/ 631825 h 1395413"/>
                <a:gd name="connsiteX348" fmla="*/ 1404938 w 1438275"/>
                <a:gd name="connsiteY348" fmla="*/ 638175 h 1395413"/>
                <a:gd name="connsiteX349" fmla="*/ 1404938 w 1438275"/>
                <a:gd name="connsiteY349" fmla="*/ 641350 h 1395413"/>
                <a:gd name="connsiteX350" fmla="*/ 1408113 w 1438275"/>
                <a:gd name="connsiteY350" fmla="*/ 642938 h 1395413"/>
                <a:gd name="connsiteX351" fmla="*/ 1408113 w 1438275"/>
                <a:gd name="connsiteY351" fmla="*/ 646113 h 1395413"/>
                <a:gd name="connsiteX352" fmla="*/ 1409700 w 1438275"/>
                <a:gd name="connsiteY352" fmla="*/ 649288 h 1395413"/>
                <a:gd name="connsiteX353" fmla="*/ 1414463 w 1438275"/>
                <a:gd name="connsiteY353" fmla="*/ 657225 h 1395413"/>
                <a:gd name="connsiteX354" fmla="*/ 1422400 w 1438275"/>
                <a:gd name="connsiteY354" fmla="*/ 669925 h 1395413"/>
                <a:gd name="connsiteX355" fmla="*/ 1425575 w 1438275"/>
                <a:gd name="connsiteY355" fmla="*/ 673100 h 1395413"/>
                <a:gd name="connsiteX356" fmla="*/ 1430338 w 1438275"/>
                <a:gd name="connsiteY356" fmla="*/ 685800 h 1395413"/>
                <a:gd name="connsiteX357" fmla="*/ 1430338 w 1438275"/>
                <a:gd name="connsiteY357" fmla="*/ 690563 h 1395413"/>
                <a:gd name="connsiteX358" fmla="*/ 1436688 w 1438275"/>
                <a:gd name="connsiteY358" fmla="*/ 695325 h 1395413"/>
                <a:gd name="connsiteX359" fmla="*/ 1438275 w 1438275"/>
                <a:gd name="connsiteY359" fmla="*/ 695325 h 1395413"/>
                <a:gd name="connsiteX360" fmla="*/ 1438275 w 1438275"/>
                <a:gd name="connsiteY360" fmla="*/ 696913 h 1395413"/>
                <a:gd name="connsiteX361" fmla="*/ 1436688 w 1438275"/>
                <a:gd name="connsiteY361" fmla="*/ 741363 h 1395413"/>
                <a:gd name="connsiteX362" fmla="*/ 1436688 w 1438275"/>
                <a:gd name="connsiteY362" fmla="*/ 742950 h 1395413"/>
                <a:gd name="connsiteX363" fmla="*/ 1430338 w 1438275"/>
                <a:gd name="connsiteY363" fmla="*/ 758825 h 1395413"/>
                <a:gd name="connsiteX364" fmla="*/ 1427163 w 1438275"/>
                <a:gd name="connsiteY364" fmla="*/ 762000 h 1395413"/>
                <a:gd name="connsiteX365" fmla="*/ 1425575 w 1438275"/>
                <a:gd name="connsiteY365" fmla="*/ 763588 h 1395413"/>
                <a:gd name="connsiteX366" fmla="*/ 1422400 w 1438275"/>
                <a:gd name="connsiteY366" fmla="*/ 765175 h 1395413"/>
                <a:gd name="connsiteX367" fmla="*/ 1419225 w 1438275"/>
                <a:gd name="connsiteY367" fmla="*/ 774700 h 1395413"/>
                <a:gd name="connsiteX368" fmla="*/ 1416050 w 1438275"/>
                <a:gd name="connsiteY368" fmla="*/ 779463 h 1395413"/>
                <a:gd name="connsiteX369" fmla="*/ 1414463 w 1438275"/>
                <a:gd name="connsiteY369" fmla="*/ 803275 h 1395413"/>
                <a:gd name="connsiteX370" fmla="*/ 1414463 w 1438275"/>
                <a:gd name="connsiteY370" fmla="*/ 806450 h 1395413"/>
                <a:gd name="connsiteX371" fmla="*/ 1414463 w 1438275"/>
                <a:gd name="connsiteY371" fmla="*/ 808038 h 1395413"/>
                <a:gd name="connsiteX372" fmla="*/ 1416050 w 1438275"/>
                <a:gd name="connsiteY372" fmla="*/ 809625 h 1395413"/>
                <a:gd name="connsiteX373" fmla="*/ 1419225 w 1438275"/>
                <a:gd name="connsiteY373" fmla="*/ 819150 h 1395413"/>
                <a:gd name="connsiteX374" fmla="*/ 1420813 w 1438275"/>
                <a:gd name="connsiteY374" fmla="*/ 830263 h 1395413"/>
                <a:gd name="connsiteX375" fmla="*/ 1420813 w 1438275"/>
                <a:gd name="connsiteY375" fmla="*/ 831850 h 1395413"/>
                <a:gd name="connsiteX376" fmla="*/ 1419225 w 1438275"/>
                <a:gd name="connsiteY376" fmla="*/ 841375 h 1395413"/>
                <a:gd name="connsiteX377" fmla="*/ 1419225 w 1438275"/>
                <a:gd name="connsiteY377" fmla="*/ 842963 h 1395413"/>
                <a:gd name="connsiteX378" fmla="*/ 1414463 w 1438275"/>
                <a:gd name="connsiteY378" fmla="*/ 847725 h 1395413"/>
                <a:gd name="connsiteX379" fmla="*/ 1409700 w 1438275"/>
                <a:gd name="connsiteY379" fmla="*/ 852488 h 1395413"/>
                <a:gd name="connsiteX380" fmla="*/ 1404938 w 1438275"/>
                <a:gd name="connsiteY380" fmla="*/ 852488 h 1395413"/>
                <a:gd name="connsiteX381" fmla="*/ 1403350 w 1438275"/>
                <a:gd name="connsiteY381" fmla="*/ 852488 h 1395413"/>
                <a:gd name="connsiteX382" fmla="*/ 1392238 w 1438275"/>
                <a:gd name="connsiteY382" fmla="*/ 873125 h 1395413"/>
                <a:gd name="connsiteX383" fmla="*/ 1392238 w 1438275"/>
                <a:gd name="connsiteY383" fmla="*/ 874713 h 1395413"/>
                <a:gd name="connsiteX384" fmla="*/ 1392238 w 1438275"/>
                <a:gd name="connsiteY384" fmla="*/ 877888 h 1395413"/>
                <a:gd name="connsiteX385" fmla="*/ 1392238 w 1438275"/>
                <a:gd name="connsiteY385" fmla="*/ 879475 h 1395413"/>
                <a:gd name="connsiteX386" fmla="*/ 1393825 w 1438275"/>
                <a:gd name="connsiteY386" fmla="*/ 879475 h 1395413"/>
                <a:gd name="connsiteX387" fmla="*/ 1397000 w 1438275"/>
                <a:gd name="connsiteY387" fmla="*/ 881063 h 1395413"/>
                <a:gd name="connsiteX388" fmla="*/ 1398588 w 1438275"/>
                <a:gd name="connsiteY388" fmla="*/ 885825 h 1395413"/>
                <a:gd name="connsiteX389" fmla="*/ 1400175 w 1438275"/>
                <a:gd name="connsiteY389" fmla="*/ 885825 h 1395413"/>
                <a:gd name="connsiteX390" fmla="*/ 1403350 w 1438275"/>
                <a:gd name="connsiteY390" fmla="*/ 890588 h 1395413"/>
                <a:gd name="connsiteX391" fmla="*/ 1403350 w 1438275"/>
                <a:gd name="connsiteY391" fmla="*/ 892175 h 1395413"/>
                <a:gd name="connsiteX392" fmla="*/ 1403350 w 1438275"/>
                <a:gd name="connsiteY392" fmla="*/ 895350 h 1395413"/>
                <a:gd name="connsiteX393" fmla="*/ 1400175 w 1438275"/>
                <a:gd name="connsiteY393" fmla="*/ 895350 h 1395413"/>
                <a:gd name="connsiteX394" fmla="*/ 1398588 w 1438275"/>
                <a:gd name="connsiteY394" fmla="*/ 895350 h 1395413"/>
                <a:gd name="connsiteX395" fmla="*/ 1397000 w 1438275"/>
                <a:gd name="connsiteY395" fmla="*/ 892175 h 1395413"/>
                <a:gd name="connsiteX396" fmla="*/ 1382713 w 1438275"/>
                <a:gd name="connsiteY396" fmla="*/ 892175 h 1395413"/>
                <a:gd name="connsiteX397" fmla="*/ 1381125 w 1438275"/>
                <a:gd name="connsiteY397" fmla="*/ 895350 h 1395413"/>
                <a:gd name="connsiteX398" fmla="*/ 1373188 w 1438275"/>
                <a:gd name="connsiteY398" fmla="*/ 896938 h 1395413"/>
                <a:gd name="connsiteX399" fmla="*/ 1371600 w 1438275"/>
                <a:gd name="connsiteY399" fmla="*/ 896938 h 1395413"/>
                <a:gd name="connsiteX400" fmla="*/ 1350963 w 1438275"/>
                <a:gd name="connsiteY400" fmla="*/ 906463 h 1395413"/>
                <a:gd name="connsiteX401" fmla="*/ 1336675 w 1438275"/>
                <a:gd name="connsiteY401" fmla="*/ 912813 h 1395413"/>
                <a:gd name="connsiteX402" fmla="*/ 1320800 w 1438275"/>
                <a:gd name="connsiteY402" fmla="*/ 922338 h 1395413"/>
                <a:gd name="connsiteX403" fmla="*/ 1316038 w 1438275"/>
                <a:gd name="connsiteY403" fmla="*/ 923925 h 1395413"/>
                <a:gd name="connsiteX404" fmla="*/ 1311275 w 1438275"/>
                <a:gd name="connsiteY404" fmla="*/ 925513 h 1395413"/>
                <a:gd name="connsiteX405" fmla="*/ 1309688 w 1438275"/>
                <a:gd name="connsiteY405" fmla="*/ 928688 h 1395413"/>
                <a:gd name="connsiteX406" fmla="*/ 1306513 w 1438275"/>
                <a:gd name="connsiteY406" fmla="*/ 933450 h 1395413"/>
                <a:gd name="connsiteX407" fmla="*/ 1304925 w 1438275"/>
                <a:gd name="connsiteY407" fmla="*/ 935038 h 1395413"/>
                <a:gd name="connsiteX408" fmla="*/ 1303338 w 1438275"/>
                <a:gd name="connsiteY408" fmla="*/ 935038 h 1395413"/>
                <a:gd name="connsiteX409" fmla="*/ 1300163 w 1438275"/>
                <a:gd name="connsiteY409" fmla="*/ 935038 h 1395413"/>
                <a:gd name="connsiteX410" fmla="*/ 1300163 w 1438275"/>
                <a:gd name="connsiteY410" fmla="*/ 933450 h 1395413"/>
                <a:gd name="connsiteX411" fmla="*/ 1300163 w 1438275"/>
                <a:gd name="connsiteY411" fmla="*/ 930275 h 1395413"/>
                <a:gd name="connsiteX412" fmla="*/ 1303338 w 1438275"/>
                <a:gd name="connsiteY412" fmla="*/ 930275 h 1395413"/>
                <a:gd name="connsiteX413" fmla="*/ 1311275 w 1438275"/>
                <a:gd name="connsiteY413" fmla="*/ 922338 h 1395413"/>
                <a:gd name="connsiteX414" fmla="*/ 1320800 w 1438275"/>
                <a:gd name="connsiteY414" fmla="*/ 917575 h 1395413"/>
                <a:gd name="connsiteX415" fmla="*/ 1328738 w 1438275"/>
                <a:gd name="connsiteY415" fmla="*/ 914400 h 1395413"/>
                <a:gd name="connsiteX416" fmla="*/ 1331913 w 1438275"/>
                <a:gd name="connsiteY416" fmla="*/ 914400 h 1395413"/>
                <a:gd name="connsiteX417" fmla="*/ 1336675 w 1438275"/>
                <a:gd name="connsiteY417" fmla="*/ 911225 h 1395413"/>
                <a:gd name="connsiteX418" fmla="*/ 1336675 w 1438275"/>
                <a:gd name="connsiteY418" fmla="*/ 908050 h 1395413"/>
                <a:gd name="connsiteX419" fmla="*/ 1333500 w 1438275"/>
                <a:gd name="connsiteY419" fmla="*/ 908050 h 1395413"/>
                <a:gd name="connsiteX420" fmla="*/ 1325563 w 1438275"/>
                <a:gd name="connsiteY420" fmla="*/ 908050 h 1395413"/>
                <a:gd name="connsiteX421" fmla="*/ 1325563 w 1438275"/>
                <a:gd name="connsiteY421" fmla="*/ 906463 h 1395413"/>
                <a:gd name="connsiteX422" fmla="*/ 1322388 w 1438275"/>
                <a:gd name="connsiteY422" fmla="*/ 908050 h 1395413"/>
                <a:gd name="connsiteX423" fmla="*/ 1314450 w 1438275"/>
                <a:gd name="connsiteY423" fmla="*/ 911225 h 1395413"/>
                <a:gd name="connsiteX424" fmla="*/ 1303338 w 1438275"/>
                <a:gd name="connsiteY424" fmla="*/ 908050 h 1395413"/>
                <a:gd name="connsiteX425" fmla="*/ 1306513 w 1438275"/>
                <a:gd name="connsiteY425" fmla="*/ 901700 h 1395413"/>
                <a:gd name="connsiteX426" fmla="*/ 1306513 w 1438275"/>
                <a:gd name="connsiteY426" fmla="*/ 900113 h 1395413"/>
                <a:gd name="connsiteX427" fmla="*/ 1309688 w 1438275"/>
                <a:gd name="connsiteY427" fmla="*/ 896938 h 1395413"/>
                <a:gd name="connsiteX428" fmla="*/ 1309688 w 1438275"/>
                <a:gd name="connsiteY428" fmla="*/ 890588 h 1395413"/>
                <a:gd name="connsiteX429" fmla="*/ 1309688 w 1438275"/>
                <a:gd name="connsiteY429" fmla="*/ 889000 h 1395413"/>
                <a:gd name="connsiteX430" fmla="*/ 1309688 w 1438275"/>
                <a:gd name="connsiteY430" fmla="*/ 884238 h 1395413"/>
                <a:gd name="connsiteX431" fmla="*/ 1304925 w 1438275"/>
                <a:gd name="connsiteY431" fmla="*/ 879475 h 1395413"/>
                <a:gd name="connsiteX432" fmla="*/ 1303338 w 1438275"/>
                <a:gd name="connsiteY432" fmla="*/ 879475 h 1395413"/>
                <a:gd name="connsiteX433" fmla="*/ 1298575 w 1438275"/>
                <a:gd name="connsiteY433" fmla="*/ 881063 h 1395413"/>
                <a:gd name="connsiteX434" fmla="*/ 1295400 w 1438275"/>
                <a:gd name="connsiteY434" fmla="*/ 884238 h 1395413"/>
                <a:gd name="connsiteX435" fmla="*/ 1282700 w 1438275"/>
                <a:gd name="connsiteY435" fmla="*/ 890588 h 1395413"/>
                <a:gd name="connsiteX436" fmla="*/ 1277938 w 1438275"/>
                <a:gd name="connsiteY436" fmla="*/ 889000 h 1395413"/>
                <a:gd name="connsiteX437" fmla="*/ 1276350 w 1438275"/>
                <a:gd name="connsiteY437" fmla="*/ 889000 h 1395413"/>
                <a:gd name="connsiteX438" fmla="*/ 1271588 w 1438275"/>
                <a:gd name="connsiteY438" fmla="*/ 889000 h 1395413"/>
                <a:gd name="connsiteX439" fmla="*/ 1271588 w 1438275"/>
                <a:gd name="connsiteY439" fmla="*/ 890588 h 1395413"/>
                <a:gd name="connsiteX440" fmla="*/ 1276350 w 1438275"/>
                <a:gd name="connsiteY440" fmla="*/ 908050 h 1395413"/>
                <a:gd name="connsiteX441" fmla="*/ 1289050 w 1438275"/>
                <a:gd name="connsiteY441" fmla="*/ 925513 h 1395413"/>
                <a:gd name="connsiteX442" fmla="*/ 1289050 w 1438275"/>
                <a:gd name="connsiteY442" fmla="*/ 928688 h 1395413"/>
                <a:gd name="connsiteX443" fmla="*/ 1289050 w 1438275"/>
                <a:gd name="connsiteY443" fmla="*/ 930275 h 1395413"/>
                <a:gd name="connsiteX444" fmla="*/ 1289050 w 1438275"/>
                <a:gd name="connsiteY444" fmla="*/ 933450 h 1395413"/>
                <a:gd name="connsiteX445" fmla="*/ 1289050 w 1438275"/>
                <a:gd name="connsiteY445" fmla="*/ 936625 h 1395413"/>
                <a:gd name="connsiteX446" fmla="*/ 1289050 w 1438275"/>
                <a:gd name="connsiteY446" fmla="*/ 939800 h 1395413"/>
                <a:gd name="connsiteX447" fmla="*/ 1289050 w 1438275"/>
                <a:gd name="connsiteY447" fmla="*/ 941388 h 1395413"/>
                <a:gd name="connsiteX448" fmla="*/ 1270000 w 1438275"/>
                <a:gd name="connsiteY448" fmla="*/ 957263 h 1395413"/>
                <a:gd name="connsiteX449" fmla="*/ 1266825 w 1438275"/>
                <a:gd name="connsiteY449" fmla="*/ 958850 h 1395413"/>
                <a:gd name="connsiteX450" fmla="*/ 1262063 w 1438275"/>
                <a:gd name="connsiteY450" fmla="*/ 974725 h 1395413"/>
                <a:gd name="connsiteX451" fmla="*/ 1260475 w 1438275"/>
                <a:gd name="connsiteY451" fmla="*/ 977900 h 1395413"/>
                <a:gd name="connsiteX452" fmla="*/ 1244600 w 1438275"/>
                <a:gd name="connsiteY452" fmla="*/ 990600 h 1395413"/>
                <a:gd name="connsiteX453" fmla="*/ 1244600 w 1438275"/>
                <a:gd name="connsiteY453" fmla="*/ 992188 h 1395413"/>
                <a:gd name="connsiteX454" fmla="*/ 1239838 w 1438275"/>
                <a:gd name="connsiteY454" fmla="*/ 992188 h 1395413"/>
                <a:gd name="connsiteX455" fmla="*/ 1238250 w 1438275"/>
                <a:gd name="connsiteY455" fmla="*/ 995363 h 1395413"/>
                <a:gd name="connsiteX456" fmla="*/ 1211263 w 1438275"/>
                <a:gd name="connsiteY456" fmla="*/ 1014413 h 1395413"/>
                <a:gd name="connsiteX457" fmla="*/ 1209675 w 1438275"/>
                <a:gd name="connsiteY457" fmla="*/ 1014413 h 1395413"/>
                <a:gd name="connsiteX458" fmla="*/ 1203325 w 1438275"/>
                <a:gd name="connsiteY458" fmla="*/ 1017588 h 1395413"/>
                <a:gd name="connsiteX459" fmla="*/ 1198563 w 1438275"/>
                <a:gd name="connsiteY459" fmla="*/ 1017588 h 1395413"/>
                <a:gd name="connsiteX460" fmla="*/ 1195388 w 1438275"/>
                <a:gd name="connsiteY460" fmla="*/ 1017588 h 1395413"/>
                <a:gd name="connsiteX461" fmla="*/ 1192213 w 1438275"/>
                <a:gd name="connsiteY461" fmla="*/ 1017588 h 1395413"/>
                <a:gd name="connsiteX462" fmla="*/ 1176338 w 1438275"/>
                <a:gd name="connsiteY462" fmla="*/ 1022350 h 1395413"/>
                <a:gd name="connsiteX463" fmla="*/ 1176338 w 1438275"/>
                <a:gd name="connsiteY463" fmla="*/ 1023938 h 1395413"/>
                <a:gd name="connsiteX464" fmla="*/ 1173163 w 1438275"/>
                <a:gd name="connsiteY464" fmla="*/ 1023938 h 1395413"/>
                <a:gd name="connsiteX465" fmla="*/ 1173163 w 1438275"/>
                <a:gd name="connsiteY465" fmla="*/ 1030288 h 1395413"/>
                <a:gd name="connsiteX466" fmla="*/ 1176338 w 1438275"/>
                <a:gd name="connsiteY466" fmla="*/ 1030288 h 1395413"/>
                <a:gd name="connsiteX467" fmla="*/ 1177925 w 1438275"/>
                <a:gd name="connsiteY467" fmla="*/ 1030288 h 1395413"/>
                <a:gd name="connsiteX468" fmla="*/ 1179513 w 1438275"/>
                <a:gd name="connsiteY468" fmla="*/ 1028700 h 1395413"/>
                <a:gd name="connsiteX469" fmla="*/ 1182688 w 1438275"/>
                <a:gd name="connsiteY469" fmla="*/ 1028700 h 1395413"/>
                <a:gd name="connsiteX470" fmla="*/ 1184275 w 1438275"/>
                <a:gd name="connsiteY470" fmla="*/ 1025525 h 1395413"/>
                <a:gd name="connsiteX471" fmla="*/ 1184275 w 1438275"/>
                <a:gd name="connsiteY471" fmla="*/ 1023938 h 1395413"/>
                <a:gd name="connsiteX472" fmla="*/ 1187450 w 1438275"/>
                <a:gd name="connsiteY472" fmla="*/ 1023938 h 1395413"/>
                <a:gd name="connsiteX473" fmla="*/ 1189038 w 1438275"/>
                <a:gd name="connsiteY473" fmla="*/ 1023938 h 1395413"/>
                <a:gd name="connsiteX474" fmla="*/ 1193800 w 1438275"/>
                <a:gd name="connsiteY474" fmla="*/ 1022350 h 1395413"/>
                <a:gd name="connsiteX475" fmla="*/ 1187450 w 1438275"/>
                <a:gd name="connsiteY475" fmla="*/ 1028700 h 1395413"/>
                <a:gd name="connsiteX476" fmla="*/ 1184275 w 1438275"/>
                <a:gd name="connsiteY476" fmla="*/ 1030288 h 1395413"/>
                <a:gd name="connsiteX477" fmla="*/ 1179513 w 1438275"/>
                <a:gd name="connsiteY477" fmla="*/ 1033463 h 1395413"/>
                <a:gd name="connsiteX478" fmla="*/ 1176338 w 1438275"/>
                <a:gd name="connsiteY478" fmla="*/ 1033463 h 1395413"/>
                <a:gd name="connsiteX479" fmla="*/ 1173163 w 1438275"/>
                <a:gd name="connsiteY479" fmla="*/ 1035050 h 1395413"/>
                <a:gd name="connsiteX480" fmla="*/ 1171575 w 1438275"/>
                <a:gd name="connsiteY480" fmla="*/ 1035050 h 1395413"/>
                <a:gd name="connsiteX481" fmla="*/ 1168400 w 1438275"/>
                <a:gd name="connsiteY481" fmla="*/ 1035050 h 1395413"/>
                <a:gd name="connsiteX482" fmla="*/ 1168400 w 1438275"/>
                <a:gd name="connsiteY482" fmla="*/ 1033463 h 1395413"/>
                <a:gd name="connsiteX483" fmla="*/ 1171575 w 1438275"/>
                <a:gd name="connsiteY483" fmla="*/ 1030288 h 1395413"/>
                <a:gd name="connsiteX484" fmla="*/ 1168400 w 1438275"/>
                <a:gd name="connsiteY484" fmla="*/ 1028700 h 1395413"/>
                <a:gd name="connsiteX485" fmla="*/ 1165225 w 1438275"/>
                <a:gd name="connsiteY485" fmla="*/ 1028700 h 1395413"/>
                <a:gd name="connsiteX486" fmla="*/ 1162050 w 1438275"/>
                <a:gd name="connsiteY486" fmla="*/ 1030288 h 1395413"/>
                <a:gd name="connsiteX487" fmla="*/ 1160463 w 1438275"/>
                <a:gd name="connsiteY487" fmla="*/ 1030288 h 1395413"/>
                <a:gd name="connsiteX488" fmla="*/ 1155700 w 1438275"/>
                <a:gd name="connsiteY488" fmla="*/ 1033463 h 1395413"/>
                <a:gd name="connsiteX489" fmla="*/ 1154113 w 1438275"/>
                <a:gd name="connsiteY489" fmla="*/ 1035050 h 1395413"/>
                <a:gd name="connsiteX490" fmla="*/ 1144588 w 1438275"/>
                <a:gd name="connsiteY490" fmla="*/ 1036638 h 1395413"/>
                <a:gd name="connsiteX491" fmla="*/ 1144588 w 1438275"/>
                <a:gd name="connsiteY491" fmla="*/ 1035050 h 1395413"/>
                <a:gd name="connsiteX492" fmla="*/ 1144588 w 1438275"/>
                <a:gd name="connsiteY492" fmla="*/ 1033463 h 1395413"/>
                <a:gd name="connsiteX493" fmla="*/ 1146175 w 1438275"/>
                <a:gd name="connsiteY493" fmla="*/ 1035050 h 1395413"/>
                <a:gd name="connsiteX494" fmla="*/ 1149350 w 1438275"/>
                <a:gd name="connsiteY494" fmla="*/ 1035050 h 1395413"/>
                <a:gd name="connsiteX495" fmla="*/ 1150938 w 1438275"/>
                <a:gd name="connsiteY495" fmla="*/ 1033463 h 1395413"/>
                <a:gd name="connsiteX496" fmla="*/ 1154113 w 1438275"/>
                <a:gd name="connsiteY496" fmla="*/ 1030288 h 1395413"/>
                <a:gd name="connsiteX497" fmla="*/ 1146175 w 1438275"/>
                <a:gd name="connsiteY497" fmla="*/ 1022350 h 1395413"/>
                <a:gd name="connsiteX498" fmla="*/ 1139825 w 1438275"/>
                <a:gd name="connsiteY498" fmla="*/ 1023938 h 1395413"/>
                <a:gd name="connsiteX499" fmla="*/ 1138238 w 1438275"/>
                <a:gd name="connsiteY499" fmla="*/ 1023938 h 1395413"/>
                <a:gd name="connsiteX500" fmla="*/ 1127125 w 1438275"/>
                <a:gd name="connsiteY500" fmla="*/ 1017588 h 1395413"/>
                <a:gd name="connsiteX501" fmla="*/ 1123950 w 1438275"/>
                <a:gd name="connsiteY501" fmla="*/ 1017588 h 1395413"/>
                <a:gd name="connsiteX502" fmla="*/ 1120775 w 1438275"/>
                <a:gd name="connsiteY502" fmla="*/ 1012825 h 1395413"/>
                <a:gd name="connsiteX503" fmla="*/ 1120775 w 1438275"/>
                <a:gd name="connsiteY503" fmla="*/ 1014413 h 1395413"/>
                <a:gd name="connsiteX504" fmla="*/ 1120775 w 1438275"/>
                <a:gd name="connsiteY504" fmla="*/ 1017588 h 1395413"/>
                <a:gd name="connsiteX505" fmla="*/ 1122363 w 1438275"/>
                <a:gd name="connsiteY505" fmla="*/ 1028700 h 1395413"/>
                <a:gd name="connsiteX506" fmla="*/ 1122363 w 1438275"/>
                <a:gd name="connsiteY506" fmla="*/ 1030288 h 1395413"/>
                <a:gd name="connsiteX507" fmla="*/ 1123950 w 1438275"/>
                <a:gd name="connsiteY507" fmla="*/ 1030288 h 1395413"/>
                <a:gd name="connsiteX508" fmla="*/ 1127125 w 1438275"/>
                <a:gd name="connsiteY508" fmla="*/ 1030288 h 1395413"/>
                <a:gd name="connsiteX509" fmla="*/ 1127125 w 1438275"/>
                <a:gd name="connsiteY509" fmla="*/ 1033463 h 1395413"/>
                <a:gd name="connsiteX510" fmla="*/ 1123950 w 1438275"/>
                <a:gd name="connsiteY510" fmla="*/ 1035050 h 1395413"/>
                <a:gd name="connsiteX511" fmla="*/ 1122363 w 1438275"/>
                <a:gd name="connsiteY511" fmla="*/ 1035050 h 1395413"/>
                <a:gd name="connsiteX512" fmla="*/ 1120775 w 1438275"/>
                <a:gd name="connsiteY512" fmla="*/ 1035050 h 1395413"/>
                <a:gd name="connsiteX513" fmla="*/ 1112838 w 1438275"/>
                <a:gd name="connsiteY513" fmla="*/ 1033463 h 1395413"/>
                <a:gd name="connsiteX514" fmla="*/ 1109663 w 1438275"/>
                <a:gd name="connsiteY514" fmla="*/ 1028700 h 1395413"/>
                <a:gd name="connsiteX515" fmla="*/ 1106488 w 1438275"/>
                <a:gd name="connsiteY515" fmla="*/ 1028700 h 1395413"/>
                <a:gd name="connsiteX516" fmla="*/ 1106488 w 1438275"/>
                <a:gd name="connsiteY516" fmla="*/ 1025525 h 1395413"/>
                <a:gd name="connsiteX517" fmla="*/ 1106488 w 1438275"/>
                <a:gd name="connsiteY517" fmla="*/ 1023938 h 1395413"/>
                <a:gd name="connsiteX518" fmla="*/ 1106488 w 1438275"/>
                <a:gd name="connsiteY518" fmla="*/ 1022350 h 1395413"/>
                <a:gd name="connsiteX519" fmla="*/ 1104900 w 1438275"/>
                <a:gd name="connsiteY519" fmla="*/ 1019175 h 1395413"/>
                <a:gd name="connsiteX520" fmla="*/ 1101725 w 1438275"/>
                <a:gd name="connsiteY520" fmla="*/ 1019175 h 1395413"/>
                <a:gd name="connsiteX521" fmla="*/ 1098550 w 1438275"/>
                <a:gd name="connsiteY521" fmla="*/ 1019175 h 1395413"/>
                <a:gd name="connsiteX522" fmla="*/ 1098550 w 1438275"/>
                <a:gd name="connsiteY522" fmla="*/ 1022350 h 1395413"/>
                <a:gd name="connsiteX523" fmla="*/ 1098550 w 1438275"/>
                <a:gd name="connsiteY523" fmla="*/ 1023938 h 1395413"/>
                <a:gd name="connsiteX524" fmla="*/ 1104900 w 1438275"/>
                <a:gd name="connsiteY524" fmla="*/ 1039813 h 1395413"/>
                <a:gd name="connsiteX525" fmla="*/ 1112838 w 1438275"/>
                <a:gd name="connsiteY525" fmla="*/ 1046163 h 1395413"/>
                <a:gd name="connsiteX526" fmla="*/ 1122363 w 1438275"/>
                <a:gd name="connsiteY526" fmla="*/ 1052513 h 1395413"/>
                <a:gd name="connsiteX527" fmla="*/ 1123950 w 1438275"/>
                <a:gd name="connsiteY527" fmla="*/ 1055688 h 1395413"/>
                <a:gd name="connsiteX528" fmla="*/ 1123950 w 1438275"/>
                <a:gd name="connsiteY528" fmla="*/ 1057275 h 1395413"/>
                <a:gd name="connsiteX529" fmla="*/ 1100138 w 1438275"/>
                <a:gd name="connsiteY529" fmla="*/ 1071563 h 1395413"/>
                <a:gd name="connsiteX530" fmla="*/ 1098550 w 1438275"/>
                <a:gd name="connsiteY530" fmla="*/ 1071563 h 1395413"/>
                <a:gd name="connsiteX531" fmla="*/ 1095375 w 1438275"/>
                <a:gd name="connsiteY531" fmla="*/ 1073150 h 1395413"/>
                <a:gd name="connsiteX532" fmla="*/ 1093788 w 1438275"/>
                <a:gd name="connsiteY532" fmla="*/ 1071563 h 1395413"/>
                <a:gd name="connsiteX533" fmla="*/ 1090613 w 1438275"/>
                <a:gd name="connsiteY533" fmla="*/ 1071563 h 1395413"/>
                <a:gd name="connsiteX534" fmla="*/ 1090613 w 1438275"/>
                <a:gd name="connsiteY534" fmla="*/ 1068388 h 1395413"/>
                <a:gd name="connsiteX535" fmla="*/ 1090613 w 1438275"/>
                <a:gd name="connsiteY535" fmla="*/ 1063625 h 1395413"/>
                <a:gd name="connsiteX536" fmla="*/ 1090613 w 1438275"/>
                <a:gd name="connsiteY536" fmla="*/ 1062038 h 1395413"/>
                <a:gd name="connsiteX537" fmla="*/ 1087438 w 1438275"/>
                <a:gd name="connsiteY537" fmla="*/ 1055688 h 1395413"/>
                <a:gd name="connsiteX538" fmla="*/ 1082675 w 1438275"/>
                <a:gd name="connsiteY538" fmla="*/ 1050925 h 1395413"/>
                <a:gd name="connsiteX539" fmla="*/ 1079500 w 1438275"/>
                <a:gd name="connsiteY539" fmla="*/ 1050925 h 1395413"/>
                <a:gd name="connsiteX540" fmla="*/ 1079500 w 1438275"/>
                <a:gd name="connsiteY540" fmla="*/ 1052513 h 1395413"/>
                <a:gd name="connsiteX541" fmla="*/ 1076325 w 1438275"/>
                <a:gd name="connsiteY541" fmla="*/ 1058863 h 1395413"/>
                <a:gd name="connsiteX542" fmla="*/ 1076325 w 1438275"/>
                <a:gd name="connsiteY542" fmla="*/ 1062038 h 1395413"/>
                <a:gd name="connsiteX543" fmla="*/ 1077913 w 1438275"/>
                <a:gd name="connsiteY543" fmla="*/ 1063625 h 1395413"/>
                <a:gd name="connsiteX544" fmla="*/ 1082675 w 1438275"/>
                <a:gd name="connsiteY544" fmla="*/ 1066800 h 1395413"/>
                <a:gd name="connsiteX545" fmla="*/ 1082675 w 1438275"/>
                <a:gd name="connsiteY545" fmla="*/ 1068388 h 1395413"/>
                <a:gd name="connsiteX546" fmla="*/ 1082675 w 1438275"/>
                <a:gd name="connsiteY546" fmla="*/ 1082675 h 1395413"/>
                <a:gd name="connsiteX547" fmla="*/ 1071563 w 1438275"/>
                <a:gd name="connsiteY547" fmla="*/ 1095375 h 1395413"/>
                <a:gd name="connsiteX548" fmla="*/ 1066800 w 1438275"/>
                <a:gd name="connsiteY548" fmla="*/ 1096963 h 1395413"/>
                <a:gd name="connsiteX549" fmla="*/ 1065213 w 1438275"/>
                <a:gd name="connsiteY549" fmla="*/ 1096963 h 1395413"/>
                <a:gd name="connsiteX550" fmla="*/ 1060450 w 1438275"/>
                <a:gd name="connsiteY550" fmla="*/ 1096963 h 1395413"/>
                <a:gd name="connsiteX551" fmla="*/ 1057275 w 1438275"/>
                <a:gd name="connsiteY551" fmla="*/ 1095375 h 1395413"/>
                <a:gd name="connsiteX552" fmla="*/ 1055688 w 1438275"/>
                <a:gd name="connsiteY552" fmla="*/ 1089025 h 1395413"/>
                <a:gd name="connsiteX553" fmla="*/ 1039813 w 1438275"/>
                <a:gd name="connsiteY553" fmla="*/ 1090613 h 1395413"/>
                <a:gd name="connsiteX554" fmla="*/ 1039813 w 1438275"/>
                <a:gd name="connsiteY554" fmla="*/ 1093788 h 1395413"/>
                <a:gd name="connsiteX555" fmla="*/ 1035050 w 1438275"/>
                <a:gd name="connsiteY555" fmla="*/ 1104900 h 1395413"/>
                <a:gd name="connsiteX556" fmla="*/ 1038225 w 1438275"/>
                <a:gd name="connsiteY556" fmla="*/ 1104900 h 1395413"/>
                <a:gd name="connsiteX557" fmla="*/ 1039813 w 1438275"/>
                <a:gd name="connsiteY557" fmla="*/ 1106488 h 1395413"/>
                <a:gd name="connsiteX558" fmla="*/ 1042988 w 1438275"/>
                <a:gd name="connsiteY558" fmla="*/ 1108075 h 1395413"/>
                <a:gd name="connsiteX559" fmla="*/ 1046163 w 1438275"/>
                <a:gd name="connsiteY559" fmla="*/ 1104900 h 1395413"/>
                <a:gd name="connsiteX560" fmla="*/ 1049338 w 1438275"/>
                <a:gd name="connsiteY560" fmla="*/ 1104900 h 1395413"/>
                <a:gd name="connsiteX561" fmla="*/ 1054100 w 1438275"/>
                <a:gd name="connsiteY561" fmla="*/ 1101725 h 1395413"/>
                <a:gd name="connsiteX562" fmla="*/ 1055688 w 1438275"/>
                <a:gd name="connsiteY562" fmla="*/ 1101725 h 1395413"/>
                <a:gd name="connsiteX563" fmla="*/ 1055688 w 1438275"/>
                <a:gd name="connsiteY563" fmla="*/ 1108075 h 1395413"/>
                <a:gd name="connsiteX564" fmla="*/ 1038225 w 1438275"/>
                <a:gd name="connsiteY564" fmla="*/ 1135063 h 1395413"/>
                <a:gd name="connsiteX565" fmla="*/ 1038225 w 1438275"/>
                <a:gd name="connsiteY565" fmla="*/ 1138238 h 1395413"/>
                <a:gd name="connsiteX566" fmla="*/ 1035050 w 1438275"/>
                <a:gd name="connsiteY566" fmla="*/ 1138238 h 1395413"/>
                <a:gd name="connsiteX567" fmla="*/ 1033463 w 1438275"/>
                <a:gd name="connsiteY567" fmla="*/ 1138238 h 1395413"/>
                <a:gd name="connsiteX568" fmla="*/ 1020763 w 1438275"/>
                <a:gd name="connsiteY568" fmla="*/ 1133475 h 1395413"/>
                <a:gd name="connsiteX569" fmla="*/ 1004887 w 1438275"/>
                <a:gd name="connsiteY569" fmla="*/ 1128713 h 1395413"/>
                <a:gd name="connsiteX570" fmla="*/ 1001712 w 1438275"/>
                <a:gd name="connsiteY570" fmla="*/ 1130300 h 1395413"/>
                <a:gd name="connsiteX571" fmla="*/ 1001712 w 1438275"/>
                <a:gd name="connsiteY571" fmla="*/ 1133475 h 1395413"/>
                <a:gd name="connsiteX572" fmla="*/ 1004887 w 1438275"/>
                <a:gd name="connsiteY572" fmla="*/ 1135063 h 1395413"/>
                <a:gd name="connsiteX573" fmla="*/ 1006475 w 1438275"/>
                <a:gd name="connsiteY573" fmla="*/ 1135063 h 1395413"/>
                <a:gd name="connsiteX574" fmla="*/ 1016000 w 1438275"/>
                <a:gd name="connsiteY574" fmla="*/ 1141413 h 1395413"/>
                <a:gd name="connsiteX575" fmla="*/ 1023938 w 1438275"/>
                <a:gd name="connsiteY575" fmla="*/ 1150938 h 1395413"/>
                <a:gd name="connsiteX576" fmla="*/ 1028700 w 1438275"/>
                <a:gd name="connsiteY576" fmla="*/ 1157288 h 1395413"/>
                <a:gd name="connsiteX577" fmla="*/ 1016000 w 1438275"/>
                <a:gd name="connsiteY577" fmla="*/ 1193800 h 1395413"/>
                <a:gd name="connsiteX578" fmla="*/ 1012825 w 1438275"/>
                <a:gd name="connsiteY578" fmla="*/ 1200150 h 1395413"/>
                <a:gd name="connsiteX579" fmla="*/ 1012825 w 1438275"/>
                <a:gd name="connsiteY579" fmla="*/ 1201738 h 1395413"/>
                <a:gd name="connsiteX580" fmla="*/ 1006475 w 1438275"/>
                <a:gd name="connsiteY580" fmla="*/ 1204913 h 1395413"/>
                <a:gd name="connsiteX581" fmla="*/ 1004887 w 1438275"/>
                <a:gd name="connsiteY581" fmla="*/ 1204913 h 1395413"/>
                <a:gd name="connsiteX582" fmla="*/ 1001712 w 1438275"/>
                <a:gd name="connsiteY582" fmla="*/ 1195388 h 1395413"/>
                <a:gd name="connsiteX583" fmla="*/ 990600 w 1438275"/>
                <a:gd name="connsiteY583" fmla="*/ 1200150 h 1395413"/>
                <a:gd name="connsiteX584" fmla="*/ 989012 w 1438275"/>
                <a:gd name="connsiteY584" fmla="*/ 1196975 h 1395413"/>
                <a:gd name="connsiteX585" fmla="*/ 989012 w 1438275"/>
                <a:gd name="connsiteY585" fmla="*/ 1195388 h 1395413"/>
                <a:gd name="connsiteX586" fmla="*/ 984250 w 1438275"/>
                <a:gd name="connsiteY586" fmla="*/ 1193800 h 1395413"/>
                <a:gd name="connsiteX587" fmla="*/ 979487 w 1438275"/>
                <a:gd name="connsiteY587" fmla="*/ 1185863 h 1395413"/>
                <a:gd name="connsiteX588" fmla="*/ 974725 w 1438275"/>
                <a:gd name="connsiteY588" fmla="*/ 1184275 h 1395413"/>
                <a:gd name="connsiteX589" fmla="*/ 973137 w 1438275"/>
                <a:gd name="connsiteY589" fmla="*/ 1184275 h 1395413"/>
                <a:gd name="connsiteX590" fmla="*/ 973137 w 1438275"/>
                <a:gd name="connsiteY590" fmla="*/ 1185863 h 1395413"/>
                <a:gd name="connsiteX591" fmla="*/ 974725 w 1438275"/>
                <a:gd name="connsiteY591" fmla="*/ 1185863 h 1395413"/>
                <a:gd name="connsiteX592" fmla="*/ 979487 w 1438275"/>
                <a:gd name="connsiteY592" fmla="*/ 1193800 h 1395413"/>
                <a:gd name="connsiteX593" fmla="*/ 984250 w 1438275"/>
                <a:gd name="connsiteY593" fmla="*/ 1201738 h 1395413"/>
                <a:gd name="connsiteX594" fmla="*/ 984250 w 1438275"/>
                <a:gd name="connsiteY594" fmla="*/ 1204913 h 1395413"/>
                <a:gd name="connsiteX595" fmla="*/ 987425 w 1438275"/>
                <a:gd name="connsiteY595" fmla="*/ 1208088 h 1395413"/>
                <a:gd name="connsiteX596" fmla="*/ 989012 w 1438275"/>
                <a:gd name="connsiteY596" fmla="*/ 1211263 h 1395413"/>
                <a:gd name="connsiteX597" fmla="*/ 1000125 w 1438275"/>
                <a:gd name="connsiteY597" fmla="*/ 1212850 h 1395413"/>
                <a:gd name="connsiteX598" fmla="*/ 1006475 w 1438275"/>
                <a:gd name="connsiteY598" fmla="*/ 1211263 h 1395413"/>
                <a:gd name="connsiteX599" fmla="*/ 1009650 w 1438275"/>
                <a:gd name="connsiteY599" fmla="*/ 1208088 h 1395413"/>
                <a:gd name="connsiteX600" fmla="*/ 1011237 w 1438275"/>
                <a:gd name="connsiteY600" fmla="*/ 1208088 h 1395413"/>
                <a:gd name="connsiteX601" fmla="*/ 1012825 w 1438275"/>
                <a:gd name="connsiteY601" fmla="*/ 1208088 h 1395413"/>
                <a:gd name="connsiteX602" fmla="*/ 1011237 w 1438275"/>
                <a:gd name="connsiteY602" fmla="*/ 1211263 h 1395413"/>
                <a:gd name="connsiteX603" fmla="*/ 1011237 w 1438275"/>
                <a:gd name="connsiteY603" fmla="*/ 1227138 h 1395413"/>
                <a:gd name="connsiteX604" fmla="*/ 1009650 w 1438275"/>
                <a:gd name="connsiteY604" fmla="*/ 1228726 h 1395413"/>
                <a:gd name="connsiteX605" fmla="*/ 1006475 w 1438275"/>
                <a:gd name="connsiteY605" fmla="*/ 1239838 h 1395413"/>
                <a:gd name="connsiteX606" fmla="*/ 998537 w 1438275"/>
                <a:gd name="connsiteY606" fmla="*/ 1241426 h 1395413"/>
                <a:gd name="connsiteX607" fmla="*/ 998537 w 1438275"/>
                <a:gd name="connsiteY607" fmla="*/ 1244601 h 1395413"/>
                <a:gd name="connsiteX608" fmla="*/ 998537 w 1438275"/>
                <a:gd name="connsiteY608" fmla="*/ 1263651 h 1395413"/>
                <a:gd name="connsiteX609" fmla="*/ 998537 w 1438275"/>
                <a:gd name="connsiteY609" fmla="*/ 1266826 h 1395413"/>
                <a:gd name="connsiteX610" fmla="*/ 1000125 w 1438275"/>
                <a:gd name="connsiteY610" fmla="*/ 1268413 h 1395413"/>
                <a:gd name="connsiteX611" fmla="*/ 1001712 w 1438275"/>
                <a:gd name="connsiteY611" fmla="*/ 1268413 h 1395413"/>
                <a:gd name="connsiteX612" fmla="*/ 1004887 w 1438275"/>
                <a:gd name="connsiteY612" fmla="*/ 1268413 h 1395413"/>
                <a:gd name="connsiteX613" fmla="*/ 1004887 w 1438275"/>
                <a:gd name="connsiteY613" fmla="*/ 1271588 h 1395413"/>
                <a:gd name="connsiteX614" fmla="*/ 1006475 w 1438275"/>
                <a:gd name="connsiteY614" fmla="*/ 1277938 h 1395413"/>
                <a:gd name="connsiteX615" fmla="*/ 1012825 w 1438275"/>
                <a:gd name="connsiteY615" fmla="*/ 1304926 h 1395413"/>
                <a:gd name="connsiteX616" fmla="*/ 1012825 w 1438275"/>
                <a:gd name="connsiteY616" fmla="*/ 1322388 h 1395413"/>
                <a:gd name="connsiteX617" fmla="*/ 1016000 w 1438275"/>
                <a:gd name="connsiteY617" fmla="*/ 1327151 h 1395413"/>
                <a:gd name="connsiteX618" fmla="*/ 1017588 w 1438275"/>
                <a:gd name="connsiteY618" fmla="*/ 1327151 h 1395413"/>
                <a:gd name="connsiteX619" fmla="*/ 1023938 w 1438275"/>
                <a:gd name="connsiteY619" fmla="*/ 1343026 h 1395413"/>
                <a:gd name="connsiteX620" fmla="*/ 1023938 w 1438275"/>
                <a:gd name="connsiteY620" fmla="*/ 1346201 h 1395413"/>
                <a:gd name="connsiteX621" fmla="*/ 1023938 w 1438275"/>
                <a:gd name="connsiteY621" fmla="*/ 1354138 h 1395413"/>
                <a:gd name="connsiteX622" fmla="*/ 1023938 w 1438275"/>
                <a:gd name="connsiteY622" fmla="*/ 1360488 h 1395413"/>
                <a:gd name="connsiteX623" fmla="*/ 1031875 w 1438275"/>
                <a:gd name="connsiteY623" fmla="*/ 1377951 h 1395413"/>
                <a:gd name="connsiteX624" fmla="*/ 1033463 w 1438275"/>
                <a:gd name="connsiteY624" fmla="*/ 1377951 h 1395413"/>
                <a:gd name="connsiteX625" fmla="*/ 1035050 w 1438275"/>
                <a:gd name="connsiteY625" fmla="*/ 1376363 h 1395413"/>
                <a:gd name="connsiteX626" fmla="*/ 1038225 w 1438275"/>
                <a:gd name="connsiteY626" fmla="*/ 1373188 h 1395413"/>
                <a:gd name="connsiteX627" fmla="*/ 1039813 w 1438275"/>
                <a:gd name="connsiteY627" fmla="*/ 1371601 h 1395413"/>
                <a:gd name="connsiteX628" fmla="*/ 1039813 w 1438275"/>
                <a:gd name="connsiteY628" fmla="*/ 1366838 h 1395413"/>
                <a:gd name="connsiteX629" fmla="*/ 1039813 w 1438275"/>
                <a:gd name="connsiteY629" fmla="*/ 1365251 h 1395413"/>
                <a:gd name="connsiteX630" fmla="*/ 1042988 w 1438275"/>
                <a:gd name="connsiteY630" fmla="*/ 1366838 h 1395413"/>
                <a:gd name="connsiteX631" fmla="*/ 1042988 w 1438275"/>
                <a:gd name="connsiteY631" fmla="*/ 1368426 h 1395413"/>
                <a:gd name="connsiteX632" fmla="*/ 1042988 w 1438275"/>
                <a:gd name="connsiteY632" fmla="*/ 1373188 h 1395413"/>
                <a:gd name="connsiteX633" fmla="*/ 1042988 w 1438275"/>
                <a:gd name="connsiteY633" fmla="*/ 1377951 h 1395413"/>
                <a:gd name="connsiteX634" fmla="*/ 1042988 w 1438275"/>
                <a:gd name="connsiteY634" fmla="*/ 1379538 h 1395413"/>
                <a:gd name="connsiteX635" fmla="*/ 1039813 w 1438275"/>
                <a:gd name="connsiteY635" fmla="*/ 1379538 h 1395413"/>
                <a:gd name="connsiteX636" fmla="*/ 1028700 w 1438275"/>
                <a:gd name="connsiteY636" fmla="*/ 1382713 h 1395413"/>
                <a:gd name="connsiteX637" fmla="*/ 1023938 w 1438275"/>
                <a:gd name="connsiteY637" fmla="*/ 1384301 h 1395413"/>
                <a:gd name="connsiteX638" fmla="*/ 1020763 w 1438275"/>
                <a:gd name="connsiteY638" fmla="*/ 1389063 h 1395413"/>
                <a:gd name="connsiteX639" fmla="*/ 1022350 w 1438275"/>
                <a:gd name="connsiteY639" fmla="*/ 1393826 h 1395413"/>
                <a:gd name="connsiteX640" fmla="*/ 1020763 w 1438275"/>
                <a:gd name="connsiteY640" fmla="*/ 1393826 h 1395413"/>
                <a:gd name="connsiteX641" fmla="*/ 1020763 w 1438275"/>
                <a:gd name="connsiteY641" fmla="*/ 1395413 h 1395413"/>
                <a:gd name="connsiteX642" fmla="*/ 1017588 w 1438275"/>
                <a:gd name="connsiteY642" fmla="*/ 1395413 h 1395413"/>
                <a:gd name="connsiteX643" fmla="*/ 1012825 w 1438275"/>
                <a:gd name="connsiteY643" fmla="*/ 1395413 h 1395413"/>
                <a:gd name="connsiteX644" fmla="*/ 1011237 w 1438275"/>
                <a:gd name="connsiteY644" fmla="*/ 1395413 h 1395413"/>
                <a:gd name="connsiteX645" fmla="*/ 1001712 w 1438275"/>
                <a:gd name="connsiteY645" fmla="*/ 1389063 h 1395413"/>
                <a:gd name="connsiteX646" fmla="*/ 1001712 w 1438275"/>
                <a:gd name="connsiteY646" fmla="*/ 1387476 h 1395413"/>
                <a:gd name="connsiteX647" fmla="*/ 998537 w 1438275"/>
                <a:gd name="connsiteY647" fmla="*/ 1382713 h 1395413"/>
                <a:gd name="connsiteX648" fmla="*/ 990600 w 1438275"/>
                <a:gd name="connsiteY648" fmla="*/ 1373188 h 1395413"/>
                <a:gd name="connsiteX649" fmla="*/ 987425 w 1438275"/>
                <a:gd name="connsiteY649" fmla="*/ 1371601 h 1395413"/>
                <a:gd name="connsiteX650" fmla="*/ 984250 w 1438275"/>
                <a:gd name="connsiteY650" fmla="*/ 1371601 h 1395413"/>
                <a:gd name="connsiteX651" fmla="*/ 984250 w 1438275"/>
                <a:gd name="connsiteY651" fmla="*/ 1368426 h 1395413"/>
                <a:gd name="connsiteX652" fmla="*/ 971550 w 1438275"/>
                <a:gd name="connsiteY652" fmla="*/ 1366838 h 1395413"/>
                <a:gd name="connsiteX653" fmla="*/ 966787 w 1438275"/>
                <a:gd name="connsiteY653" fmla="*/ 1366838 h 1395413"/>
                <a:gd name="connsiteX654" fmla="*/ 950912 w 1438275"/>
                <a:gd name="connsiteY654" fmla="*/ 1366838 h 1395413"/>
                <a:gd name="connsiteX655" fmla="*/ 946150 w 1438275"/>
                <a:gd name="connsiteY655" fmla="*/ 1368426 h 1395413"/>
                <a:gd name="connsiteX656" fmla="*/ 944562 w 1438275"/>
                <a:gd name="connsiteY656" fmla="*/ 1368426 h 1395413"/>
                <a:gd name="connsiteX657" fmla="*/ 941387 w 1438275"/>
                <a:gd name="connsiteY657" fmla="*/ 1368426 h 1395413"/>
                <a:gd name="connsiteX658" fmla="*/ 927100 w 1438275"/>
                <a:gd name="connsiteY658" fmla="*/ 1366838 h 1395413"/>
                <a:gd name="connsiteX659" fmla="*/ 917575 w 1438275"/>
                <a:gd name="connsiteY659" fmla="*/ 1362076 h 1395413"/>
                <a:gd name="connsiteX660" fmla="*/ 915987 w 1438275"/>
                <a:gd name="connsiteY660" fmla="*/ 1360488 h 1395413"/>
                <a:gd name="connsiteX661" fmla="*/ 908050 w 1438275"/>
                <a:gd name="connsiteY661" fmla="*/ 1355726 h 1395413"/>
                <a:gd name="connsiteX662" fmla="*/ 906462 w 1438275"/>
                <a:gd name="connsiteY662" fmla="*/ 1349376 h 1395413"/>
                <a:gd name="connsiteX663" fmla="*/ 901700 w 1438275"/>
                <a:gd name="connsiteY663" fmla="*/ 1346201 h 1395413"/>
                <a:gd name="connsiteX664" fmla="*/ 900112 w 1438275"/>
                <a:gd name="connsiteY664" fmla="*/ 1344613 h 1395413"/>
                <a:gd name="connsiteX665" fmla="*/ 885825 w 1438275"/>
                <a:gd name="connsiteY665" fmla="*/ 1343026 h 1395413"/>
                <a:gd name="connsiteX666" fmla="*/ 882650 w 1438275"/>
                <a:gd name="connsiteY666" fmla="*/ 1343026 h 1395413"/>
                <a:gd name="connsiteX667" fmla="*/ 873125 w 1438275"/>
                <a:gd name="connsiteY667" fmla="*/ 1338263 h 1395413"/>
                <a:gd name="connsiteX668" fmla="*/ 868362 w 1438275"/>
                <a:gd name="connsiteY668" fmla="*/ 1333501 h 1395413"/>
                <a:gd name="connsiteX669" fmla="*/ 863600 w 1438275"/>
                <a:gd name="connsiteY669" fmla="*/ 1328738 h 1395413"/>
                <a:gd name="connsiteX670" fmla="*/ 849312 w 1438275"/>
                <a:gd name="connsiteY670" fmla="*/ 1323976 h 1395413"/>
                <a:gd name="connsiteX671" fmla="*/ 841375 w 1438275"/>
                <a:gd name="connsiteY671" fmla="*/ 1322388 h 1395413"/>
                <a:gd name="connsiteX672" fmla="*/ 828675 w 1438275"/>
                <a:gd name="connsiteY672" fmla="*/ 1317626 h 1395413"/>
                <a:gd name="connsiteX673" fmla="*/ 823912 w 1438275"/>
                <a:gd name="connsiteY673" fmla="*/ 1306513 h 1395413"/>
                <a:gd name="connsiteX674" fmla="*/ 817562 w 1438275"/>
                <a:gd name="connsiteY674" fmla="*/ 1282701 h 1395413"/>
                <a:gd name="connsiteX675" fmla="*/ 812800 w 1438275"/>
                <a:gd name="connsiteY675" fmla="*/ 1268413 h 1395413"/>
                <a:gd name="connsiteX676" fmla="*/ 811212 w 1438275"/>
                <a:gd name="connsiteY676" fmla="*/ 1266826 h 1395413"/>
                <a:gd name="connsiteX677" fmla="*/ 811212 w 1438275"/>
                <a:gd name="connsiteY677" fmla="*/ 1262063 h 1395413"/>
                <a:gd name="connsiteX678" fmla="*/ 808037 w 1438275"/>
                <a:gd name="connsiteY678" fmla="*/ 1262063 h 1395413"/>
                <a:gd name="connsiteX679" fmla="*/ 804862 w 1438275"/>
                <a:gd name="connsiteY679" fmla="*/ 1262063 h 1395413"/>
                <a:gd name="connsiteX680" fmla="*/ 804862 w 1438275"/>
                <a:gd name="connsiteY680" fmla="*/ 1260476 h 1395413"/>
                <a:gd name="connsiteX681" fmla="*/ 788987 w 1438275"/>
                <a:gd name="connsiteY681" fmla="*/ 1238251 h 1395413"/>
                <a:gd name="connsiteX682" fmla="*/ 790575 w 1438275"/>
                <a:gd name="connsiteY682" fmla="*/ 1211263 h 1395413"/>
                <a:gd name="connsiteX683" fmla="*/ 788987 w 1438275"/>
                <a:gd name="connsiteY683" fmla="*/ 1182688 h 1395413"/>
                <a:gd name="connsiteX684" fmla="*/ 784225 w 1438275"/>
                <a:gd name="connsiteY684" fmla="*/ 1171575 h 1395413"/>
                <a:gd name="connsiteX685" fmla="*/ 784225 w 1438275"/>
                <a:gd name="connsiteY685" fmla="*/ 1168400 h 1395413"/>
                <a:gd name="connsiteX686" fmla="*/ 782637 w 1438275"/>
                <a:gd name="connsiteY686" fmla="*/ 1166813 h 1395413"/>
                <a:gd name="connsiteX687" fmla="*/ 779462 w 1438275"/>
                <a:gd name="connsiteY687" fmla="*/ 1163638 h 1395413"/>
                <a:gd name="connsiteX688" fmla="*/ 774700 w 1438275"/>
                <a:gd name="connsiteY688" fmla="*/ 1160463 h 1395413"/>
                <a:gd name="connsiteX689" fmla="*/ 773112 w 1438275"/>
                <a:gd name="connsiteY689" fmla="*/ 1160463 h 1395413"/>
                <a:gd name="connsiteX690" fmla="*/ 763587 w 1438275"/>
                <a:gd name="connsiteY690" fmla="*/ 1157288 h 1395413"/>
                <a:gd name="connsiteX691" fmla="*/ 762000 w 1438275"/>
                <a:gd name="connsiteY691" fmla="*/ 1157288 h 1395413"/>
                <a:gd name="connsiteX692" fmla="*/ 758825 w 1438275"/>
                <a:gd name="connsiteY692" fmla="*/ 1155700 h 1395413"/>
                <a:gd name="connsiteX693" fmla="*/ 758825 w 1438275"/>
                <a:gd name="connsiteY693" fmla="*/ 1152525 h 1395413"/>
                <a:gd name="connsiteX694" fmla="*/ 758825 w 1438275"/>
                <a:gd name="connsiteY694" fmla="*/ 1150938 h 1395413"/>
                <a:gd name="connsiteX695" fmla="*/ 757237 w 1438275"/>
                <a:gd name="connsiteY695" fmla="*/ 1149350 h 1395413"/>
                <a:gd name="connsiteX696" fmla="*/ 755650 w 1438275"/>
                <a:gd name="connsiteY696" fmla="*/ 1149350 h 1395413"/>
                <a:gd name="connsiteX697" fmla="*/ 752475 w 1438275"/>
                <a:gd name="connsiteY697" fmla="*/ 1146175 h 1395413"/>
                <a:gd name="connsiteX698" fmla="*/ 752475 w 1438275"/>
                <a:gd name="connsiteY698" fmla="*/ 1144588 h 1395413"/>
                <a:gd name="connsiteX699" fmla="*/ 750887 w 1438275"/>
                <a:gd name="connsiteY699" fmla="*/ 1144588 h 1395413"/>
                <a:gd name="connsiteX700" fmla="*/ 747712 w 1438275"/>
                <a:gd name="connsiteY700" fmla="*/ 1141413 h 1395413"/>
                <a:gd name="connsiteX701" fmla="*/ 746125 w 1438275"/>
                <a:gd name="connsiteY701" fmla="*/ 1139825 h 1395413"/>
                <a:gd name="connsiteX702" fmla="*/ 744537 w 1438275"/>
                <a:gd name="connsiteY702" fmla="*/ 1138238 h 1395413"/>
                <a:gd name="connsiteX703" fmla="*/ 744537 w 1438275"/>
                <a:gd name="connsiteY703" fmla="*/ 1133475 h 1395413"/>
                <a:gd name="connsiteX704" fmla="*/ 744537 w 1438275"/>
                <a:gd name="connsiteY704" fmla="*/ 1127125 h 1395413"/>
                <a:gd name="connsiteX705" fmla="*/ 736600 w 1438275"/>
                <a:gd name="connsiteY705" fmla="*/ 1117600 h 1395413"/>
                <a:gd name="connsiteX706" fmla="*/ 735012 w 1438275"/>
                <a:gd name="connsiteY706" fmla="*/ 1116013 h 1395413"/>
                <a:gd name="connsiteX707" fmla="*/ 723900 w 1438275"/>
                <a:gd name="connsiteY707" fmla="*/ 1096963 h 1395413"/>
                <a:gd name="connsiteX708" fmla="*/ 722312 w 1438275"/>
                <a:gd name="connsiteY708" fmla="*/ 1093788 h 1395413"/>
                <a:gd name="connsiteX709" fmla="*/ 719137 w 1438275"/>
                <a:gd name="connsiteY709" fmla="*/ 1093788 h 1395413"/>
                <a:gd name="connsiteX710" fmla="*/ 719137 w 1438275"/>
                <a:gd name="connsiteY710" fmla="*/ 1090613 h 1395413"/>
                <a:gd name="connsiteX711" fmla="*/ 717550 w 1438275"/>
                <a:gd name="connsiteY711" fmla="*/ 1090613 h 1395413"/>
                <a:gd name="connsiteX712" fmla="*/ 711200 w 1438275"/>
                <a:gd name="connsiteY712" fmla="*/ 1085850 h 1395413"/>
                <a:gd name="connsiteX713" fmla="*/ 703262 w 1438275"/>
                <a:gd name="connsiteY713" fmla="*/ 1082675 h 1395413"/>
                <a:gd name="connsiteX714" fmla="*/ 700087 w 1438275"/>
                <a:gd name="connsiteY714" fmla="*/ 1077913 h 1395413"/>
                <a:gd name="connsiteX715" fmla="*/ 700087 w 1438275"/>
                <a:gd name="connsiteY715" fmla="*/ 1074738 h 1395413"/>
                <a:gd name="connsiteX716" fmla="*/ 692150 w 1438275"/>
                <a:gd name="connsiteY716" fmla="*/ 1062038 h 1395413"/>
                <a:gd name="connsiteX717" fmla="*/ 692150 w 1438275"/>
                <a:gd name="connsiteY717" fmla="*/ 1058863 h 1395413"/>
                <a:gd name="connsiteX718" fmla="*/ 692150 w 1438275"/>
                <a:gd name="connsiteY718" fmla="*/ 1057275 h 1395413"/>
                <a:gd name="connsiteX719" fmla="*/ 695325 w 1438275"/>
                <a:gd name="connsiteY719" fmla="*/ 1057275 h 1395413"/>
                <a:gd name="connsiteX720" fmla="*/ 690562 w 1438275"/>
                <a:gd name="connsiteY720" fmla="*/ 1047750 h 1395413"/>
                <a:gd name="connsiteX721" fmla="*/ 690562 w 1438275"/>
                <a:gd name="connsiteY721" fmla="*/ 1046163 h 1395413"/>
                <a:gd name="connsiteX722" fmla="*/ 685800 w 1438275"/>
                <a:gd name="connsiteY722" fmla="*/ 1036638 h 1395413"/>
                <a:gd name="connsiteX723" fmla="*/ 681037 w 1438275"/>
                <a:gd name="connsiteY723" fmla="*/ 1030288 h 1395413"/>
                <a:gd name="connsiteX724" fmla="*/ 677862 w 1438275"/>
                <a:gd name="connsiteY724" fmla="*/ 1025525 h 1395413"/>
                <a:gd name="connsiteX725" fmla="*/ 677862 w 1438275"/>
                <a:gd name="connsiteY725" fmla="*/ 1023938 h 1395413"/>
                <a:gd name="connsiteX726" fmla="*/ 677862 w 1438275"/>
                <a:gd name="connsiteY726" fmla="*/ 1022350 h 1395413"/>
                <a:gd name="connsiteX727" fmla="*/ 674687 w 1438275"/>
                <a:gd name="connsiteY727" fmla="*/ 1022350 h 1395413"/>
                <a:gd name="connsiteX728" fmla="*/ 677862 w 1438275"/>
                <a:gd name="connsiteY728" fmla="*/ 1019175 h 1395413"/>
                <a:gd name="connsiteX729" fmla="*/ 677862 w 1438275"/>
                <a:gd name="connsiteY729" fmla="*/ 1017588 h 1395413"/>
                <a:gd name="connsiteX730" fmla="*/ 674687 w 1438275"/>
                <a:gd name="connsiteY730" fmla="*/ 1017588 h 1395413"/>
                <a:gd name="connsiteX731" fmla="*/ 673100 w 1438275"/>
                <a:gd name="connsiteY731" fmla="*/ 1006475 h 1395413"/>
                <a:gd name="connsiteX732" fmla="*/ 673100 w 1438275"/>
                <a:gd name="connsiteY732" fmla="*/ 1003300 h 1395413"/>
                <a:gd name="connsiteX733" fmla="*/ 668337 w 1438275"/>
                <a:gd name="connsiteY733" fmla="*/ 1000125 h 1395413"/>
                <a:gd name="connsiteX734" fmla="*/ 666750 w 1438275"/>
                <a:gd name="connsiteY734" fmla="*/ 995363 h 1395413"/>
                <a:gd name="connsiteX735" fmla="*/ 661987 w 1438275"/>
                <a:gd name="connsiteY735" fmla="*/ 990600 h 1395413"/>
                <a:gd name="connsiteX736" fmla="*/ 661987 w 1438275"/>
                <a:gd name="connsiteY736" fmla="*/ 989013 h 1395413"/>
                <a:gd name="connsiteX737" fmla="*/ 658812 w 1438275"/>
                <a:gd name="connsiteY737" fmla="*/ 989013 h 1395413"/>
                <a:gd name="connsiteX738" fmla="*/ 661987 w 1438275"/>
                <a:gd name="connsiteY738" fmla="*/ 984250 h 1395413"/>
                <a:gd name="connsiteX739" fmla="*/ 661987 w 1438275"/>
                <a:gd name="connsiteY739" fmla="*/ 981075 h 1395413"/>
                <a:gd name="connsiteX740" fmla="*/ 657225 w 1438275"/>
                <a:gd name="connsiteY740" fmla="*/ 968375 h 1395413"/>
                <a:gd name="connsiteX741" fmla="*/ 644525 w 1438275"/>
                <a:gd name="connsiteY741" fmla="*/ 947738 h 1395413"/>
                <a:gd name="connsiteX742" fmla="*/ 641350 w 1438275"/>
                <a:gd name="connsiteY742" fmla="*/ 947738 h 1395413"/>
                <a:gd name="connsiteX743" fmla="*/ 628650 w 1438275"/>
                <a:gd name="connsiteY743" fmla="*/ 936625 h 1395413"/>
                <a:gd name="connsiteX744" fmla="*/ 625475 w 1438275"/>
                <a:gd name="connsiteY744" fmla="*/ 935038 h 1395413"/>
                <a:gd name="connsiteX745" fmla="*/ 617537 w 1438275"/>
                <a:gd name="connsiteY745" fmla="*/ 925513 h 1395413"/>
                <a:gd name="connsiteX746" fmla="*/ 617537 w 1438275"/>
                <a:gd name="connsiteY746" fmla="*/ 923925 h 1395413"/>
                <a:gd name="connsiteX747" fmla="*/ 617537 w 1438275"/>
                <a:gd name="connsiteY747" fmla="*/ 922338 h 1395413"/>
                <a:gd name="connsiteX748" fmla="*/ 614362 w 1438275"/>
                <a:gd name="connsiteY748" fmla="*/ 922338 h 1395413"/>
                <a:gd name="connsiteX749" fmla="*/ 612775 w 1438275"/>
                <a:gd name="connsiteY749" fmla="*/ 919163 h 1395413"/>
                <a:gd name="connsiteX750" fmla="*/ 608012 w 1438275"/>
                <a:gd name="connsiteY750" fmla="*/ 919163 h 1395413"/>
                <a:gd name="connsiteX751" fmla="*/ 606425 w 1438275"/>
                <a:gd name="connsiteY751" fmla="*/ 917575 h 1395413"/>
                <a:gd name="connsiteX752" fmla="*/ 596900 w 1438275"/>
                <a:gd name="connsiteY752" fmla="*/ 911225 h 1395413"/>
                <a:gd name="connsiteX753" fmla="*/ 585787 w 1438275"/>
                <a:gd name="connsiteY753" fmla="*/ 901700 h 1395413"/>
                <a:gd name="connsiteX754" fmla="*/ 581025 w 1438275"/>
                <a:gd name="connsiteY754" fmla="*/ 895350 h 1395413"/>
                <a:gd name="connsiteX755" fmla="*/ 579437 w 1438275"/>
                <a:gd name="connsiteY755" fmla="*/ 892175 h 1395413"/>
                <a:gd name="connsiteX756" fmla="*/ 579437 w 1438275"/>
                <a:gd name="connsiteY756" fmla="*/ 890588 h 1395413"/>
                <a:gd name="connsiteX757" fmla="*/ 577850 w 1438275"/>
                <a:gd name="connsiteY757" fmla="*/ 881063 h 1395413"/>
                <a:gd name="connsiteX758" fmla="*/ 569912 w 1438275"/>
                <a:gd name="connsiteY758" fmla="*/ 881063 h 1395413"/>
                <a:gd name="connsiteX759" fmla="*/ 561975 w 1438275"/>
                <a:gd name="connsiteY759" fmla="*/ 881063 h 1395413"/>
                <a:gd name="connsiteX760" fmla="*/ 552450 w 1438275"/>
                <a:gd name="connsiteY760" fmla="*/ 881063 h 1395413"/>
                <a:gd name="connsiteX761" fmla="*/ 542925 w 1438275"/>
                <a:gd name="connsiteY761" fmla="*/ 879475 h 1395413"/>
                <a:gd name="connsiteX762" fmla="*/ 539750 w 1438275"/>
                <a:gd name="connsiteY762" fmla="*/ 879475 h 1395413"/>
                <a:gd name="connsiteX763" fmla="*/ 534987 w 1438275"/>
                <a:gd name="connsiteY763" fmla="*/ 877888 h 1395413"/>
                <a:gd name="connsiteX764" fmla="*/ 530225 w 1438275"/>
                <a:gd name="connsiteY764" fmla="*/ 877888 h 1395413"/>
                <a:gd name="connsiteX765" fmla="*/ 523875 w 1438275"/>
                <a:gd name="connsiteY765" fmla="*/ 877888 h 1395413"/>
                <a:gd name="connsiteX766" fmla="*/ 512762 w 1438275"/>
                <a:gd name="connsiteY766" fmla="*/ 877888 h 1395413"/>
                <a:gd name="connsiteX767" fmla="*/ 506412 w 1438275"/>
                <a:gd name="connsiteY767" fmla="*/ 877888 h 1395413"/>
                <a:gd name="connsiteX768" fmla="*/ 503237 w 1438275"/>
                <a:gd name="connsiteY768" fmla="*/ 877888 h 1395413"/>
                <a:gd name="connsiteX769" fmla="*/ 498475 w 1438275"/>
                <a:gd name="connsiteY769" fmla="*/ 877888 h 1395413"/>
                <a:gd name="connsiteX770" fmla="*/ 496887 w 1438275"/>
                <a:gd name="connsiteY770" fmla="*/ 877888 h 1395413"/>
                <a:gd name="connsiteX771" fmla="*/ 485775 w 1438275"/>
                <a:gd name="connsiteY771" fmla="*/ 869950 h 1395413"/>
                <a:gd name="connsiteX772" fmla="*/ 484187 w 1438275"/>
                <a:gd name="connsiteY772" fmla="*/ 868363 h 1395413"/>
                <a:gd name="connsiteX773" fmla="*/ 481012 w 1438275"/>
                <a:gd name="connsiteY773" fmla="*/ 868363 h 1395413"/>
                <a:gd name="connsiteX774" fmla="*/ 479425 w 1438275"/>
                <a:gd name="connsiteY774" fmla="*/ 866775 h 1395413"/>
                <a:gd name="connsiteX775" fmla="*/ 476250 w 1438275"/>
                <a:gd name="connsiteY775" fmla="*/ 866775 h 1395413"/>
                <a:gd name="connsiteX776" fmla="*/ 473075 w 1438275"/>
                <a:gd name="connsiteY776" fmla="*/ 869950 h 1395413"/>
                <a:gd name="connsiteX777" fmla="*/ 457200 w 1438275"/>
                <a:gd name="connsiteY777" fmla="*/ 879475 h 1395413"/>
                <a:gd name="connsiteX778" fmla="*/ 450850 w 1438275"/>
                <a:gd name="connsiteY778" fmla="*/ 881063 h 1395413"/>
                <a:gd name="connsiteX779" fmla="*/ 436562 w 1438275"/>
                <a:gd name="connsiteY779" fmla="*/ 885825 h 1395413"/>
                <a:gd name="connsiteX780" fmla="*/ 423862 w 1438275"/>
                <a:gd name="connsiteY780" fmla="*/ 919163 h 1395413"/>
                <a:gd name="connsiteX781" fmla="*/ 417512 w 1438275"/>
                <a:gd name="connsiteY781" fmla="*/ 936625 h 1395413"/>
                <a:gd name="connsiteX782" fmla="*/ 412750 w 1438275"/>
                <a:gd name="connsiteY782" fmla="*/ 947738 h 1395413"/>
                <a:gd name="connsiteX783" fmla="*/ 406400 w 1438275"/>
                <a:gd name="connsiteY783" fmla="*/ 957263 h 1395413"/>
                <a:gd name="connsiteX784" fmla="*/ 396875 w 1438275"/>
                <a:gd name="connsiteY784" fmla="*/ 969963 h 1395413"/>
                <a:gd name="connsiteX785" fmla="*/ 384175 w 1438275"/>
                <a:gd name="connsiteY785" fmla="*/ 984250 h 1395413"/>
                <a:gd name="connsiteX786" fmla="*/ 381000 w 1438275"/>
                <a:gd name="connsiteY786" fmla="*/ 984250 h 1395413"/>
                <a:gd name="connsiteX787" fmla="*/ 369887 w 1438275"/>
                <a:gd name="connsiteY787" fmla="*/ 981075 h 1395413"/>
                <a:gd name="connsiteX788" fmla="*/ 368300 w 1438275"/>
                <a:gd name="connsiteY788" fmla="*/ 981075 h 1395413"/>
                <a:gd name="connsiteX789" fmla="*/ 360362 w 1438275"/>
                <a:gd name="connsiteY789" fmla="*/ 979488 h 1395413"/>
                <a:gd name="connsiteX790" fmla="*/ 357187 w 1438275"/>
                <a:gd name="connsiteY790" fmla="*/ 977900 h 1395413"/>
                <a:gd name="connsiteX791" fmla="*/ 349250 w 1438275"/>
                <a:gd name="connsiteY791" fmla="*/ 973138 h 1395413"/>
                <a:gd name="connsiteX792" fmla="*/ 347662 w 1438275"/>
                <a:gd name="connsiteY792" fmla="*/ 969963 h 1395413"/>
                <a:gd name="connsiteX793" fmla="*/ 342900 w 1438275"/>
                <a:gd name="connsiteY793" fmla="*/ 966788 h 1395413"/>
                <a:gd name="connsiteX794" fmla="*/ 320675 w 1438275"/>
                <a:gd name="connsiteY794" fmla="*/ 957263 h 1395413"/>
                <a:gd name="connsiteX795" fmla="*/ 303212 w 1438275"/>
                <a:gd name="connsiteY795" fmla="*/ 944563 h 1395413"/>
                <a:gd name="connsiteX796" fmla="*/ 293687 w 1438275"/>
                <a:gd name="connsiteY796" fmla="*/ 941388 h 1395413"/>
                <a:gd name="connsiteX797" fmla="*/ 290512 w 1438275"/>
                <a:gd name="connsiteY797" fmla="*/ 939800 h 1395413"/>
                <a:gd name="connsiteX798" fmla="*/ 287337 w 1438275"/>
                <a:gd name="connsiteY798" fmla="*/ 939800 h 1395413"/>
                <a:gd name="connsiteX799" fmla="*/ 285750 w 1438275"/>
                <a:gd name="connsiteY799" fmla="*/ 936625 h 1395413"/>
                <a:gd name="connsiteX800" fmla="*/ 282575 w 1438275"/>
                <a:gd name="connsiteY800" fmla="*/ 935038 h 1395413"/>
                <a:gd name="connsiteX801" fmla="*/ 271462 w 1438275"/>
                <a:gd name="connsiteY801" fmla="*/ 925513 h 1395413"/>
                <a:gd name="connsiteX802" fmla="*/ 269875 w 1438275"/>
                <a:gd name="connsiteY802" fmla="*/ 923925 h 1395413"/>
                <a:gd name="connsiteX803" fmla="*/ 269875 w 1438275"/>
                <a:gd name="connsiteY803" fmla="*/ 922338 h 1395413"/>
                <a:gd name="connsiteX804" fmla="*/ 269875 w 1438275"/>
                <a:gd name="connsiteY804" fmla="*/ 919163 h 1395413"/>
                <a:gd name="connsiteX805" fmla="*/ 268287 w 1438275"/>
                <a:gd name="connsiteY805" fmla="*/ 917575 h 1395413"/>
                <a:gd name="connsiteX806" fmla="*/ 263525 w 1438275"/>
                <a:gd name="connsiteY806" fmla="*/ 914400 h 1395413"/>
                <a:gd name="connsiteX807" fmla="*/ 260350 w 1438275"/>
                <a:gd name="connsiteY807" fmla="*/ 912813 h 1395413"/>
                <a:gd name="connsiteX808" fmla="*/ 258762 w 1438275"/>
                <a:gd name="connsiteY808" fmla="*/ 912813 h 1395413"/>
                <a:gd name="connsiteX809" fmla="*/ 257175 w 1438275"/>
                <a:gd name="connsiteY809" fmla="*/ 912813 h 1395413"/>
                <a:gd name="connsiteX810" fmla="*/ 254000 w 1438275"/>
                <a:gd name="connsiteY810" fmla="*/ 912813 h 1395413"/>
                <a:gd name="connsiteX811" fmla="*/ 246062 w 1438275"/>
                <a:gd name="connsiteY811" fmla="*/ 908050 h 1395413"/>
                <a:gd name="connsiteX812" fmla="*/ 242887 w 1438275"/>
                <a:gd name="connsiteY812" fmla="*/ 903288 h 1395413"/>
                <a:gd name="connsiteX813" fmla="*/ 231775 w 1438275"/>
                <a:gd name="connsiteY813" fmla="*/ 895350 h 1395413"/>
                <a:gd name="connsiteX814" fmla="*/ 219075 w 1438275"/>
                <a:gd name="connsiteY814" fmla="*/ 858838 h 1395413"/>
                <a:gd name="connsiteX815" fmla="*/ 215900 w 1438275"/>
                <a:gd name="connsiteY815" fmla="*/ 858838 h 1395413"/>
                <a:gd name="connsiteX816" fmla="*/ 215900 w 1438275"/>
                <a:gd name="connsiteY816" fmla="*/ 850900 h 1395413"/>
                <a:gd name="connsiteX817" fmla="*/ 214312 w 1438275"/>
                <a:gd name="connsiteY817" fmla="*/ 846138 h 1395413"/>
                <a:gd name="connsiteX818" fmla="*/ 214312 w 1438275"/>
                <a:gd name="connsiteY818" fmla="*/ 842963 h 1395413"/>
                <a:gd name="connsiteX819" fmla="*/ 215900 w 1438275"/>
                <a:gd name="connsiteY819" fmla="*/ 839788 h 1395413"/>
                <a:gd name="connsiteX820" fmla="*/ 215900 w 1438275"/>
                <a:gd name="connsiteY820" fmla="*/ 836613 h 1395413"/>
                <a:gd name="connsiteX821" fmla="*/ 219075 w 1438275"/>
                <a:gd name="connsiteY821" fmla="*/ 830263 h 1395413"/>
                <a:gd name="connsiteX822" fmla="*/ 215900 w 1438275"/>
                <a:gd name="connsiteY822" fmla="*/ 825500 h 1395413"/>
                <a:gd name="connsiteX823" fmla="*/ 214312 w 1438275"/>
                <a:gd name="connsiteY823" fmla="*/ 820738 h 1395413"/>
                <a:gd name="connsiteX824" fmla="*/ 207962 w 1438275"/>
                <a:gd name="connsiteY824" fmla="*/ 809625 h 1395413"/>
                <a:gd name="connsiteX825" fmla="*/ 201612 w 1438275"/>
                <a:gd name="connsiteY825" fmla="*/ 801688 h 1395413"/>
                <a:gd name="connsiteX826" fmla="*/ 196850 w 1438275"/>
                <a:gd name="connsiteY826" fmla="*/ 790575 h 1395413"/>
                <a:gd name="connsiteX827" fmla="*/ 196850 w 1438275"/>
                <a:gd name="connsiteY827" fmla="*/ 784225 h 1395413"/>
                <a:gd name="connsiteX828" fmla="*/ 193675 w 1438275"/>
                <a:gd name="connsiteY828" fmla="*/ 779463 h 1395413"/>
                <a:gd name="connsiteX829" fmla="*/ 193675 w 1438275"/>
                <a:gd name="connsiteY829" fmla="*/ 776288 h 1395413"/>
                <a:gd name="connsiteX830" fmla="*/ 190500 w 1438275"/>
                <a:gd name="connsiteY830" fmla="*/ 773113 h 1395413"/>
                <a:gd name="connsiteX831" fmla="*/ 182562 w 1438275"/>
                <a:gd name="connsiteY831" fmla="*/ 768350 h 1395413"/>
                <a:gd name="connsiteX832" fmla="*/ 176212 w 1438275"/>
                <a:gd name="connsiteY832" fmla="*/ 762000 h 1395413"/>
                <a:gd name="connsiteX833" fmla="*/ 168275 w 1438275"/>
                <a:gd name="connsiteY833" fmla="*/ 752475 h 1395413"/>
                <a:gd name="connsiteX834" fmla="*/ 163512 w 1438275"/>
                <a:gd name="connsiteY834" fmla="*/ 750888 h 1395413"/>
                <a:gd name="connsiteX835" fmla="*/ 158750 w 1438275"/>
                <a:gd name="connsiteY835" fmla="*/ 746125 h 1395413"/>
                <a:gd name="connsiteX836" fmla="*/ 155575 w 1438275"/>
                <a:gd name="connsiteY836" fmla="*/ 746125 h 1395413"/>
                <a:gd name="connsiteX837" fmla="*/ 153987 w 1438275"/>
                <a:gd name="connsiteY837" fmla="*/ 747713 h 1395413"/>
                <a:gd name="connsiteX838" fmla="*/ 138112 w 1438275"/>
                <a:gd name="connsiteY838" fmla="*/ 739775 h 1395413"/>
                <a:gd name="connsiteX839" fmla="*/ 130175 w 1438275"/>
                <a:gd name="connsiteY839" fmla="*/ 728663 h 1395413"/>
                <a:gd name="connsiteX840" fmla="*/ 127000 w 1438275"/>
                <a:gd name="connsiteY840" fmla="*/ 728663 h 1395413"/>
                <a:gd name="connsiteX841" fmla="*/ 122237 w 1438275"/>
                <a:gd name="connsiteY841" fmla="*/ 720725 h 1395413"/>
                <a:gd name="connsiteX842" fmla="*/ 119062 w 1438275"/>
                <a:gd name="connsiteY842" fmla="*/ 714375 h 1395413"/>
                <a:gd name="connsiteX843" fmla="*/ 119062 w 1438275"/>
                <a:gd name="connsiteY843" fmla="*/ 712788 h 1395413"/>
                <a:gd name="connsiteX844" fmla="*/ 115887 w 1438275"/>
                <a:gd name="connsiteY844" fmla="*/ 709613 h 1395413"/>
                <a:gd name="connsiteX845" fmla="*/ 104775 w 1438275"/>
                <a:gd name="connsiteY845" fmla="*/ 701675 h 1395413"/>
                <a:gd name="connsiteX846" fmla="*/ 98425 w 1438275"/>
                <a:gd name="connsiteY846" fmla="*/ 696913 h 1395413"/>
                <a:gd name="connsiteX847" fmla="*/ 96837 w 1438275"/>
                <a:gd name="connsiteY847" fmla="*/ 696913 h 1395413"/>
                <a:gd name="connsiteX848" fmla="*/ 96837 w 1438275"/>
                <a:gd name="connsiteY848" fmla="*/ 695325 h 1395413"/>
                <a:gd name="connsiteX849" fmla="*/ 96837 w 1438275"/>
                <a:gd name="connsiteY849" fmla="*/ 692150 h 1395413"/>
                <a:gd name="connsiteX850" fmla="*/ 92075 w 1438275"/>
                <a:gd name="connsiteY850" fmla="*/ 687388 h 1395413"/>
                <a:gd name="connsiteX851" fmla="*/ 88900 w 1438275"/>
                <a:gd name="connsiteY851" fmla="*/ 685800 h 1395413"/>
                <a:gd name="connsiteX852" fmla="*/ 87312 w 1438275"/>
                <a:gd name="connsiteY852" fmla="*/ 684213 h 1395413"/>
                <a:gd name="connsiteX853" fmla="*/ 76200 w 1438275"/>
                <a:gd name="connsiteY853" fmla="*/ 673100 h 1395413"/>
                <a:gd name="connsiteX854" fmla="*/ 71437 w 1438275"/>
                <a:gd name="connsiteY854" fmla="*/ 668338 h 1395413"/>
                <a:gd name="connsiteX855" fmla="*/ 66675 w 1438275"/>
                <a:gd name="connsiteY855" fmla="*/ 668338 h 1395413"/>
                <a:gd name="connsiteX856" fmla="*/ 65087 w 1438275"/>
                <a:gd name="connsiteY856" fmla="*/ 668338 h 1395413"/>
                <a:gd name="connsiteX857" fmla="*/ 55562 w 1438275"/>
                <a:gd name="connsiteY857" fmla="*/ 663575 h 1395413"/>
                <a:gd name="connsiteX858" fmla="*/ 49212 w 1438275"/>
                <a:gd name="connsiteY858" fmla="*/ 658813 h 1395413"/>
                <a:gd name="connsiteX859" fmla="*/ 42862 w 1438275"/>
                <a:gd name="connsiteY859" fmla="*/ 647700 h 1395413"/>
                <a:gd name="connsiteX860" fmla="*/ 42862 w 1438275"/>
                <a:gd name="connsiteY860" fmla="*/ 646113 h 1395413"/>
                <a:gd name="connsiteX861" fmla="*/ 41275 w 1438275"/>
                <a:gd name="connsiteY861" fmla="*/ 641350 h 1395413"/>
                <a:gd name="connsiteX862" fmla="*/ 38100 w 1438275"/>
                <a:gd name="connsiteY862" fmla="*/ 636588 h 1395413"/>
                <a:gd name="connsiteX863" fmla="*/ 36512 w 1438275"/>
                <a:gd name="connsiteY863" fmla="*/ 630238 h 1395413"/>
                <a:gd name="connsiteX864" fmla="*/ 30162 w 1438275"/>
                <a:gd name="connsiteY864" fmla="*/ 623888 h 1395413"/>
                <a:gd name="connsiteX865" fmla="*/ 30162 w 1438275"/>
                <a:gd name="connsiteY865" fmla="*/ 620713 h 1395413"/>
                <a:gd name="connsiteX866" fmla="*/ 26987 w 1438275"/>
                <a:gd name="connsiteY866" fmla="*/ 620713 h 1395413"/>
                <a:gd name="connsiteX867" fmla="*/ 25400 w 1438275"/>
                <a:gd name="connsiteY867" fmla="*/ 620713 h 1395413"/>
                <a:gd name="connsiteX868" fmla="*/ 22225 w 1438275"/>
                <a:gd name="connsiteY868" fmla="*/ 620713 h 1395413"/>
                <a:gd name="connsiteX869" fmla="*/ 19050 w 1438275"/>
                <a:gd name="connsiteY869" fmla="*/ 620713 h 1395413"/>
                <a:gd name="connsiteX870" fmla="*/ 15875 w 1438275"/>
                <a:gd name="connsiteY870" fmla="*/ 619125 h 1395413"/>
                <a:gd name="connsiteX871" fmla="*/ 9525 w 1438275"/>
                <a:gd name="connsiteY871" fmla="*/ 612775 h 1395413"/>
                <a:gd name="connsiteX872" fmla="*/ 7937 w 1438275"/>
                <a:gd name="connsiteY872" fmla="*/ 612775 h 1395413"/>
                <a:gd name="connsiteX873" fmla="*/ 3175 w 1438275"/>
                <a:gd name="connsiteY873" fmla="*/ 603250 h 1395413"/>
                <a:gd name="connsiteX874" fmla="*/ 0 w 1438275"/>
                <a:gd name="connsiteY874" fmla="*/ 592138 h 1395413"/>
                <a:gd name="connsiteX875" fmla="*/ 0 w 1438275"/>
                <a:gd name="connsiteY875" fmla="*/ 590550 h 1395413"/>
                <a:gd name="connsiteX876" fmla="*/ 4762 w 1438275"/>
                <a:gd name="connsiteY876" fmla="*/ 590550 h 1395413"/>
                <a:gd name="connsiteX877" fmla="*/ 63500 w 1438275"/>
                <a:gd name="connsiteY877" fmla="*/ 590550 h 1395413"/>
                <a:gd name="connsiteX878" fmla="*/ 236537 w 1438275"/>
                <a:gd name="connsiteY878" fmla="*/ 590550 h 1395413"/>
                <a:gd name="connsiteX879" fmla="*/ 301625 w 1438275"/>
                <a:gd name="connsiteY879" fmla="*/ 590550 h 1395413"/>
                <a:gd name="connsiteX880" fmla="*/ 365125 w 1438275"/>
                <a:gd name="connsiteY880" fmla="*/ 590550 h 1395413"/>
                <a:gd name="connsiteX881" fmla="*/ 395287 w 1438275"/>
                <a:gd name="connsiteY881" fmla="*/ 590550 h 1395413"/>
                <a:gd name="connsiteX882" fmla="*/ 395287 w 1438275"/>
                <a:gd name="connsiteY882" fmla="*/ 560388 h 1395413"/>
                <a:gd name="connsiteX883" fmla="*/ 395287 w 1438275"/>
                <a:gd name="connsiteY883" fmla="*/ 458788 h 1395413"/>
                <a:gd name="connsiteX884" fmla="*/ 395287 w 1438275"/>
                <a:gd name="connsiteY884" fmla="*/ 441325 h 1395413"/>
                <a:gd name="connsiteX885" fmla="*/ 395287 w 1438275"/>
                <a:gd name="connsiteY885" fmla="*/ 427038 h 1395413"/>
                <a:gd name="connsiteX886" fmla="*/ 395287 w 1438275"/>
                <a:gd name="connsiteY886" fmla="*/ 396875 h 1395413"/>
                <a:gd name="connsiteX887" fmla="*/ 396875 w 1438275"/>
                <a:gd name="connsiteY887" fmla="*/ 363537 h 1395413"/>
                <a:gd name="connsiteX888" fmla="*/ 396875 w 1438275"/>
                <a:gd name="connsiteY888" fmla="*/ 327025 h 1395413"/>
                <a:gd name="connsiteX889" fmla="*/ 396875 w 1438275"/>
                <a:gd name="connsiteY889" fmla="*/ 298450 h 1395413"/>
                <a:gd name="connsiteX890" fmla="*/ 396875 w 1438275"/>
                <a:gd name="connsiteY890" fmla="*/ 180975 h 1395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</a:cxnLst>
              <a:rect l="l" t="t" r="r" b="b"/>
              <a:pathLst>
                <a:path w="1438275" h="1395413">
                  <a:moveTo>
                    <a:pt x="1016000" y="1244600"/>
                  </a:moveTo>
                  <a:lnTo>
                    <a:pt x="1020763" y="1263650"/>
                  </a:lnTo>
                  <a:lnTo>
                    <a:pt x="1020763" y="1266825"/>
                  </a:lnTo>
                  <a:lnTo>
                    <a:pt x="1022350" y="1273175"/>
                  </a:lnTo>
                  <a:lnTo>
                    <a:pt x="1022350" y="1284287"/>
                  </a:lnTo>
                  <a:lnTo>
                    <a:pt x="1027113" y="1298575"/>
                  </a:lnTo>
                  <a:lnTo>
                    <a:pt x="1031876" y="1306512"/>
                  </a:lnTo>
                  <a:lnTo>
                    <a:pt x="1031876" y="1311275"/>
                  </a:lnTo>
                  <a:lnTo>
                    <a:pt x="1033463" y="1322387"/>
                  </a:lnTo>
                  <a:lnTo>
                    <a:pt x="1035051" y="1331913"/>
                  </a:lnTo>
                  <a:lnTo>
                    <a:pt x="1038226" y="1338263"/>
                  </a:lnTo>
                  <a:lnTo>
                    <a:pt x="1039813" y="1354138"/>
                  </a:lnTo>
                  <a:lnTo>
                    <a:pt x="1039813" y="1360488"/>
                  </a:lnTo>
                  <a:lnTo>
                    <a:pt x="1039813" y="1362075"/>
                  </a:lnTo>
                  <a:lnTo>
                    <a:pt x="1039813" y="1365250"/>
                  </a:lnTo>
                  <a:lnTo>
                    <a:pt x="1038226" y="1362075"/>
                  </a:lnTo>
                  <a:lnTo>
                    <a:pt x="1038226" y="1360488"/>
                  </a:lnTo>
                  <a:lnTo>
                    <a:pt x="1038226" y="1355725"/>
                  </a:lnTo>
                  <a:lnTo>
                    <a:pt x="1035051" y="1344613"/>
                  </a:lnTo>
                  <a:lnTo>
                    <a:pt x="1033463" y="1331913"/>
                  </a:lnTo>
                  <a:lnTo>
                    <a:pt x="1028701" y="1309687"/>
                  </a:lnTo>
                  <a:lnTo>
                    <a:pt x="1023938" y="1300162"/>
                  </a:lnTo>
                  <a:lnTo>
                    <a:pt x="1020763" y="1284287"/>
                  </a:lnTo>
                  <a:lnTo>
                    <a:pt x="1020763" y="1282700"/>
                  </a:lnTo>
                  <a:lnTo>
                    <a:pt x="1017588" y="1271587"/>
                  </a:lnTo>
                  <a:lnTo>
                    <a:pt x="1016000" y="1263650"/>
                  </a:lnTo>
                  <a:close/>
                  <a:moveTo>
                    <a:pt x="1016000" y="1217612"/>
                  </a:moveTo>
                  <a:lnTo>
                    <a:pt x="1017588" y="1217612"/>
                  </a:lnTo>
                  <a:lnTo>
                    <a:pt x="1017588" y="1219200"/>
                  </a:lnTo>
                  <a:lnTo>
                    <a:pt x="1017588" y="1227137"/>
                  </a:lnTo>
                  <a:lnTo>
                    <a:pt x="1016000" y="1238250"/>
                  </a:lnTo>
                  <a:lnTo>
                    <a:pt x="1016000" y="1228725"/>
                  </a:lnTo>
                  <a:lnTo>
                    <a:pt x="1016000" y="1227137"/>
                  </a:lnTo>
                  <a:lnTo>
                    <a:pt x="1016000" y="1223962"/>
                  </a:lnTo>
                  <a:close/>
                  <a:moveTo>
                    <a:pt x="1050925" y="1133475"/>
                  </a:moveTo>
                  <a:lnTo>
                    <a:pt x="1054100" y="1133475"/>
                  </a:lnTo>
                  <a:lnTo>
                    <a:pt x="1054100" y="1135062"/>
                  </a:lnTo>
                  <a:lnTo>
                    <a:pt x="1054100" y="1138237"/>
                  </a:lnTo>
                  <a:lnTo>
                    <a:pt x="1050925" y="1139825"/>
                  </a:lnTo>
                  <a:lnTo>
                    <a:pt x="1046163" y="1144587"/>
                  </a:lnTo>
                  <a:lnTo>
                    <a:pt x="1046163" y="1146175"/>
                  </a:lnTo>
                  <a:lnTo>
                    <a:pt x="1039813" y="1155700"/>
                  </a:lnTo>
                  <a:lnTo>
                    <a:pt x="1039813" y="1157287"/>
                  </a:lnTo>
                  <a:lnTo>
                    <a:pt x="1031875" y="1173162"/>
                  </a:lnTo>
                  <a:lnTo>
                    <a:pt x="1028700" y="1177925"/>
                  </a:lnTo>
                  <a:lnTo>
                    <a:pt x="1027113" y="1184275"/>
                  </a:lnTo>
                  <a:lnTo>
                    <a:pt x="1023938" y="1189037"/>
                  </a:lnTo>
                  <a:lnTo>
                    <a:pt x="1022350" y="1195387"/>
                  </a:lnTo>
                  <a:lnTo>
                    <a:pt x="1022350" y="1196975"/>
                  </a:lnTo>
                  <a:lnTo>
                    <a:pt x="1020763" y="1201737"/>
                  </a:lnTo>
                  <a:lnTo>
                    <a:pt x="1020763" y="1208087"/>
                  </a:lnTo>
                  <a:lnTo>
                    <a:pt x="1017588" y="1212850"/>
                  </a:lnTo>
                  <a:lnTo>
                    <a:pt x="1017588" y="1216025"/>
                  </a:lnTo>
                  <a:lnTo>
                    <a:pt x="1016000" y="1216025"/>
                  </a:lnTo>
                  <a:lnTo>
                    <a:pt x="1016000" y="1212850"/>
                  </a:lnTo>
                  <a:lnTo>
                    <a:pt x="1016000" y="1208087"/>
                  </a:lnTo>
                  <a:lnTo>
                    <a:pt x="1016000" y="1206500"/>
                  </a:lnTo>
                  <a:lnTo>
                    <a:pt x="1017588" y="1200150"/>
                  </a:lnTo>
                  <a:lnTo>
                    <a:pt x="1017588" y="1196975"/>
                  </a:lnTo>
                  <a:lnTo>
                    <a:pt x="1022350" y="1184275"/>
                  </a:lnTo>
                  <a:lnTo>
                    <a:pt x="1023938" y="1179512"/>
                  </a:lnTo>
                  <a:lnTo>
                    <a:pt x="1023938" y="1177925"/>
                  </a:lnTo>
                  <a:lnTo>
                    <a:pt x="1028700" y="1171575"/>
                  </a:lnTo>
                  <a:lnTo>
                    <a:pt x="1039813" y="1149350"/>
                  </a:lnTo>
                  <a:lnTo>
                    <a:pt x="1042988" y="1149350"/>
                  </a:lnTo>
                  <a:lnTo>
                    <a:pt x="1050925" y="1135062"/>
                  </a:lnTo>
                  <a:close/>
                  <a:moveTo>
                    <a:pt x="1073150" y="1095375"/>
                  </a:moveTo>
                  <a:lnTo>
                    <a:pt x="1076325" y="1096962"/>
                  </a:lnTo>
                  <a:lnTo>
                    <a:pt x="1076325" y="1100137"/>
                  </a:lnTo>
                  <a:lnTo>
                    <a:pt x="1076325" y="1101725"/>
                  </a:lnTo>
                  <a:lnTo>
                    <a:pt x="1071563" y="1108075"/>
                  </a:lnTo>
                  <a:lnTo>
                    <a:pt x="1055687" y="1130300"/>
                  </a:lnTo>
                  <a:lnTo>
                    <a:pt x="1055687" y="1128712"/>
                  </a:lnTo>
                  <a:lnTo>
                    <a:pt x="1055687" y="1127125"/>
                  </a:lnTo>
                  <a:lnTo>
                    <a:pt x="1055687" y="1123950"/>
                  </a:lnTo>
                  <a:lnTo>
                    <a:pt x="1066800" y="1101725"/>
                  </a:lnTo>
                  <a:close/>
                  <a:moveTo>
                    <a:pt x="1122363" y="1062037"/>
                  </a:moveTo>
                  <a:lnTo>
                    <a:pt x="1123950" y="1062037"/>
                  </a:lnTo>
                  <a:lnTo>
                    <a:pt x="1123950" y="1063624"/>
                  </a:lnTo>
                  <a:lnTo>
                    <a:pt x="1123950" y="1066799"/>
                  </a:lnTo>
                  <a:lnTo>
                    <a:pt x="1123950" y="1068387"/>
                  </a:lnTo>
                  <a:lnTo>
                    <a:pt x="1122363" y="1071562"/>
                  </a:lnTo>
                  <a:lnTo>
                    <a:pt x="1117600" y="1073150"/>
                  </a:lnTo>
                  <a:lnTo>
                    <a:pt x="1116013" y="1073150"/>
                  </a:lnTo>
                  <a:lnTo>
                    <a:pt x="1116013" y="1074737"/>
                  </a:lnTo>
                  <a:lnTo>
                    <a:pt x="1111250" y="1077912"/>
                  </a:lnTo>
                  <a:lnTo>
                    <a:pt x="1106488" y="1077912"/>
                  </a:lnTo>
                  <a:lnTo>
                    <a:pt x="1093787" y="1089025"/>
                  </a:lnTo>
                  <a:lnTo>
                    <a:pt x="1090612" y="1090612"/>
                  </a:lnTo>
                  <a:lnTo>
                    <a:pt x="1087437" y="1093787"/>
                  </a:lnTo>
                  <a:lnTo>
                    <a:pt x="1087437" y="1095375"/>
                  </a:lnTo>
                  <a:lnTo>
                    <a:pt x="1079500" y="1100137"/>
                  </a:lnTo>
                  <a:lnTo>
                    <a:pt x="1079500" y="1101725"/>
                  </a:lnTo>
                  <a:lnTo>
                    <a:pt x="1077912" y="1100137"/>
                  </a:lnTo>
                  <a:lnTo>
                    <a:pt x="1079500" y="1093787"/>
                  </a:lnTo>
                  <a:lnTo>
                    <a:pt x="1079500" y="1090612"/>
                  </a:lnTo>
                  <a:lnTo>
                    <a:pt x="1082675" y="1089025"/>
                  </a:lnTo>
                  <a:lnTo>
                    <a:pt x="1084262" y="1089025"/>
                  </a:lnTo>
                  <a:lnTo>
                    <a:pt x="1089025" y="1085850"/>
                  </a:lnTo>
                  <a:lnTo>
                    <a:pt x="1090612" y="1085850"/>
                  </a:lnTo>
                  <a:lnTo>
                    <a:pt x="1095375" y="1082675"/>
                  </a:lnTo>
                  <a:lnTo>
                    <a:pt x="1098550" y="1079500"/>
                  </a:lnTo>
                  <a:lnTo>
                    <a:pt x="1112838" y="1068387"/>
                  </a:lnTo>
                  <a:lnTo>
                    <a:pt x="1120775" y="1063624"/>
                  </a:lnTo>
                  <a:close/>
                  <a:moveTo>
                    <a:pt x="1138238" y="1050925"/>
                  </a:moveTo>
                  <a:lnTo>
                    <a:pt x="1139825" y="1050925"/>
                  </a:lnTo>
                  <a:lnTo>
                    <a:pt x="1139825" y="1052513"/>
                  </a:lnTo>
                  <a:lnTo>
                    <a:pt x="1138238" y="1055688"/>
                  </a:lnTo>
                  <a:lnTo>
                    <a:pt x="1135063" y="1055688"/>
                  </a:lnTo>
                  <a:lnTo>
                    <a:pt x="1135063" y="1057275"/>
                  </a:lnTo>
                  <a:lnTo>
                    <a:pt x="1133475" y="1057275"/>
                  </a:lnTo>
                  <a:lnTo>
                    <a:pt x="1131888" y="1058863"/>
                  </a:lnTo>
                  <a:lnTo>
                    <a:pt x="1128713" y="1058863"/>
                  </a:lnTo>
                  <a:lnTo>
                    <a:pt x="1131888" y="1057275"/>
                  </a:lnTo>
                  <a:lnTo>
                    <a:pt x="1133475" y="1055688"/>
                  </a:lnTo>
                  <a:lnTo>
                    <a:pt x="1133475" y="1052513"/>
                  </a:lnTo>
                  <a:lnTo>
                    <a:pt x="1135063" y="1052513"/>
                  </a:lnTo>
                  <a:close/>
                  <a:moveTo>
                    <a:pt x="1143000" y="1047750"/>
                  </a:moveTo>
                  <a:lnTo>
                    <a:pt x="1143000" y="1050925"/>
                  </a:lnTo>
                  <a:lnTo>
                    <a:pt x="1139825" y="1050925"/>
                  </a:lnTo>
                  <a:close/>
                  <a:moveTo>
                    <a:pt x="1146175" y="1047353"/>
                  </a:moveTo>
                  <a:lnTo>
                    <a:pt x="1146175" y="1047750"/>
                  </a:lnTo>
                  <a:lnTo>
                    <a:pt x="1144588" y="1047750"/>
                  </a:lnTo>
                  <a:close/>
                  <a:moveTo>
                    <a:pt x="1165225" y="1035050"/>
                  </a:moveTo>
                  <a:lnTo>
                    <a:pt x="1168400" y="1035050"/>
                  </a:lnTo>
                  <a:lnTo>
                    <a:pt x="1165225" y="1036638"/>
                  </a:lnTo>
                  <a:lnTo>
                    <a:pt x="1162050" y="1039813"/>
                  </a:lnTo>
                  <a:lnTo>
                    <a:pt x="1160463" y="1039813"/>
                  </a:lnTo>
                  <a:lnTo>
                    <a:pt x="1154113" y="1044575"/>
                  </a:lnTo>
                  <a:lnTo>
                    <a:pt x="1150938" y="1046163"/>
                  </a:lnTo>
                  <a:lnTo>
                    <a:pt x="1146175" y="1047353"/>
                  </a:lnTo>
                  <a:lnTo>
                    <a:pt x="1146175" y="1046163"/>
                  </a:lnTo>
                  <a:lnTo>
                    <a:pt x="1150938" y="1041400"/>
                  </a:lnTo>
                  <a:lnTo>
                    <a:pt x="1160463" y="1036638"/>
                  </a:lnTo>
                  <a:lnTo>
                    <a:pt x="1162050" y="1036638"/>
                  </a:lnTo>
                  <a:close/>
                  <a:moveTo>
                    <a:pt x="1298575" y="936625"/>
                  </a:moveTo>
                  <a:lnTo>
                    <a:pt x="1300162" y="941387"/>
                  </a:lnTo>
                  <a:lnTo>
                    <a:pt x="1295400" y="946150"/>
                  </a:lnTo>
                  <a:lnTo>
                    <a:pt x="1295400" y="947738"/>
                  </a:lnTo>
                  <a:lnTo>
                    <a:pt x="1293812" y="947738"/>
                  </a:lnTo>
                  <a:lnTo>
                    <a:pt x="1292225" y="950913"/>
                  </a:lnTo>
                  <a:lnTo>
                    <a:pt x="1266825" y="968375"/>
                  </a:lnTo>
                  <a:lnTo>
                    <a:pt x="1265237" y="968375"/>
                  </a:lnTo>
                  <a:lnTo>
                    <a:pt x="1266825" y="966788"/>
                  </a:lnTo>
                  <a:lnTo>
                    <a:pt x="1282700" y="950913"/>
                  </a:lnTo>
                  <a:close/>
                  <a:moveTo>
                    <a:pt x="396875" y="0"/>
                  </a:moveTo>
                  <a:lnTo>
                    <a:pt x="412750" y="0"/>
                  </a:lnTo>
                  <a:lnTo>
                    <a:pt x="442912" y="0"/>
                  </a:lnTo>
                  <a:lnTo>
                    <a:pt x="568325" y="0"/>
                  </a:lnTo>
                  <a:lnTo>
                    <a:pt x="669925" y="0"/>
                  </a:lnTo>
                  <a:lnTo>
                    <a:pt x="723900" y="0"/>
                  </a:lnTo>
                  <a:lnTo>
                    <a:pt x="730250" y="0"/>
                  </a:lnTo>
                  <a:lnTo>
                    <a:pt x="730250" y="31750"/>
                  </a:lnTo>
                  <a:lnTo>
                    <a:pt x="730250" y="53975"/>
                  </a:lnTo>
                  <a:lnTo>
                    <a:pt x="730250" y="252412"/>
                  </a:lnTo>
                  <a:lnTo>
                    <a:pt x="733425" y="254000"/>
                  </a:lnTo>
                  <a:lnTo>
                    <a:pt x="735012" y="254000"/>
                  </a:lnTo>
                  <a:lnTo>
                    <a:pt x="735012" y="252412"/>
                  </a:lnTo>
                  <a:lnTo>
                    <a:pt x="736600" y="252412"/>
                  </a:lnTo>
                  <a:lnTo>
                    <a:pt x="739775" y="252412"/>
                  </a:lnTo>
                  <a:lnTo>
                    <a:pt x="741362" y="254000"/>
                  </a:lnTo>
                  <a:lnTo>
                    <a:pt x="744537" y="254000"/>
                  </a:lnTo>
                  <a:lnTo>
                    <a:pt x="744537" y="255587"/>
                  </a:lnTo>
                  <a:lnTo>
                    <a:pt x="750887" y="260350"/>
                  </a:lnTo>
                  <a:lnTo>
                    <a:pt x="755650" y="265112"/>
                  </a:lnTo>
                  <a:lnTo>
                    <a:pt x="755650" y="266700"/>
                  </a:lnTo>
                  <a:lnTo>
                    <a:pt x="757237" y="266700"/>
                  </a:lnTo>
                  <a:lnTo>
                    <a:pt x="763587" y="274637"/>
                  </a:lnTo>
                  <a:lnTo>
                    <a:pt x="763587" y="276225"/>
                  </a:lnTo>
                  <a:lnTo>
                    <a:pt x="766762" y="276225"/>
                  </a:lnTo>
                  <a:lnTo>
                    <a:pt x="768350" y="277812"/>
                  </a:lnTo>
                  <a:lnTo>
                    <a:pt x="769937" y="277812"/>
                  </a:lnTo>
                  <a:lnTo>
                    <a:pt x="790575" y="277812"/>
                  </a:lnTo>
                  <a:lnTo>
                    <a:pt x="796925" y="271462"/>
                  </a:lnTo>
                  <a:lnTo>
                    <a:pt x="801687" y="269875"/>
                  </a:lnTo>
                  <a:lnTo>
                    <a:pt x="811212" y="274637"/>
                  </a:lnTo>
                  <a:lnTo>
                    <a:pt x="811212" y="276225"/>
                  </a:lnTo>
                  <a:lnTo>
                    <a:pt x="817562" y="282575"/>
                  </a:lnTo>
                  <a:lnTo>
                    <a:pt x="817562" y="285750"/>
                  </a:lnTo>
                  <a:lnTo>
                    <a:pt x="817562" y="292100"/>
                  </a:lnTo>
                  <a:lnTo>
                    <a:pt x="817562" y="293687"/>
                  </a:lnTo>
                  <a:lnTo>
                    <a:pt x="817562" y="296862"/>
                  </a:lnTo>
                  <a:lnTo>
                    <a:pt x="819150" y="298450"/>
                  </a:lnTo>
                  <a:lnTo>
                    <a:pt x="822325" y="300037"/>
                  </a:lnTo>
                  <a:lnTo>
                    <a:pt x="838200" y="300037"/>
                  </a:lnTo>
                  <a:lnTo>
                    <a:pt x="855662" y="307975"/>
                  </a:lnTo>
                  <a:lnTo>
                    <a:pt x="857250" y="307975"/>
                  </a:lnTo>
                  <a:lnTo>
                    <a:pt x="868362" y="309562"/>
                  </a:lnTo>
                  <a:lnTo>
                    <a:pt x="871537" y="309562"/>
                  </a:lnTo>
                  <a:lnTo>
                    <a:pt x="873125" y="309562"/>
                  </a:lnTo>
                  <a:lnTo>
                    <a:pt x="874712" y="307975"/>
                  </a:lnTo>
                  <a:lnTo>
                    <a:pt x="877887" y="307975"/>
                  </a:lnTo>
                  <a:lnTo>
                    <a:pt x="879475" y="307975"/>
                  </a:lnTo>
                  <a:lnTo>
                    <a:pt x="882650" y="307975"/>
                  </a:lnTo>
                  <a:lnTo>
                    <a:pt x="884237" y="307975"/>
                  </a:lnTo>
                  <a:lnTo>
                    <a:pt x="885825" y="307975"/>
                  </a:lnTo>
                  <a:lnTo>
                    <a:pt x="885825" y="309562"/>
                  </a:lnTo>
                  <a:lnTo>
                    <a:pt x="889000" y="311150"/>
                  </a:lnTo>
                  <a:lnTo>
                    <a:pt x="890587" y="314325"/>
                  </a:lnTo>
                  <a:lnTo>
                    <a:pt x="893762" y="315912"/>
                  </a:lnTo>
                  <a:lnTo>
                    <a:pt x="895350" y="319087"/>
                  </a:lnTo>
                  <a:lnTo>
                    <a:pt x="896937" y="319087"/>
                  </a:lnTo>
                  <a:lnTo>
                    <a:pt x="900112" y="319087"/>
                  </a:lnTo>
                  <a:lnTo>
                    <a:pt x="901700" y="319087"/>
                  </a:lnTo>
                  <a:lnTo>
                    <a:pt x="904875" y="319087"/>
                  </a:lnTo>
                  <a:lnTo>
                    <a:pt x="904875" y="315912"/>
                  </a:lnTo>
                  <a:lnTo>
                    <a:pt x="917575" y="309562"/>
                  </a:lnTo>
                  <a:lnTo>
                    <a:pt x="930275" y="311150"/>
                  </a:lnTo>
                  <a:lnTo>
                    <a:pt x="939800" y="315912"/>
                  </a:lnTo>
                  <a:lnTo>
                    <a:pt x="939800" y="319087"/>
                  </a:lnTo>
                  <a:lnTo>
                    <a:pt x="939800" y="320675"/>
                  </a:lnTo>
                  <a:lnTo>
                    <a:pt x="939800" y="322262"/>
                  </a:lnTo>
                  <a:lnTo>
                    <a:pt x="939800" y="325437"/>
                  </a:lnTo>
                  <a:lnTo>
                    <a:pt x="941387" y="325437"/>
                  </a:lnTo>
                  <a:lnTo>
                    <a:pt x="941387" y="327025"/>
                  </a:lnTo>
                  <a:lnTo>
                    <a:pt x="944562" y="327025"/>
                  </a:lnTo>
                  <a:lnTo>
                    <a:pt x="946150" y="327025"/>
                  </a:lnTo>
                  <a:lnTo>
                    <a:pt x="950912" y="327025"/>
                  </a:lnTo>
                  <a:lnTo>
                    <a:pt x="952500" y="327025"/>
                  </a:lnTo>
                  <a:lnTo>
                    <a:pt x="955675" y="330200"/>
                  </a:lnTo>
                  <a:lnTo>
                    <a:pt x="955675" y="333375"/>
                  </a:lnTo>
                  <a:lnTo>
                    <a:pt x="955675" y="336550"/>
                  </a:lnTo>
                  <a:lnTo>
                    <a:pt x="952500" y="338137"/>
                  </a:lnTo>
                  <a:lnTo>
                    <a:pt x="952500" y="341312"/>
                  </a:lnTo>
                  <a:lnTo>
                    <a:pt x="952500" y="342900"/>
                  </a:lnTo>
                  <a:lnTo>
                    <a:pt x="955675" y="342900"/>
                  </a:lnTo>
                  <a:lnTo>
                    <a:pt x="962025" y="344487"/>
                  </a:lnTo>
                  <a:lnTo>
                    <a:pt x="963612" y="344487"/>
                  </a:lnTo>
                  <a:lnTo>
                    <a:pt x="971550" y="342900"/>
                  </a:lnTo>
                  <a:lnTo>
                    <a:pt x="973137" y="342900"/>
                  </a:lnTo>
                  <a:lnTo>
                    <a:pt x="973137" y="341312"/>
                  </a:lnTo>
                  <a:lnTo>
                    <a:pt x="974725" y="338137"/>
                  </a:lnTo>
                  <a:lnTo>
                    <a:pt x="979487" y="333375"/>
                  </a:lnTo>
                  <a:lnTo>
                    <a:pt x="982662" y="331787"/>
                  </a:lnTo>
                  <a:lnTo>
                    <a:pt x="984250" y="330200"/>
                  </a:lnTo>
                  <a:lnTo>
                    <a:pt x="987425" y="330200"/>
                  </a:lnTo>
                  <a:lnTo>
                    <a:pt x="989012" y="330200"/>
                  </a:lnTo>
                  <a:lnTo>
                    <a:pt x="993775" y="331787"/>
                  </a:lnTo>
                  <a:lnTo>
                    <a:pt x="1001712" y="341312"/>
                  </a:lnTo>
                  <a:lnTo>
                    <a:pt x="1009650" y="347662"/>
                  </a:lnTo>
                  <a:lnTo>
                    <a:pt x="1009650" y="349250"/>
                  </a:lnTo>
                  <a:lnTo>
                    <a:pt x="1011237" y="352425"/>
                  </a:lnTo>
                  <a:lnTo>
                    <a:pt x="1012825" y="352425"/>
                  </a:lnTo>
                  <a:lnTo>
                    <a:pt x="1016000" y="352425"/>
                  </a:lnTo>
                  <a:lnTo>
                    <a:pt x="1017588" y="349250"/>
                  </a:lnTo>
                  <a:lnTo>
                    <a:pt x="1020763" y="349250"/>
                  </a:lnTo>
                  <a:lnTo>
                    <a:pt x="1031875" y="341312"/>
                  </a:lnTo>
                  <a:lnTo>
                    <a:pt x="1038225" y="349250"/>
                  </a:lnTo>
                  <a:lnTo>
                    <a:pt x="1035050" y="352425"/>
                  </a:lnTo>
                  <a:lnTo>
                    <a:pt x="1035050" y="354012"/>
                  </a:lnTo>
                  <a:lnTo>
                    <a:pt x="1038225" y="355600"/>
                  </a:lnTo>
                  <a:lnTo>
                    <a:pt x="1038225" y="358775"/>
                  </a:lnTo>
                  <a:lnTo>
                    <a:pt x="1038225" y="360362"/>
                  </a:lnTo>
                  <a:lnTo>
                    <a:pt x="1039813" y="363537"/>
                  </a:lnTo>
                  <a:lnTo>
                    <a:pt x="1042988" y="363537"/>
                  </a:lnTo>
                  <a:lnTo>
                    <a:pt x="1044575" y="363537"/>
                  </a:lnTo>
                  <a:lnTo>
                    <a:pt x="1049338" y="360362"/>
                  </a:lnTo>
                  <a:lnTo>
                    <a:pt x="1054100" y="347662"/>
                  </a:lnTo>
                  <a:lnTo>
                    <a:pt x="1060450" y="333375"/>
                  </a:lnTo>
                  <a:lnTo>
                    <a:pt x="1062038" y="333375"/>
                  </a:lnTo>
                  <a:lnTo>
                    <a:pt x="1065213" y="333375"/>
                  </a:lnTo>
                  <a:lnTo>
                    <a:pt x="1066800" y="333375"/>
                  </a:lnTo>
                  <a:lnTo>
                    <a:pt x="1068388" y="333375"/>
                  </a:lnTo>
                  <a:lnTo>
                    <a:pt x="1071563" y="333375"/>
                  </a:lnTo>
                  <a:lnTo>
                    <a:pt x="1071563" y="336550"/>
                  </a:lnTo>
                  <a:lnTo>
                    <a:pt x="1071563" y="338137"/>
                  </a:lnTo>
                  <a:lnTo>
                    <a:pt x="1071563" y="341312"/>
                  </a:lnTo>
                  <a:lnTo>
                    <a:pt x="1073150" y="341312"/>
                  </a:lnTo>
                  <a:lnTo>
                    <a:pt x="1073150" y="342900"/>
                  </a:lnTo>
                  <a:lnTo>
                    <a:pt x="1073150" y="344487"/>
                  </a:lnTo>
                  <a:lnTo>
                    <a:pt x="1076325" y="344487"/>
                  </a:lnTo>
                  <a:lnTo>
                    <a:pt x="1087438" y="347662"/>
                  </a:lnTo>
                  <a:lnTo>
                    <a:pt x="1089025" y="347662"/>
                  </a:lnTo>
                  <a:lnTo>
                    <a:pt x="1090613" y="347662"/>
                  </a:lnTo>
                  <a:lnTo>
                    <a:pt x="1101725" y="347662"/>
                  </a:lnTo>
                  <a:lnTo>
                    <a:pt x="1116013" y="355600"/>
                  </a:lnTo>
                  <a:lnTo>
                    <a:pt x="1131888" y="366712"/>
                  </a:lnTo>
                  <a:lnTo>
                    <a:pt x="1133475" y="366712"/>
                  </a:lnTo>
                  <a:lnTo>
                    <a:pt x="1146175" y="358775"/>
                  </a:lnTo>
                  <a:lnTo>
                    <a:pt x="1149350" y="358775"/>
                  </a:lnTo>
                  <a:lnTo>
                    <a:pt x="1149350" y="355600"/>
                  </a:lnTo>
                  <a:lnTo>
                    <a:pt x="1149350" y="354012"/>
                  </a:lnTo>
                  <a:lnTo>
                    <a:pt x="1150938" y="354012"/>
                  </a:lnTo>
                  <a:lnTo>
                    <a:pt x="1150938" y="352425"/>
                  </a:lnTo>
                  <a:lnTo>
                    <a:pt x="1154113" y="349250"/>
                  </a:lnTo>
                  <a:lnTo>
                    <a:pt x="1155700" y="349250"/>
                  </a:lnTo>
                  <a:lnTo>
                    <a:pt x="1157288" y="347662"/>
                  </a:lnTo>
                  <a:lnTo>
                    <a:pt x="1173163" y="344487"/>
                  </a:lnTo>
                  <a:lnTo>
                    <a:pt x="1182688" y="347662"/>
                  </a:lnTo>
                  <a:lnTo>
                    <a:pt x="1193800" y="344487"/>
                  </a:lnTo>
                  <a:lnTo>
                    <a:pt x="1195388" y="342900"/>
                  </a:lnTo>
                  <a:lnTo>
                    <a:pt x="1211263" y="336550"/>
                  </a:lnTo>
                  <a:lnTo>
                    <a:pt x="1214438" y="333375"/>
                  </a:lnTo>
                  <a:lnTo>
                    <a:pt x="1214438" y="336550"/>
                  </a:lnTo>
                  <a:lnTo>
                    <a:pt x="1216025" y="336550"/>
                  </a:lnTo>
                  <a:lnTo>
                    <a:pt x="1217613" y="338137"/>
                  </a:lnTo>
                  <a:lnTo>
                    <a:pt x="1217613" y="341312"/>
                  </a:lnTo>
                  <a:lnTo>
                    <a:pt x="1217613" y="342900"/>
                  </a:lnTo>
                  <a:lnTo>
                    <a:pt x="1231900" y="344487"/>
                  </a:lnTo>
                  <a:lnTo>
                    <a:pt x="1238250" y="344487"/>
                  </a:lnTo>
                  <a:lnTo>
                    <a:pt x="1239838" y="342900"/>
                  </a:lnTo>
                  <a:lnTo>
                    <a:pt x="1244600" y="342900"/>
                  </a:lnTo>
                  <a:lnTo>
                    <a:pt x="1249363" y="341312"/>
                  </a:lnTo>
                  <a:lnTo>
                    <a:pt x="1249363" y="338137"/>
                  </a:lnTo>
                  <a:lnTo>
                    <a:pt x="1249363" y="336550"/>
                  </a:lnTo>
                  <a:lnTo>
                    <a:pt x="1250950" y="333375"/>
                  </a:lnTo>
                  <a:lnTo>
                    <a:pt x="1250950" y="331787"/>
                  </a:lnTo>
                  <a:lnTo>
                    <a:pt x="1254125" y="331787"/>
                  </a:lnTo>
                  <a:lnTo>
                    <a:pt x="1260475" y="333375"/>
                  </a:lnTo>
                  <a:lnTo>
                    <a:pt x="1277938" y="347662"/>
                  </a:lnTo>
                  <a:lnTo>
                    <a:pt x="1282700" y="352425"/>
                  </a:lnTo>
                  <a:lnTo>
                    <a:pt x="1293813" y="360362"/>
                  </a:lnTo>
                  <a:lnTo>
                    <a:pt x="1309688" y="366712"/>
                  </a:lnTo>
                  <a:lnTo>
                    <a:pt x="1327150" y="374650"/>
                  </a:lnTo>
                  <a:lnTo>
                    <a:pt x="1331913" y="374650"/>
                  </a:lnTo>
                  <a:lnTo>
                    <a:pt x="1333500" y="374650"/>
                  </a:lnTo>
                  <a:lnTo>
                    <a:pt x="1338263" y="377825"/>
                  </a:lnTo>
                  <a:lnTo>
                    <a:pt x="1344613" y="385762"/>
                  </a:lnTo>
                  <a:lnTo>
                    <a:pt x="1347788" y="385762"/>
                  </a:lnTo>
                  <a:lnTo>
                    <a:pt x="1350963" y="385762"/>
                  </a:lnTo>
                  <a:lnTo>
                    <a:pt x="1354138" y="385762"/>
                  </a:lnTo>
                  <a:lnTo>
                    <a:pt x="1354138" y="382587"/>
                  </a:lnTo>
                  <a:lnTo>
                    <a:pt x="1354138" y="381000"/>
                  </a:lnTo>
                  <a:lnTo>
                    <a:pt x="1355725" y="381000"/>
                  </a:lnTo>
                  <a:lnTo>
                    <a:pt x="1365250" y="381000"/>
                  </a:lnTo>
                  <a:lnTo>
                    <a:pt x="1366838" y="381000"/>
                  </a:lnTo>
                  <a:lnTo>
                    <a:pt x="1376363" y="382587"/>
                  </a:lnTo>
                  <a:lnTo>
                    <a:pt x="1377950" y="382587"/>
                  </a:lnTo>
                  <a:lnTo>
                    <a:pt x="1382713" y="385762"/>
                  </a:lnTo>
                  <a:lnTo>
                    <a:pt x="1382713" y="388937"/>
                  </a:lnTo>
                  <a:lnTo>
                    <a:pt x="1382713" y="392112"/>
                  </a:lnTo>
                  <a:lnTo>
                    <a:pt x="1382713" y="454025"/>
                  </a:lnTo>
                  <a:lnTo>
                    <a:pt x="1382713" y="457200"/>
                  </a:lnTo>
                  <a:lnTo>
                    <a:pt x="1382713" y="469900"/>
                  </a:lnTo>
                  <a:lnTo>
                    <a:pt x="1382713" y="554038"/>
                  </a:lnTo>
                  <a:lnTo>
                    <a:pt x="1382713" y="590550"/>
                  </a:lnTo>
                  <a:lnTo>
                    <a:pt x="1389063" y="598488"/>
                  </a:lnTo>
                  <a:lnTo>
                    <a:pt x="1392238" y="598488"/>
                  </a:lnTo>
                  <a:lnTo>
                    <a:pt x="1393825" y="601663"/>
                  </a:lnTo>
                  <a:lnTo>
                    <a:pt x="1397000" y="603250"/>
                  </a:lnTo>
                  <a:lnTo>
                    <a:pt x="1398588" y="603250"/>
                  </a:lnTo>
                  <a:lnTo>
                    <a:pt x="1398588" y="608013"/>
                  </a:lnTo>
                  <a:lnTo>
                    <a:pt x="1400175" y="608013"/>
                  </a:lnTo>
                  <a:lnTo>
                    <a:pt x="1404938" y="615950"/>
                  </a:lnTo>
                  <a:lnTo>
                    <a:pt x="1404938" y="619125"/>
                  </a:lnTo>
                  <a:lnTo>
                    <a:pt x="1408113" y="627063"/>
                  </a:lnTo>
                  <a:lnTo>
                    <a:pt x="1408113" y="630238"/>
                  </a:lnTo>
                  <a:lnTo>
                    <a:pt x="1408113" y="631825"/>
                  </a:lnTo>
                  <a:lnTo>
                    <a:pt x="1404938" y="638175"/>
                  </a:lnTo>
                  <a:lnTo>
                    <a:pt x="1404938" y="641350"/>
                  </a:lnTo>
                  <a:lnTo>
                    <a:pt x="1408113" y="642938"/>
                  </a:lnTo>
                  <a:lnTo>
                    <a:pt x="1408113" y="646113"/>
                  </a:lnTo>
                  <a:lnTo>
                    <a:pt x="1409700" y="649288"/>
                  </a:lnTo>
                  <a:lnTo>
                    <a:pt x="1414463" y="657225"/>
                  </a:lnTo>
                  <a:lnTo>
                    <a:pt x="1422400" y="669925"/>
                  </a:lnTo>
                  <a:lnTo>
                    <a:pt x="1425575" y="673100"/>
                  </a:lnTo>
                  <a:lnTo>
                    <a:pt x="1430338" y="685800"/>
                  </a:lnTo>
                  <a:lnTo>
                    <a:pt x="1430338" y="690563"/>
                  </a:lnTo>
                  <a:lnTo>
                    <a:pt x="1436688" y="695325"/>
                  </a:lnTo>
                  <a:lnTo>
                    <a:pt x="1438275" y="695325"/>
                  </a:lnTo>
                  <a:lnTo>
                    <a:pt x="1438275" y="696913"/>
                  </a:lnTo>
                  <a:lnTo>
                    <a:pt x="1436688" y="741363"/>
                  </a:lnTo>
                  <a:lnTo>
                    <a:pt x="1436688" y="742950"/>
                  </a:lnTo>
                  <a:lnTo>
                    <a:pt x="1430338" y="758825"/>
                  </a:lnTo>
                  <a:lnTo>
                    <a:pt x="1427163" y="762000"/>
                  </a:lnTo>
                  <a:lnTo>
                    <a:pt x="1425575" y="763588"/>
                  </a:lnTo>
                  <a:lnTo>
                    <a:pt x="1422400" y="765175"/>
                  </a:lnTo>
                  <a:lnTo>
                    <a:pt x="1419225" y="774700"/>
                  </a:lnTo>
                  <a:lnTo>
                    <a:pt x="1416050" y="779463"/>
                  </a:lnTo>
                  <a:lnTo>
                    <a:pt x="1414463" y="803275"/>
                  </a:lnTo>
                  <a:lnTo>
                    <a:pt x="1414463" y="806450"/>
                  </a:lnTo>
                  <a:lnTo>
                    <a:pt x="1414463" y="808038"/>
                  </a:lnTo>
                  <a:lnTo>
                    <a:pt x="1416050" y="809625"/>
                  </a:lnTo>
                  <a:lnTo>
                    <a:pt x="1419225" y="819150"/>
                  </a:lnTo>
                  <a:lnTo>
                    <a:pt x="1420813" y="830263"/>
                  </a:lnTo>
                  <a:lnTo>
                    <a:pt x="1420813" y="831850"/>
                  </a:lnTo>
                  <a:lnTo>
                    <a:pt x="1419225" y="841375"/>
                  </a:lnTo>
                  <a:lnTo>
                    <a:pt x="1419225" y="842963"/>
                  </a:lnTo>
                  <a:lnTo>
                    <a:pt x="1414463" y="847725"/>
                  </a:lnTo>
                  <a:lnTo>
                    <a:pt x="1409700" y="852488"/>
                  </a:lnTo>
                  <a:lnTo>
                    <a:pt x="1404938" y="852488"/>
                  </a:lnTo>
                  <a:lnTo>
                    <a:pt x="1403350" y="852488"/>
                  </a:lnTo>
                  <a:lnTo>
                    <a:pt x="1392238" y="873125"/>
                  </a:lnTo>
                  <a:lnTo>
                    <a:pt x="1392238" y="874713"/>
                  </a:lnTo>
                  <a:lnTo>
                    <a:pt x="1392238" y="877888"/>
                  </a:lnTo>
                  <a:lnTo>
                    <a:pt x="1392238" y="879475"/>
                  </a:lnTo>
                  <a:lnTo>
                    <a:pt x="1393825" y="879475"/>
                  </a:lnTo>
                  <a:lnTo>
                    <a:pt x="1397000" y="881063"/>
                  </a:lnTo>
                  <a:lnTo>
                    <a:pt x="1398588" y="885825"/>
                  </a:lnTo>
                  <a:lnTo>
                    <a:pt x="1400175" y="885825"/>
                  </a:lnTo>
                  <a:lnTo>
                    <a:pt x="1403350" y="890588"/>
                  </a:lnTo>
                  <a:lnTo>
                    <a:pt x="1403350" y="892175"/>
                  </a:lnTo>
                  <a:lnTo>
                    <a:pt x="1403350" y="895350"/>
                  </a:lnTo>
                  <a:lnTo>
                    <a:pt x="1400175" y="895350"/>
                  </a:lnTo>
                  <a:lnTo>
                    <a:pt x="1398588" y="895350"/>
                  </a:lnTo>
                  <a:lnTo>
                    <a:pt x="1397000" y="892175"/>
                  </a:lnTo>
                  <a:lnTo>
                    <a:pt x="1382713" y="892175"/>
                  </a:lnTo>
                  <a:lnTo>
                    <a:pt x="1381125" y="895350"/>
                  </a:lnTo>
                  <a:lnTo>
                    <a:pt x="1373188" y="896938"/>
                  </a:lnTo>
                  <a:lnTo>
                    <a:pt x="1371600" y="896938"/>
                  </a:lnTo>
                  <a:lnTo>
                    <a:pt x="1350963" y="906463"/>
                  </a:lnTo>
                  <a:lnTo>
                    <a:pt x="1336675" y="912813"/>
                  </a:lnTo>
                  <a:lnTo>
                    <a:pt x="1320800" y="922338"/>
                  </a:lnTo>
                  <a:lnTo>
                    <a:pt x="1316038" y="923925"/>
                  </a:lnTo>
                  <a:lnTo>
                    <a:pt x="1311275" y="925513"/>
                  </a:lnTo>
                  <a:lnTo>
                    <a:pt x="1309688" y="928688"/>
                  </a:lnTo>
                  <a:lnTo>
                    <a:pt x="1306513" y="933450"/>
                  </a:lnTo>
                  <a:lnTo>
                    <a:pt x="1304925" y="935038"/>
                  </a:lnTo>
                  <a:lnTo>
                    <a:pt x="1303338" y="935038"/>
                  </a:lnTo>
                  <a:lnTo>
                    <a:pt x="1300163" y="935038"/>
                  </a:lnTo>
                  <a:lnTo>
                    <a:pt x="1300163" y="933450"/>
                  </a:lnTo>
                  <a:lnTo>
                    <a:pt x="1300163" y="930275"/>
                  </a:lnTo>
                  <a:lnTo>
                    <a:pt x="1303338" y="930275"/>
                  </a:lnTo>
                  <a:lnTo>
                    <a:pt x="1311275" y="922338"/>
                  </a:lnTo>
                  <a:lnTo>
                    <a:pt x="1320800" y="917575"/>
                  </a:lnTo>
                  <a:lnTo>
                    <a:pt x="1328738" y="914400"/>
                  </a:lnTo>
                  <a:lnTo>
                    <a:pt x="1331913" y="914400"/>
                  </a:lnTo>
                  <a:lnTo>
                    <a:pt x="1336675" y="911225"/>
                  </a:lnTo>
                  <a:lnTo>
                    <a:pt x="1336675" y="908050"/>
                  </a:lnTo>
                  <a:lnTo>
                    <a:pt x="1333500" y="908050"/>
                  </a:lnTo>
                  <a:lnTo>
                    <a:pt x="1325563" y="908050"/>
                  </a:lnTo>
                  <a:lnTo>
                    <a:pt x="1325563" y="906463"/>
                  </a:lnTo>
                  <a:lnTo>
                    <a:pt x="1322388" y="908050"/>
                  </a:lnTo>
                  <a:lnTo>
                    <a:pt x="1314450" y="911225"/>
                  </a:lnTo>
                  <a:lnTo>
                    <a:pt x="1303338" y="908050"/>
                  </a:lnTo>
                  <a:lnTo>
                    <a:pt x="1306513" y="901700"/>
                  </a:lnTo>
                  <a:lnTo>
                    <a:pt x="1306513" y="900113"/>
                  </a:lnTo>
                  <a:lnTo>
                    <a:pt x="1309688" y="896938"/>
                  </a:lnTo>
                  <a:lnTo>
                    <a:pt x="1309688" y="890588"/>
                  </a:lnTo>
                  <a:lnTo>
                    <a:pt x="1309688" y="889000"/>
                  </a:lnTo>
                  <a:lnTo>
                    <a:pt x="1309688" y="884238"/>
                  </a:lnTo>
                  <a:lnTo>
                    <a:pt x="1304925" y="879475"/>
                  </a:lnTo>
                  <a:lnTo>
                    <a:pt x="1303338" y="879475"/>
                  </a:lnTo>
                  <a:lnTo>
                    <a:pt x="1298575" y="881063"/>
                  </a:lnTo>
                  <a:lnTo>
                    <a:pt x="1295400" y="884238"/>
                  </a:lnTo>
                  <a:lnTo>
                    <a:pt x="1282700" y="890588"/>
                  </a:lnTo>
                  <a:lnTo>
                    <a:pt x="1277938" y="889000"/>
                  </a:lnTo>
                  <a:lnTo>
                    <a:pt x="1276350" y="889000"/>
                  </a:lnTo>
                  <a:lnTo>
                    <a:pt x="1271588" y="889000"/>
                  </a:lnTo>
                  <a:lnTo>
                    <a:pt x="1271588" y="890588"/>
                  </a:lnTo>
                  <a:lnTo>
                    <a:pt x="1276350" y="908050"/>
                  </a:lnTo>
                  <a:lnTo>
                    <a:pt x="1289050" y="925513"/>
                  </a:lnTo>
                  <a:lnTo>
                    <a:pt x="1289050" y="928688"/>
                  </a:lnTo>
                  <a:lnTo>
                    <a:pt x="1289050" y="930275"/>
                  </a:lnTo>
                  <a:lnTo>
                    <a:pt x="1289050" y="933450"/>
                  </a:lnTo>
                  <a:lnTo>
                    <a:pt x="1289050" y="936625"/>
                  </a:lnTo>
                  <a:lnTo>
                    <a:pt x="1289050" y="939800"/>
                  </a:lnTo>
                  <a:lnTo>
                    <a:pt x="1289050" y="941388"/>
                  </a:lnTo>
                  <a:lnTo>
                    <a:pt x="1270000" y="957263"/>
                  </a:lnTo>
                  <a:lnTo>
                    <a:pt x="1266825" y="958850"/>
                  </a:lnTo>
                  <a:lnTo>
                    <a:pt x="1262063" y="974725"/>
                  </a:lnTo>
                  <a:lnTo>
                    <a:pt x="1260475" y="977900"/>
                  </a:lnTo>
                  <a:lnTo>
                    <a:pt x="1244600" y="990600"/>
                  </a:lnTo>
                  <a:lnTo>
                    <a:pt x="1244600" y="992188"/>
                  </a:lnTo>
                  <a:lnTo>
                    <a:pt x="1239838" y="992188"/>
                  </a:lnTo>
                  <a:lnTo>
                    <a:pt x="1238250" y="995363"/>
                  </a:lnTo>
                  <a:lnTo>
                    <a:pt x="1211263" y="1014413"/>
                  </a:lnTo>
                  <a:lnTo>
                    <a:pt x="1209675" y="1014413"/>
                  </a:lnTo>
                  <a:lnTo>
                    <a:pt x="1203325" y="1017588"/>
                  </a:lnTo>
                  <a:lnTo>
                    <a:pt x="1198563" y="1017588"/>
                  </a:lnTo>
                  <a:lnTo>
                    <a:pt x="1195388" y="1017588"/>
                  </a:lnTo>
                  <a:lnTo>
                    <a:pt x="1192213" y="1017588"/>
                  </a:lnTo>
                  <a:lnTo>
                    <a:pt x="1176338" y="1022350"/>
                  </a:lnTo>
                  <a:lnTo>
                    <a:pt x="1176338" y="1023938"/>
                  </a:lnTo>
                  <a:lnTo>
                    <a:pt x="1173163" y="1023938"/>
                  </a:lnTo>
                  <a:lnTo>
                    <a:pt x="1173163" y="1030288"/>
                  </a:lnTo>
                  <a:lnTo>
                    <a:pt x="1176338" y="1030288"/>
                  </a:lnTo>
                  <a:lnTo>
                    <a:pt x="1177925" y="1030288"/>
                  </a:lnTo>
                  <a:lnTo>
                    <a:pt x="1179513" y="1028700"/>
                  </a:lnTo>
                  <a:lnTo>
                    <a:pt x="1182688" y="1028700"/>
                  </a:lnTo>
                  <a:lnTo>
                    <a:pt x="1184275" y="1025525"/>
                  </a:lnTo>
                  <a:lnTo>
                    <a:pt x="1184275" y="1023938"/>
                  </a:lnTo>
                  <a:lnTo>
                    <a:pt x="1187450" y="1023938"/>
                  </a:lnTo>
                  <a:lnTo>
                    <a:pt x="1189038" y="1023938"/>
                  </a:lnTo>
                  <a:lnTo>
                    <a:pt x="1193800" y="1022350"/>
                  </a:lnTo>
                  <a:lnTo>
                    <a:pt x="1187450" y="1028700"/>
                  </a:lnTo>
                  <a:lnTo>
                    <a:pt x="1184275" y="1030288"/>
                  </a:lnTo>
                  <a:lnTo>
                    <a:pt x="1179513" y="1033463"/>
                  </a:lnTo>
                  <a:lnTo>
                    <a:pt x="1176338" y="1033463"/>
                  </a:lnTo>
                  <a:lnTo>
                    <a:pt x="1173163" y="1035050"/>
                  </a:lnTo>
                  <a:lnTo>
                    <a:pt x="1171575" y="1035050"/>
                  </a:lnTo>
                  <a:lnTo>
                    <a:pt x="1168400" y="1035050"/>
                  </a:lnTo>
                  <a:lnTo>
                    <a:pt x="1168400" y="1033463"/>
                  </a:lnTo>
                  <a:lnTo>
                    <a:pt x="1171575" y="1030288"/>
                  </a:lnTo>
                  <a:lnTo>
                    <a:pt x="1168400" y="1028700"/>
                  </a:lnTo>
                  <a:lnTo>
                    <a:pt x="1165225" y="1028700"/>
                  </a:lnTo>
                  <a:lnTo>
                    <a:pt x="1162050" y="1030288"/>
                  </a:lnTo>
                  <a:lnTo>
                    <a:pt x="1160463" y="1030288"/>
                  </a:lnTo>
                  <a:lnTo>
                    <a:pt x="1155700" y="1033463"/>
                  </a:lnTo>
                  <a:lnTo>
                    <a:pt x="1154113" y="1035050"/>
                  </a:lnTo>
                  <a:lnTo>
                    <a:pt x="1144588" y="1036638"/>
                  </a:lnTo>
                  <a:lnTo>
                    <a:pt x="1144588" y="1035050"/>
                  </a:lnTo>
                  <a:lnTo>
                    <a:pt x="1144588" y="1033463"/>
                  </a:lnTo>
                  <a:lnTo>
                    <a:pt x="1146175" y="1035050"/>
                  </a:lnTo>
                  <a:lnTo>
                    <a:pt x="1149350" y="1035050"/>
                  </a:lnTo>
                  <a:lnTo>
                    <a:pt x="1150938" y="1033463"/>
                  </a:lnTo>
                  <a:lnTo>
                    <a:pt x="1154113" y="1030288"/>
                  </a:lnTo>
                  <a:lnTo>
                    <a:pt x="1146175" y="1022350"/>
                  </a:lnTo>
                  <a:lnTo>
                    <a:pt x="1139825" y="1023938"/>
                  </a:lnTo>
                  <a:lnTo>
                    <a:pt x="1138238" y="1023938"/>
                  </a:lnTo>
                  <a:lnTo>
                    <a:pt x="1127125" y="1017588"/>
                  </a:lnTo>
                  <a:lnTo>
                    <a:pt x="1123950" y="1017588"/>
                  </a:lnTo>
                  <a:lnTo>
                    <a:pt x="1120775" y="1012825"/>
                  </a:lnTo>
                  <a:lnTo>
                    <a:pt x="1120775" y="1014413"/>
                  </a:lnTo>
                  <a:lnTo>
                    <a:pt x="1120775" y="1017588"/>
                  </a:lnTo>
                  <a:lnTo>
                    <a:pt x="1122363" y="1028700"/>
                  </a:lnTo>
                  <a:lnTo>
                    <a:pt x="1122363" y="1030288"/>
                  </a:lnTo>
                  <a:lnTo>
                    <a:pt x="1123950" y="1030288"/>
                  </a:lnTo>
                  <a:lnTo>
                    <a:pt x="1127125" y="1030288"/>
                  </a:lnTo>
                  <a:lnTo>
                    <a:pt x="1127125" y="1033463"/>
                  </a:lnTo>
                  <a:lnTo>
                    <a:pt x="1123950" y="1035050"/>
                  </a:lnTo>
                  <a:lnTo>
                    <a:pt x="1122363" y="1035050"/>
                  </a:lnTo>
                  <a:lnTo>
                    <a:pt x="1120775" y="1035050"/>
                  </a:lnTo>
                  <a:lnTo>
                    <a:pt x="1112838" y="1033463"/>
                  </a:lnTo>
                  <a:lnTo>
                    <a:pt x="1109663" y="1028700"/>
                  </a:lnTo>
                  <a:lnTo>
                    <a:pt x="1106488" y="1028700"/>
                  </a:lnTo>
                  <a:lnTo>
                    <a:pt x="1106488" y="1025525"/>
                  </a:lnTo>
                  <a:lnTo>
                    <a:pt x="1106488" y="1023938"/>
                  </a:lnTo>
                  <a:lnTo>
                    <a:pt x="1106488" y="1022350"/>
                  </a:lnTo>
                  <a:lnTo>
                    <a:pt x="1104900" y="1019175"/>
                  </a:lnTo>
                  <a:lnTo>
                    <a:pt x="1101725" y="1019175"/>
                  </a:lnTo>
                  <a:lnTo>
                    <a:pt x="1098550" y="1019175"/>
                  </a:lnTo>
                  <a:lnTo>
                    <a:pt x="1098550" y="1022350"/>
                  </a:lnTo>
                  <a:lnTo>
                    <a:pt x="1098550" y="1023938"/>
                  </a:lnTo>
                  <a:lnTo>
                    <a:pt x="1104900" y="1039813"/>
                  </a:lnTo>
                  <a:lnTo>
                    <a:pt x="1112838" y="1046163"/>
                  </a:lnTo>
                  <a:lnTo>
                    <a:pt x="1122363" y="1052513"/>
                  </a:lnTo>
                  <a:lnTo>
                    <a:pt x="1123950" y="1055688"/>
                  </a:lnTo>
                  <a:lnTo>
                    <a:pt x="1123950" y="1057275"/>
                  </a:lnTo>
                  <a:lnTo>
                    <a:pt x="1100138" y="1071563"/>
                  </a:lnTo>
                  <a:lnTo>
                    <a:pt x="1098550" y="1071563"/>
                  </a:lnTo>
                  <a:lnTo>
                    <a:pt x="1095375" y="1073150"/>
                  </a:lnTo>
                  <a:lnTo>
                    <a:pt x="1093788" y="1071563"/>
                  </a:lnTo>
                  <a:lnTo>
                    <a:pt x="1090613" y="1071563"/>
                  </a:lnTo>
                  <a:lnTo>
                    <a:pt x="1090613" y="1068388"/>
                  </a:lnTo>
                  <a:lnTo>
                    <a:pt x="1090613" y="1063625"/>
                  </a:lnTo>
                  <a:lnTo>
                    <a:pt x="1090613" y="1062038"/>
                  </a:lnTo>
                  <a:lnTo>
                    <a:pt x="1087438" y="1055688"/>
                  </a:lnTo>
                  <a:lnTo>
                    <a:pt x="1082675" y="1050925"/>
                  </a:lnTo>
                  <a:lnTo>
                    <a:pt x="1079500" y="1050925"/>
                  </a:lnTo>
                  <a:lnTo>
                    <a:pt x="1079500" y="1052513"/>
                  </a:lnTo>
                  <a:lnTo>
                    <a:pt x="1076325" y="1058863"/>
                  </a:lnTo>
                  <a:lnTo>
                    <a:pt x="1076325" y="1062038"/>
                  </a:lnTo>
                  <a:lnTo>
                    <a:pt x="1077913" y="1063625"/>
                  </a:lnTo>
                  <a:lnTo>
                    <a:pt x="1082675" y="1066800"/>
                  </a:lnTo>
                  <a:lnTo>
                    <a:pt x="1082675" y="1068388"/>
                  </a:lnTo>
                  <a:lnTo>
                    <a:pt x="1082675" y="1082675"/>
                  </a:lnTo>
                  <a:lnTo>
                    <a:pt x="1071563" y="1095375"/>
                  </a:lnTo>
                  <a:lnTo>
                    <a:pt x="1066800" y="1096963"/>
                  </a:lnTo>
                  <a:lnTo>
                    <a:pt x="1065213" y="1096963"/>
                  </a:lnTo>
                  <a:lnTo>
                    <a:pt x="1060450" y="1096963"/>
                  </a:lnTo>
                  <a:lnTo>
                    <a:pt x="1057275" y="1095375"/>
                  </a:lnTo>
                  <a:lnTo>
                    <a:pt x="1055688" y="1089025"/>
                  </a:lnTo>
                  <a:lnTo>
                    <a:pt x="1039813" y="1090613"/>
                  </a:lnTo>
                  <a:lnTo>
                    <a:pt x="1039813" y="1093788"/>
                  </a:lnTo>
                  <a:lnTo>
                    <a:pt x="1035050" y="1104900"/>
                  </a:lnTo>
                  <a:lnTo>
                    <a:pt x="1038225" y="1104900"/>
                  </a:lnTo>
                  <a:lnTo>
                    <a:pt x="1039813" y="1106488"/>
                  </a:lnTo>
                  <a:lnTo>
                    <a:pt x="1042988" y="1108075"/>
                  </a:lnTo>
                  <a:lnTo>
                    <a:pt x="1046163" y="1104900"/>
                  </a:lnTo>
                  <a:lnTo>
                    <a:pt x="1049338" y="1104900"/>
                  </a:lnTo>
                  <a:lnTo>
                    <a:pt x="1054100" y="1101725"/>
                  </a:lnTo>
                  <a:lnTo>
                    <a:pt x="1055688" y="1101725"/>
                  </a:lnTo>
                  <a:lnTo>
                    <a:pt x="1055688" y="1108075"/>
                  </a:lnTo>
                  <a:lnTo>
                    <a:pt x="1038225" y="1135063"/>
                  </a:lnTo>
                  <a:lnTo>
                    <a:pt x="1038225" y="1138238"/>
                  </a:lnTo>
                  <a:lnTo>
                    <a:pt x="1035050" y="1138238"/>
                  </a:lnTo>
                  <a:lnTo>
                    <a:pt x="1033463" y="1138238"/>
                  </a:lnTo>
                  <a:lnTo>
                    <a:pt x="1020763" y="1133475"/>
                  </a:lnTo>
                  <a:lnTo>
                    <a:pt x="1004887" y="1128713"/>
                  </a:lnTo>
                  <a:lnTo>
                    <a:pt x="1001712" y="1130300"/>
                  </a:lnTo>
                  <a:lnTo>
                    <a:pt x="1001712" y="1133475"/>
                  </a:lnTo>
                  <a:lnTo>
                    <a:pt x="1004887" y="1135063"/>
                  </a:lnTo>
                  <a:lnTo>
                    <a:pt x="1006475" y="1135063"/>
                  </a:lnTo>
                  <a:lnTo>
                    <a:pt x="1016000" y="1141413"/>
                  </a:lnTo>
                  <a:lnTo>
                    <a:pt x="1023938" y="1150938"/>
                  </a:lnTo>
                  <a:lnTo>
                    <a:pt x="1028700" y="1157288"/>
                  </a:lnTo>
                  <a:lnTo>
                    <a:pt x="1016000" y="1193800"/>
                  </a:lnTo>
                  <a:lnTo>
                    <a:pt x="1012825" y="1200150"/>
                  </a:lnTo>
                  <a:lnTo>
                    <a:pt x="1012825" y="1201738"/>
                  </a:lnTo>
                  <a:lnTo>
                    <a:pt x="1006475" y="1204913"/>
                  </a:lnTo>
                  <a:lnTo>
                    <a:pt x="1004887" y="1204913"/>
                  </a:lnTo>
                  <a:lnTo>
                    <a:pt x="1001712" y="1195388"/>
                  </a:lnTo>
                  <a:lnTo>
                    <a:pt x="990600" y="1200150"/>
                  </a:lnTo>
                  <a:lnTo>
                    <a:pt x="989012" y="1196975"/>
                  </a:lnTo>
                  <a:lnTo>
                    <a:pt x="989012" y="1195388"/>
                  </a:lnTo>
                  <a:lnTo>
                    <a:pt x="984250" y="1193800"/>
                  </a:lnTo>
                  <a:lnTo>
                    <a:pt x="979487" y="1185863"/>
                  </a:lnTo>
                  <a:lnTo>
                    <a:pt x="974725" y="1184275"/>
                  </a:lnTo>
                  <a:lnTo>
                    <a:pt x="973137" y="1184275"/>
                  </a:lnTo>
                  <a:lnTo>
                    <a:pt x="973137" y="1185863"/>
                  </a:lnTo>
                  <a:lnTo>
                    <a:pt x="974725" y="1185863"/>
                  </a:lnTo>
                  <a:lnTo>
                    <a:pt x="979487" y="1193800"/>
                  </a:lnTo>
                  <a:lnTo>
                    <a:pt x="984250" y="1201738"/>
                  </a:lnTo>
                  <a:lnTo>
                    <a:pt x="984250" y="1204913"/>
                  </a:lnTo>
                  <a:lnTo>
                    <a:pt x="987425" y="1208088"/>
                  </a:lnTo>
                  <a:lnTo>
                    <a:pt x="989012" y="1211263"/>
                  </a:lnTo>
                  <a:lnTo>
                    <a:pt x="1000125" y="1212850"/>
                  </a:lnTo>
                  <a:lnTo>
                    <a:pt x="1006475" y="1211263"/>
                  </a:lnTo>
                  <a:lnTo>
                    <a:pt x="1009650" y="1208088"/>
                  </a:lnTo>
                  <a:lnTo>
                    <a:pt x="1011237" y="1208088"/>
                  </a:lnTo>
                  <a:lnTo>
                    <a:pt x="1012825" y="1208088"/>
                  </a:lnTo>
                  <a:lnTo>
                    <a:pt x="1011237" y="1211263"/>
                  </a:lnTo>
                  <a:lnTo>
                    <a:pt x="1011237" y="1227138"/>
                  </a:lnTo>
                  <a:lnTo>
                    <a:pt x="1009650" y="1228726"/>
                  </a:lnTo>
                  <a:lnTo>
                    <a:pt x="1006475" y="1239838"/>
                  </a:lnTo>
                  <a:lnTo>
                    <a:pt x="998537" y="1241426"/>
                  </a:lnTo>
                  <a:lnTo>
                    <a:pt x="998537" y="1244601"/>
                  </a:lnTo>
                  <a:lnTo>
                    <a:pt x="998537" y="1263651"/>
                  </a:lnTo>
                  <a:lnTo>
                    <a:pt x="998537" y="1266826"/>
                  </a:lnTo>
                  <a:lnTo>
                    <a:pt x="1000125" y="1268413"/>
                  </a:lnTo>
                  <a:lnTo>
                    <a:pt x="1001712" y="1268413"/>
                  </a:lnTo>
                  <a:lnTo>
                    <a:pt x="1004887" y="1268413"/>
                  </a:lnTo>
                  <a:lnTo>
                    <a:pt x="1004887" y="1271588"/>
                  </a:lnTo>
                  <a:lnTo>
                    <a:pt x="1006475" y="1277938"/>
                  </a:lnTo>
                  <a:lnTo>
                    <a:pt x="1012825" y="1304926"/>
                  </a:lnTo>
                  <a:lnTo>
                    <a:pt x="1012825" y="1322388"/>
                  </a:lnTo>
                  <a:lnTo>
                    <a:pt x="1016000" y="1327151"/>
                  </a:lnTo>
                  <a:lnTo>
                    <a:pt x="1017588" y="1327151"/>
                  </a:lnTo>
                  <a:lnTo>
                    <a:pt x="1023938" y="1343026"/>
                  </a:lnTo>
                  <a:lnTo>
                    <a:pt x="1023938" y="1346201"/>
                  </a:lnTo>
                  <a:lnTo>
                    <a:pt x="1023938" y="1354138"/>
                  </a:lnTo>
                  <a:lnTo>
                    <a:pt x="1023938" y="1360488"/>
                  </a:lnTo>
                  <a:lnTo>
                    <a:pt x="1031875" y="1377951"/>
                  </a:lnTo>
                  <a:lnTo>
                    <a:pt x="1033463" y="1377951"/>
                  </a:lnTo>
                  <a:lnTo>
                    <a:pt x="1035050" y="1376363"/>
                  </a:lnTo>
                  <a:lnTo>
                    <a:pt x="1038225" y="1373188"/>
                  </a:lnTo>
                  <a:lnTo>
                    <a:pt x="1039813" y="1371601"/>
                  </a:lnTo>
                  <a:lnTo>
                    <a:pt x="1039813" y="1366838"/>
                  </a:lnTo>
                  <a:lnTo>
                    <a:pt x="1039813" y="1365251"/>
                  </a:lnTo>
                  <a:lnTo>
                    <a:pt x="1042988" y="1366838"/>
                  </a:lnTo>
                  <a:lnTo>
                    <a:pt x="1042988" y="1368426"/>
                  </a:lnTo>
                  <a:lnTo>
                    <a:pt x="1042988" y="1373188"/>
                  </a:lnTo>
                  <a:lnTo>
                    <a:pt x="1042988" y="1377951"/>
                  </a:lnTo>
                  <a:lnTo>
                    <a:pt x="1042988" y="1379538"/>
                  </a:lnTo>
                  <a:lnTo>
                    <a:pt x="1039813" y="1379538"/>
                  </a:lnTo>
                  <a:lnTo>
                    <a:pt x="1028700" y="1382713"/>
                  </a:lnTo>
                  <a:lnTo>
                    <a:pt x="1023938" y="1384301"/>
                  </a:lnTo>
                  <a:lnTo>
                    <a:pt x="1020763" y="1389063"/>
                  </a:lnTo>
                  <a:lnTo>
                    <a:pt x="1022350" y="1393826"/>
                  </a:lnTo>
                  <a:lnTo>
                    <a:pt x="1020763" y="1393826"/>
                  </a:lnTo>
                  <a:lnTo>
                    <a:pt x="1020763" y="1395413"/>
                  </a:lnTo>
                  <a:lnTo>
                    <a:pt x="1017588" y="1395413"/>
                  </a:lnTo>
                  <a:lnTo>
                    <a:pt x="1012825" y="1395413"/>
                  </a:lnTo>
                  <a:lnTo>
                    <a:pt x="1011237" y="1395413"/>
                  </a:lnTo>
                  <a:lnTo>
                    <a:pt x="1001712" y="1389063"/>
                  </a:lnTo>
                  <a:lnTo>
                    <a:pt x="1001712" y="1387476"/>
                  </a:lnTo>
                  <a:lnTo>
                    <a:pt x="998537" y="1382713"/>
                  </a:lnTo>
                  <a:lnTo>
                    <a:pt x="990600" y="1373188"/>
                  </a:lnTo>
                  <a:lnTo>
                    <a:pt x="987425" y="1371601"/>
                  </a:lnTo>
                  <a:lnTo>
                    <a:pt x="984250" y="1371601"/>
                  </a:lnTo>
                  <a:lnTo>
                    <a:pt x="984250" y="1368426"/>
                  </a:lnTo>
                  <a:lnTo>
                    <a:pt x="971550" y="1366838"/>
                  </a:lnTo>
                  <a:lnTo>
                    <a:pt x="966787" y="1366838"/>
                  </a:lnTo>
                  <a:lnTo>
                    <a:pt x="950912" y="1366838"/>
                  </a:lnTo>
                  <a:lnTo>
                    <a:pt x="946150" y="1368426"/>
                  </a:lnTo>
                  <a:lnTo>
                    <a:pt x="944562" y="1368426"/>
                  </a:lnTo>
                  <a:lnTo>
                    <a:pt x="941387" y="1368426"/>
                  </a:lnTo>
                  <a:lnTo>
                    <a:pt x="927100" y="1366838"/>
                  </a:lnTo>
                  <a:lnTo>
                    <a:pt x="917575" y="1362076"/>
                  </a:lnTo>
                  <a:lnTo>
                    <a:pt x="915987" y="1360488"/>
                  </a:lnTo>
                  <a:lnTo>
                    <a:pt x="908050" y="1355726"/>
                  </a:lnTo>
                  <a:lnTo>
                    <a:pt x="906462" y="1349376"/>
                  </a:lnTo>
                  <a:lnTo>
                    <a:pt x="901700" y="1346201"/>
                  </a:lnTo>
                  <a:lnTo>
                    <a:pt x="900112" y="1344613"/>
                  </a:lnTo>
                  <a:lnTo>
                    <a:pt x="885825" y="1343026"/>
                  </a:lnTo>
                  <a:lnTo>
                    <a:pt x="882650" y="1343026"/>
                  </a:lnTo>
                  <a:lnTo>
                    <a:pt x="873125" y="1338263"/>
                  </a:lnTo>
                  <a:lnTo>
                    <a:pt x="868362" y="1333501"/>
                  </a:lnTo>
                  <a:lnTo>
                    <a:pt x="863600" y="1328738"/>
                  </a:lnTo>
                  <a:lnTo>
                    <a:pt x="849312" y="1323976"/>
                  </a:lnTo>
                  <a:lnTo>
                    <a:pt x="841375" y="1322388"/>
                  </a:lnTo>
                  <a:lnTo>
                    <a:pt x="828675" y="1317626"/>
                  </a:lnTo>
                  <a:lnTo>
                    <a:pt x="823912" y="1306513"/>
                  </a:lnTo>
                  <a:lnTo>
                    <a:pt x="817562" y="1282701"/>
                  </a:lnTo>
                  <a:lnTo>
                    <a:pt x="812800" y="1268413"/>
                  </a:lnTo>
                  <a:lnTo>
                    <a:pt x="811212" y="1266826"/>
                  </a:lnTo>
                  <a:lnTo>
                    <a:pt x="811212" y="1262063"/>
                  </a:lnTo>
                  <a:lnTo>
                    <a:pt x="808037" y="1262063"/>
                  </a:lnTo>
                  <a:lnTo>
                    <a:pt x="804862" y="1262063"/>
                  </a:lnTo>
                  <a:lnTo>
                    <a:pt x="804862" y="1260476"/>
                  </a:lnTo>
                  <a:lnTo>
                    <a:pt x="788987" y="1238251"/>
                  </a:lnTo>
                  <a:lnTo>
                    <a:pt x="790575" y="1211263"/>
                  </a:lnTo>
                  <a:lnTo>
                    <a:pt x="788987" y="1182688"/>
                  </a:lnTo>
                  <a:lnTo>
                    <a:pt x="784225" y="1171575"/>
                  </a:lnTo>
                  <a:lnTo>
                    <a:pt x="784225" y="1168400"/>
                  </a:lnTo>
                  <a:lnTo>
                    <a:pt x="782637" y="1166813"/>
                  </a:lnTo>
                  <a:lnTo>
                    <a:pt x="779462" y="1163638"/>
                  </a:lnTo>
                  <a:lnTo>
                    <a:pt x="774700" y="1160463"/>
                  </a:lnTo>
                  <a:lnTo>
                    <a:pt x="773112" y="1160463"/>
                  </a:lnTo>
                  <a:lnTo>
                    <a:pt x="763587" y="1157288"/>
                  </a:lnTo>
                  <a:lnTo>
                    <a:pt x="762000" y="1157288"/>
                  </a:lnTo>
                  <a:lnTo>
                    <a:pt x="758825" y="1155700"/>
                  </a:lnTo>
                  <a:lnTo>
                    <a:pt x="758825" y="1152525"/>
                  </a:lnTo>
                  <a:lnTo>
                    <a:pt x="758825" y="1150938"/>
                  </a:lnTo>
                  <a:lnTo>
                    <a:pt x="757237" y="1149350"/>
                  </a:lnTo>
                  <a:lnTo>
                    <a:pt x="755650" y="1149350"/>
                  </a:lnTo>
                  <a:lnTo>
                    <a:pt x="752475" y="1146175"/>
                  </a:lnTo>
                  <a:lnTo>
                    <a:pt x="752475" y="1144588"/>
                  </a:lnTo>
                  <a:lnTo>
                    <a:pt x="750887" y="1144588"/>
                  </a:lnTo>
                  <a:lnTo>
                    <a:pt x="747712" y="1141413"/>
                  </a:lnTo>
                  <a:lnTo>
                    <a:pt x="746125" y="1139825"/>
                  </a:lnTo>
                  <a:lnTo>
                    <a:pt x="744537" y="1138238"/>
                  </a:lnTo>
                  <a:lnTo>
                    <a:pt x="744537" y="1133475"/>
                  </a:lnTo>
                  <a:lnTo>
                    <a:pt x="744537" y="1127125"/>
                  </a:lnTo>
                  <a:lnTo>
                    <a:pt x="736600" y="1117600"/>
                  </a:lnTo>
                  <a:lnTo>
                    <a:pt x="735012" y="1116013"/>
                  </a:lnTo>
                  <a:lnTo>
                    <a:pt x="723900" y="1096963"/>
                  </a:lnTo>
                  <a:lnTo>
                    <a:pt x="722312" y="1093788"/>
                  </a:lnTo>
                  <a:lnTo>
                    <a:pt x="719137" y="1093788"/>
                  </a:lnTo>
                  <a:lnTo>
                    <a:pt x="719137" y="1090613"/>
                  </a:lnTo>
                  <a:lnTo>
                    <a:pt x="717550" y="1090613"/>
                  </a:lnTo>
                  <a:lnTo>
                    <a:pt x="711200" y="1085850"/>
                  </a:lnTo>
                  <a:lnTo>
                    <a:pt x="703262" y="1082675"/>
                  </a:lnTo>
                  <a:lnTo>
                    <a:pt x="700087" y="1077913"/>
                  </a:lnTo>
                  <a:lnTo>
                    <a:pt x="700087" y="1074738"/>
                  </a:lnTo>
                  <a:lnTo>
                    <a:pt x="692150" y="1062038"/>
                  </a:lnTo>
                  <a:lnTo>
                    <a:pt x="692150" y="1058863"/>
                  </a:lnTo>
                  <a:lnTo>
                    <a:pt x="692150" y="1057275"/>
                  </a:lnTo>
                  <a:lnTo>
                    <a:pt x="695325" y="1057275"/>
                  </a:lnTo>
                  <a:lnTo>
                    <a:pt x="690562" y="1047750"/>
                  </a:lnTo>
                  <a:lnTo>
                    <a:pt x="690562" y="1046163"/>
                  </a:lnTo>
                  <a:lnTo>
                    <a:pt x="685800" y="1036638"/>
                  </a:lnTo>
                  <a:lnTo>
                    <a:pt x="681037" y="1030288"/>
                  </a:lnTo>
                  <a:lnTo>
                    <a:pt x="677862" y="1025525"/>
                  </a:lnTo>
                  <a:lnTo>
                    <a:pt x="677862" y="1023938"/>
                  </a:lnTo>
                  <a:lnTo>
                    <a:pt x="677862" y="1022350"/>
                  </a:lnTo>
                  <a:lnTo>
                    <a:pt x="674687" y="1022350"/>
                  </a:lnTo>
                  <a:lnTo>
                    <a:pt x="677862" y="1019175"/>
                  </a:lnTo>
                  <a:lnTo>
                    <a:pt x="677862" y="1017588"/>
                  </a:lnTo>
                  <a:lnTo>
                    <a:pt x="674687" y="1017588"/>
                  </a:lnTo>
                  <a:lnTo>
                    <a:pt x="673100" y="1006475"/>
                  </a:lnTo>
                  <a:lnTo>
                    <a:pt x="673100" y="1003300"/>
                  </a:lnTo>
                  <a:lnTo>
                    <a:pt x="668337" y="1000125"/>
                  </a:lnTo>
                  <a:lnTo>
                    <a:pt x="666750" y="995363"/>
                  </a:lnTo>
                  <a:lnTo>
                    <a:pt x="661987" y="990600"/>
                  </a:lnTo>
                  <a:lnTo>
                    <a:pt x="661987" y="989013"/>
                  </a:lnTo>
                  <a:lnTo>
                    <a:pt x="658812" y="989013"/>
                  </a:lnTo>
                  <a:lnTo>
                    <a:pt x="661987" y="984250"/>
                  </a:lnTo>
                  <a:lnTo>
                    <a:pt x="661987" y="981075"/>
                  </a:lnTo>
                  <a:lnTo>
                    <a:pt x="657225" y="968375"/>
                  </a:lnTo>
                  <a:lnTo>
                    <a:pt x="644525" y="947738"/>
                  </a:lnTo>
                  <a:lnTo>
                    <a:pt x="641350" y="947738"/>
                  </a:lnTo>
                  <a:lnTo>
                    <a:pt x="628650" y="936625"/>
                  </a:lnTo>
                  <a:lnTo>
                    <a:pt x="625475" y="935038"/>
                  </a:lnTo>
                  <a:lnTo>
                    <a:pt x="617537" y="925513"/>
                  </a:lnTo>
                  <a:lnTo>
                    <a:pt x="617537" y="923925"/>
                  </a:lnTo>
                  <a:lnTo>
                    <a:pt x="617537" y="922338"/>
                  </a:lnTo>
                  <a:lnTo>
                    <a:pt x="614362" y="922338"/>
                  </a:lnTo>
                  <a:lnTo>
                    <a:pt x="612775" y="919163"/>
                  </a:lnTo>
                  <a:lnTo>
                    <a:pt x="608012" y="919163"/>
                  </a:lnTo>
                  <a:lnTo>
                    <a:pt x="606425" y="917575"/>
                  </a:lnTo>
                  <a:lnTo>
                    <a:pt x="596900" y="911225"/>
                  </a:lnTo>
                  <a:lnTo>
                    <a:pt x="585787" y="901700"/>
                  </a:lnTo>
                  <a:lnTo>
                    <a:pt x="581025" y="895350"/>
                  </a:lnTo>
                  <a:lnTo>
                    <a:pt x="579437" y="892175"/>
                  </a:lnTo>
                  <a:lnTo>
                    <a:pt x="579437" y="890588"/>
                  </a:lnTo>
                  <a:lnTo>
                    <a:pt x="577850" y="881063"/>
                  </a:lnTo>
                  <a:lnTo>
                    <a:pt x="569912" y="881063"/>
                  </a:lnTo>
                  <a:lnTo>
                    <a:pt x="561975" y="881063"/>
                  </a:lnTo>
                  <a:lnTo>
                    <a:pt x="552450" y="881063"/>
                  </a:lnTo>
                  <a:lnTo>
                    <a:pt x="542925" y="879475"/>
                  </a:lnTo>
                  <a:lnTo>
                    <a:pt x="539750" y="879475"/>
                  </a:lnTo>
                  <a:lnTo>
                    <a:pt x="534987" y="877888"/>
                  </a:lnTo>
                  <a:lnTo>
                    <a:pt x="530225" y="877888"/>
                  </a:lnTo>
                  <a:lnTo>
                    <a:pt x="523875" y="877888"/>
                  </a:lnTo>
                  <a:lnTo>
                    <a:pt x="512762" y="877888"/>
                  </a:lnTo>
                  <a:lnTo>
                    <a:pt x="506412" y="877888"/>
                  </a:lnTo>
                  <a:lnTo>
                    <a:pt x="503237" y="877888"/>
                  </a:lnTo>
                  <a:lnTo>
                    <a:pt x="498475" y="877888"/>
                  </a:lnTo>
                  <a:lnTo>
                    <a:pt x="496887" y="877888"/>
                  </a:lnTo>
                  <a:lnTo>
                    <a:pt x="485775" y="869950"/>
                  </a:lnTo>
                  <a:lnTo>
                    <a:pt x="484187" y="868363"/>
                  </a:lnTo>
                  <a:lnTo>
                    <a:pt x="481012" y="868363"/>
                  </a:lnTo>
                  <a:lnTo>
                    <a:pt x="479425" y="866775"/>
                  </a:lnTo>
                  <a:lnTo>
                    <a:pt x="476250" y="866775"/>
                  </a:lnTo>
                  <a:lnTo>
                    <a:pt x="473075" y="869950"/>
                  </a:lnTo>
                  <a:lnTo>
                    <a:pt x="457200" y="879475"/>
                  </a:lnTo>
                  <a:lnTo>
                    <a:pt x="450850" y="881063"/>
                  </a:lnTo>
                  <a:lnTo>
                    <a:pt x="436562" y="885825"/>
                  </a:lnTo>
                  <a:lnTo>
                    <a:pt x="423862" y="919163"/>
                  </a:lnTo>
                  <a:lnTo>
                    <a:pt x="417512" y="936625"/>
                  </a:lnTo>
                  <a:lnTo>
                    <a:pt x="412750" y="947738"/>
                  </a:lnTo>
                  <a:lnTo>
                    <a:pt x="406400" y="957263"/>
                  </a:lnTo>
                  <a:lnTo>
                    <a:pt x="396875" y="969963"/>
                  </a:lnTo>
                  <a:lnTo>
                    <a:pt x="384175" y="984250"/>
                  </a:lnTo>
                  <a:lnTo>
                    <a:pt x="381000" y="984250"/>
                  </a:lnTo>
                  <a:lnTo>
                    <a:pt x="369887" y="981075"/>
                  </a:lnTo>
                  <a:lnTo>
                    <a:pt x="368300" y="981075"/>
                  </a:lnTo>
                  <a:lnTo>
                    <a:pt x="360362" y="979488"/>
                  </a:lnTo>
                  <a:lnTo>
                    <a:pt x="357187" y="977900"/>
                  </a:lnTo>
                  <a:lnTo>
                    <a:pt x="349250" y="973138"/>
                  </a:lnTo>
                  <a:lnTo>
                    <a:pt x="347662" y="969963"/>
                  </a:lnTo>
                  <a:lnTo>
                    <a:pt x="342900" y="966788"/>
                  </a:lnTo>
                  <a:lnTo>
                    <a:pt x="320675" y="957263"/>
                  </a:lnTo>
                  <a:lnTo>
                    <a:pt x="303212" y="944563"/>
                  </a:lnTo>
                  <a:lnTo>
                    <a:pt x="293687" y="941388"/>
                  </a:lnTo>
                  <a:lnTo>
                    <a:pt x="290512" y="939800"/>
                  </a:lnTo>
                  <a:lnTo>
                    <a:pt x="287337" y="939800"/>
                  </a:lnTo>
                  <a:lnTo>
                    <a:pt x="285750" y="936625"/>
                  </a:lnTo>
                  <a:lnTo>
                    <a:pt x="282575" y="935038"/>
                  </a:lnTo>
                  <a:lnTo>
                    <a:pt x="271462" y="925513"/>
                  </a:lnTo>
                  <a:lnTo>
                    <a:pt x="269875" y="923925"/>
                  </a:lnTo>
                  <a:lnTo>
                    <a:pt x="269875" y="922338"/>
                  </a:lnTo>
                  <a:lnTo>
                    <a:pt x="269875" y="919163"/>
                  </a:lnTo>
                  <a:lnTo>
                    <a:pt x="268287" y="917575"/>
                  </a:lnTo>
                  <a:lnTo>
                    <a:pt x="263525" y="914400"/>
                  </a:lnTo>
                  <a:lnTo>
                    <a:pt x="260350" y="912813"/>
                  </a:lnTo>
                  <a:lnTo>
                    <a:pt x="258762" y="912813"/>
                  </a:lnTo>
                  <a:lnTo>
                    <a:pt x="257175" y="912813"/>
                  </a:lnTo>
                  <a:lnTo>
                    <a:pt x="254000" y="912813"/>
                  </a:lnTo>
                  <a:lnTo>
                    <a:pt x="246062" y="908050"/>
                  </a:lnTo>
                  <a:lnTo>
                    <a:pt x="242887" y="903288"/>
                  </a:lnTo>
                  <a:lnTo>
                    <a:pt x="231775" y="895350"/>
                  </a:lnTo>
                  <a:lnTo>
                    <a:pt x="219075" y="858838"/>
                  </a:lnTo>
                  <a:lnTo>
                    <a:pt x="215900" y="858838"/>
                  </a:lnTo>
                  <a:lnTo>
                    <a:pt x="215900" y="850900"/>
                  </a:lnTo>
                  <a:lnTo>
                    <a:pt x="214312" y="846138"/>
                  </a:lnTo>
                  <a:lnTo>
                    <a:pt x="214312" y="842963"/>
                  </a:lnTo>
                  <a:lnTo>
                    <a:pt x="215900" y="839788"/>
                  </a:lnTo>
                  <a:lnTo>
                    <a:pt x="215900" y="836613"/>
                  </a:lnTo>
                  <a:lnTo>
                    <a:pt x="219075" y="830263"/>
                  </a:lnTo>
                  <a:lnTo>
                    <a:pt x="215900" y="825500"/>
                  </a:lnTo>
                  <a:lnTo>
                    <a:pt x="214312" y="820738"/>
                  </a:lnTo>
                  <a:lnTo>
                    <a:pt x="207962" y="809625"/>
                  </a:lnTo>
                  <a:lnTo>
                    <a:pt x="201612" y="801688"/>
                  </a:lnTo>
                  <a:lnTo>
                    <a:pt x="196850" y="790575"/>
                  </a:lnTo>
                  <a:lnTo>
                    <a:pt x="196850" y="784225"/>
                  </a:lnTo>
                  <a:lnTo>
                    <a:pt x="193675" y="779463"/>
                  </a:lnTo>
                  <a:lnTo>
                    <a:pt x="193675" y="776288"/>
                  </a:lnTo>
                  <a:lnTo>
                    <a:pt x="190500" y="773113"/>
                  </a:lnTo>
                  <a:lnTo>
                    <a:pt x="182562" y="768350"/>
                  </a:lnTo>
                  <a:lnTo>
                    <a:pt x="176212" y="762000"/>
                  </a:lnTo>
                  <a:lnTo>
                    <a:pt x="168275" y="752475"/>
                  </a:lnTo>
                  <a:lnTo>
                    <a:pt x="163512" y="750888"/>
                  </a:lnTo>
                  <a:lnTo>
                    <a:pt x="158750" y="746125"/>
                  </a:lnTo>
                  <a:lnTo>
                    <a:pt x="155575" y="746125"/>
                  </a:lnTo>
                  <a:lnTo>
                    <a:pt x="153987" y="747713"/>
                  </a:lnTo>
                  <a:lnTo>
                    <a:pt x="138112" y="739775"/>
                  </a:lnTo>
                  <a:lnTo>
                    <a:pt x="130175" y="728663"/>
                  </a:lnTo>
                  <a:lnTo>
                    <a:pt x="127000" y="728663"/>
                  </a:lnTo>
                  <a:lnTo>
                    <a:pt x="122237" y="720725"/>
                  </a:lnTo>
                  <a:lnTo>
                    <a:pt x="119062" y="714375"/>
                  </a:lnTo>
                  <a:lnTo>
                    <a:pt x="119062" y="712788"/>
                  </a:lnTo>
                  <a:lnTo>
                    <a:pt x="115887" y="709613"/>
                  </a:lnTo>
                  <a:lnTo>
                    <a:pt x="104775" y="701675"/>
                  </a:lnTo>
                  <a:lnTo>
                    <a:pt x="98425" y="696913"/>
                  </a:lnTo>
                  <a:lnTo>
                    <a:pt x="96837" y="696913"/>
                  </a:lnTo>
                  <a:lnTo>
                    <a:pt x="96837" y="695325"/>
                  </a:lnTo>
                  <a:lnTo>
                    <a:pt x="96837" y="692150"/>
                  </a:lnTo>
                  <a:lnTo>
                    <a:pt x="92075" y="687388"/>
                  </a:lnTo>
                  <a:lnTo>
                    <a:pt x="88900" y="685800"/>
                  </a:lnTo>
                  <a:lnTo>
                    <a:pt x="87312" y="684213"/>
                  </a:lnTo>
                  <a:lnTo>
                    <a:pt x="76200" y="673100"/>
                  </a:lnTo>
                  <a:lnTo>
                    <a:pt x="71437" y="668338"/>
                  </a:lnTo>
                  <a:lnTo>
                    <a:pt x="66675" y="668338"/>
                  </a:lnTo>
                  <a:lnTo>
                    <a:pt x="65087" y="668338"/>
                  </a:lnTo>
                  <a:lnTo>
                    <a:pt x="55562" y="663575"/>
                  </a:lnTo>
                  <a:lnTo>
                    <a:pt x="49212" y="658813"/>
                  </a:lnTo>
                  <a:lnTo>
                    <a:pt x="42862" y="647700"/>
                  </a:lnTo>
                  <a:lnTo>
                    <a:pt x="42862" y="646113"/>
                  </a:lnTo>
                  <a:lnTo>
                    <a:pt x="41275" y="641350"/>
                  </a:lnTo>
                  <a:lnTo>
                    <a:pt x="38100" y="636588"/>
                  </a:lnTo>
                  <a:lnTo>
                    <a:pt x="36512" y="630238"/>
                  </a:lnTo>
                  <a:lnTo>
                    <a:pt x="30162" y="623888"/>
                  </a:lnTo>
                  <a:lnTo>
                    <a:pt x="30162" y="620713"/>
                  </a:lnTo>
                  <a:lnTo>
                    <a:pt x="26987" y="620713"/>
                  </a:lnTo>
                  <a:lnTo>
                    <a:pt x="25400" y="620713"/>
                  </a:lnTo>
                  <a:lnTo>
                    <a:pt x="22225" y="620713"/>
                  </a:lnTo>
                  <a:lnTo>
                    <a:pt x="19050" y="620713"/>
                  </a:lnTo>
                  <a:lnTo>
                    <a:pt x="15875" y="619125"/>
                  </a:lnTo>
                  <a:lnTo>
                    <a:pt x="9525" y="612775"/>
                  </a:lnTo>
                  <a:lnTo>
                    <a:pt x="7937" y="612775"/>
                  </a:lnTo>
                  <a:lnTo>
                    <a:pt x="3175" y="603250"/>
                  </a:lnTo>
                  <a:lnTo>
                    <a:pt x="0" y="592138"/>
                  </a:lnTo>
                  <a:lnTo>
                    <a:pt x="0" y="590550"/>
                  </a:lnTo>
                  <a:lnTo>
                    <a:pt x="4762" y="590550"/>
                  </a:lnTo>
                  <a:lnTo>
                    <a:pt x="63500" y="590550"/>
                  </a:lnTo>
                  <a:lnTo>
                    <a:pt x="236537" y="590550"/>
                  </a:lnTo>
                  <a:lnTo>
                    <a:pt x="301625" y="590550"/>
                  </a:lnTo>
                  <a:lnTo>
                    <a:pt x="365125" y="590550"/>
                  </a:lnTo>
                  <a:lnTo>
                    <a:pt x="395287" y="590550"/>
                  </a:lnTo>
                  <a:lnTo>
                    <a:pt x="395287" y="560388"/>
                  </a:lnTo>
                  <a:lnTo>
                    <a:pt x="395287" y="458788"/>
                  </a:lnTo>
                  <a:lnTo>
                    <a:pt x="395287" y="441325"/>
                  </a:lnTo>
                  <a:lnTo>
                    <a:pt x="395287" y="427038"/>
                  </a:lnTo>
                  <a:lnTo>
                    <a:pt x="395287" y="396875"/>
                  </a:lnTo>
                  <a:lnTo>
                    <a:pt x="396875" y="363537"/>
                  </a:lnTo>
                  <a:lnTo>
                    <a:pt x="396875" y="327025"/>
                  </a:lnTo>
                  <a:lnTo>
                    <a:pt x="396875" y="298450"/>
                  </a:lnTo>
                  <a:lnTo>
                    <a:pt x="396875" y="180975"/>
                  </a:lnTo>
                  <a:close/>
                </a:path>
              </a:pathLst>
            </a:custGeom>
            <a:solidFill>
              <a:srgbClr val="FFFF99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78" name="Freeform 122"/>
            <p:cNvSpPr>
              <a:spLocks/>
            </p:cNvSpPr>
            <p:nvPr/>
          </p:nvSpPr>
          <p:spPr bwMode="auto">
            <a:xfrm>
              <a:off x="4795965" y="2069358"/>
              <a:ext cx="897674" cy="440157"/>
            </a:xfrm>
            <a:custGeom>
              <a:avLst/>
              <a:gdLst>
                <a:gd name="T0" fmla="*/ 2 w 516"/>
                <a:gd name="T1" fmla="*/ 222 h 253"/>
                <a:gd name="T2" fmla="*/ 2 w 516"/>
                <a:gd name="T3" fmla="*/ 150 h 253"/>
                <a:gd name="T4" fmla="*/ 2 w 516"/>
                <a:gd name="T5" fmla="*/ 106 h 253"/>
                <a:gd name="T6" fmla="*/ 2 w 516"/>
                <a:gd name="T7" fmla="*/ 72 h 253"/>
                <a:gd name="T8" fmla="*/ 0 w 516"/>
                <a:gd name="T9" fmla="*/ 10 h 253"/>
                <a:gd name="T10" fmla="*/ 21 w 516"/>
                <a:gd name="T11" fmla="*/ 0 h 253"/>
                <a:gd name="T12" fmla="*/ 54 w 516"/>
                <a:gd name="T13" fmla="*/ 0 h 253"/>
                <a:gd name="T14" fmla="*/ 104 w 516"/>
                <a:gd name="T15" fmla="*/ 0 h 253"/>
                <a:gd name="T16" fmla="*/ 129 w 516"/>
                <a:gd name="T17" fmla="*/ 0 h 253"/>
                <a:gd name="T18" fmla="*/ 184 w 516"/>
                <a:gd name="T19" fmla="*/ 0 h 253"/>
                <a:gd name="T20" fmla="*/ 205 w 516"/>
                <a:gd name="T21" fmla="*/ 0 h 253"/>
                <a:gd name="T22" fmla="*/ 279 w 516"/>
                <a:gd name="T23" fmla="*/ 0 h 253"/>
                <a:gd name="T24" fmla="*/ 356 w 516"/>
                <a:gd name="T25" fmla="*/ 0 h 253"/>
                <a:gd name="T26" fmla="*/ 398 w 516"/>
                <a:gd name="T27" fmla="*/ 0 h 253"/>
                <a:gd name="T28" fmla="*/ 442 w 516"/>
                <a:gd name="T29" fmla="*/ 0 h 253"/>
                <a:gd name="T30" fmla="*/ 471 w 516"/>
                <a:gd name="T31" fmla="*/ 5 h 253"/>
                <a:gd name="T32" fmla="*/ 480 w 516"/>
                <a:gd name="T33" fmla="*/ 27 h 253"/>
                <a:gd name="T34" fmla="*/ 480 w 516"/>
                <a:gd name="T35" fmla="*/ 29 h 253"/>
                <a:gd name="T36" fmla="*/ 478 w 516"/>
                <a:gd name="T37" fmla="*/ 33 h 253"/>
                <a:gd name="T38" fmla="*/ 476 w 516"/>
                <a:gd name="T39" fmla="*/ 36 h 253"/>
                <a:gd name="T40" fmla="*/ 476 w 516"/>
                <a:gd name="T41" fmla="*/ 37 h 253"/>
                <a:gd name="T42" fmla="*/ 476 w 516"/>
                <a:gd name="T43" fmla="*/ 38 h 253"/>
                <a:gd name="T44" fmla="*/ 477 w 516"/>
                <a:gd name="T45" fmla="*/ 47 h 253"/>
                <a:gd name="T46" fmla="*/ 477 w 516"/>
                <a:gd name="T47" fmla="*/ 57 h 253"/>
                <a:gd name="T48" fmla="*/ 477 w 516"/>
                <a:gd name="T49" fmla="*/ 69 h 253"/>
                <a:gd name="T50" fmla="*/ 477 w 516"/>
                <a:gd name="T51" fmla="*/ 71 h 253"/>
                <a:gd name="T52" fmla="*/ 484 w 516"/>
                <a:gd name="T53" fmla="*/ 93 h 253"/>
                <a:gd name="T54" fmla="*/ 487 w 516"/>
                <a:gd name="T55" fmla="*/ 97 h 253"/>
                <a:gd name="T56" fmla="*/ 492 w 516"/>
                <a:gd name="T57" fmla="*/ 107 h 253"/>
                <a:gd name="T58" fmla="*/ 497 w 516"/>
                <a:gd name="T59" fmla="*/ 115 h 253"/>
                <a:gd name="T60" fmla="*/ 497 w 516"/>
                <a:gd name="T61" fmla="*/ 134 h 253"/>
                <a:gd name="T62" fmla="*/ 498 w 516"/>
                <a:gd name="T63" fmla="*/ 166 h 253"/>
                <a:gd name="T64" fmla="*/ 502 w 516"/>
                <a:gd name="T65" fmla="*/ 174 h 253"/>
                <a:gd name="T66" fmla="*/ 501 w 516"/>
                <a:gd name="T67" fmla="*/ 176 h 253"/>
                <a:gd name="T68" fmla="*/ 499 w 516"/>
                <a:gd name="T69" fmla="*/ 181 h 253"/>
                <a:gd name="T70" fmla="*/ 499 w 516"/>
                <a:gd name="T71" fmla="*/ 194 h 253"/>
                <a:gd name="T72" fmla="*/ 504 w 516"/>
                <a:gd name="T73" fmla="*/ 207 h 253"/>
                <a:gd name="T74" fmla="*/ 505 w 516"/>
                <a:gd name="T75" fmla="*/ 211 h 253"/>
                <a:gd name="T76" fmla="*/ 509 w 516"/>
                <a:gd name="T77" fmla="*/ 216 h 253"/>
                <a:gd name="T78" fmla="*/ 512 w 516"/>
                <a:gd name="T79" fmla="*/ 219 h 253"/>
                <a:gd name="T80" fmla="*/ 513 w 516"/>
                <a:gd name="T81" fmla="*/ 221 h 253"/>
                <a:gd name="T82" fmla="*/ 513 w 516"/>
                <a:gd name="T83" fmla="*/ 222 h 253"/>
                <a:gd name="T84" fmla="*/ 516 w 516"/>
                <a:gd name="T85" fmla="*/ 240 h 253"/>
                <a:gd name="T86" fmla="*/ 516 w 516"/>
                <a:gd name="T87" fmla="*/ 242 h 253"/>
                <a:gd name="T88" fmla="*/ 515 w 516"/>
                <a:gd name="T89" fmla="*/ 244 h 253"/>
                <a:gd name="T90" fmla="*/ 515 w 516"/>
                <a:gd name="T91" fmla="*/ 246 h 253"/>
                <a:gd name="T92" fmla="*/ 516 w 516"/>
                <a:gd name="T93" fmla="*/ 253 h 253"/>
                <a:gd name="T94" fmla="*/ 431 w 516"/>
                <a:gd name="T95" fmla="*/ 253 h 253"/>
                <a:gd name="T96" fmla="*/ 248 w 516"/>
                <a:gd name="T97" fmla="*/ 253 h 253"/>
                <a:gd name="T98" fmla="*/ 72 w 516"/>
                <a:gd name="T99" fmla="*/ 253 h 253"/>
                <a:gd name="T100" fmla="*/ 2 w 516"/>
                <a:gd name="T101" fmla="*/ 253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16" h="253">
                  <a:moveTo>
                    <a:pt x="2" y="250"/>
                  </a:moveTo>
                  <a:lnTo>
                    <a:pt x="2" y="222"/>
                  </a:lnTo>
                  <a:lnTo>
                    <a:pt x="2" y="184"/>
                  </a:lnTo>
                  <a:lnTo>
                    <a:pt x="2" y="150"/>
                  </a:lnTo>
                  <a:lnTo>
                    <a:pt x="2" y="135"/>
                  </a:lnTo>
                  <a:lnTo>
                    <a:pt x="2" y="106"/>
                  </a:lnTo>
                  <a:lnTo>
                    <a:pt x="2" y="92"/>
                  </a:lnTo>
                  <a:lnTo>
                    <a:pt x="2" y="72"/>
                  </a:lnTo>
                  <a:lnTo>
                    <a:pt x="2" y="62"/>
                  </a:lnTo>
                  <a:lnTo>
                    <a:pt x="0" y="10"/>
                  </a:lnTo>
                  <a:lnTo>
                    <a:pt x="0" y="0"/>
                  </a:lnTo>
                  <a:lnTo>
                    <a:pt x="21" y="0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1" y="0"/>
                  </a:lnTo>
                  <a:lnTo>
                    <a:pt x="104" y="0"/>
                  </a:lnTo>
                  <a:lnTo>
                    <a:pt x="118" y="0"/>
                  </a:lnTo>
                  <a:lnTo>
                    <a:pt x="129" y="0"/>
                  </a:lnTo>
                  <a:lnTo>
                    <a:pt x="177" y="0"/>
                  </a:lnTo>
                  <a:lnTo>
                    <a:pt x="184" y="0"/>
                  </a:lnTo>
                  <a:lnTo>
                    <a:pt x="190" y="0"/>
                  </a:lnTo>
                  <a:lnTo>
                    <a:pt x="205" y="0"/>
                  </a:lnTo>
                  <a:lnTo>
                    <a:pt x="244" y="0"/>
                  </a:lnTo>
                  <a:lnTo>
                    <a:pt x="279" y="0"/>
                  </a:lnTo>
                  <a:lnTo>
                    <a:pt x="324" y="0"/>
                  </a:lnTo>
                  <a:lnTo>
                    <a:pt x="356" y="0"/>
                  </a:lnTo>
                  <a:lnTo>
                    <a:pt x="382" y="0"/>
                  </a:lnTo>
                  <a:lnTo>
                    <a:pt x="398" y="0"/>
                  </a:lnTo>
                  <a:lnTo>
                    <a:pt x="431" y="0"/>
                  </a:lnTo>
                  <a:lnTo>
                    <a:pt x="442" y="0"/>
                  </a:lnTo>
                  <a:lnTo>
                    <a:pt x="471" y="0"/>
                  </a:lnTo>
                  <a:lnTo>
                    <a:pt x="471" y="5"/>
                  </a:lnTo>
                  <a:lnTo>
                    <a:pt x="476" y="16"/>
                  </a:lnTo>
                  <a:lnTo>
                    <a:pt x="480" y="27"/>
                  </a:lnTo>
                  <a:lnTo>
                    <a:pt x="480" y="29"/>
                  </a:lnTo>
                  <a:lnTo>
                    <a:pt x="480" y="29"/>
                  </a:lnTo>
                  <a:lnTo>
                    <a:pt x="480" y="30"/>
                  </a:lnTo>
                  <a:lnTo>
                    <a:pt x="478" y="33"/>
                  </a:lnTo>
                  <a:lnTo>
                    <a:pt x="477" y="33"/>
                  </a:lnTo>
                  <a:lnTo>
                    <a:pt x="476" y="36"/>
                  </a:lnTo>
                  <a:lnTo>
                    <a:pt x="476" y="37"/>
                  </a:lnTo>
                  <a:lnTo>
                    <a:pt x="476" y="37"/>
                  </a:lnTo>
                  <a:lnTo>
                    <a:pt x="476" y="38"/>
                  </a:lnTo>
                  <a:lnTo>
                    <a:pt x="476" y="38"/>
                  </a:lnTo>
                  <a:lnTo>
                    <a:pt x="477" y="43"/>
                  </a:lnTo>
                  <a:lnTo>
                    <a:pt x="477" y="47"/>
                  </a:lnTo>
                  <a:lnTo>
                    <a:pt x="477" y="48"/>
                  </a:lnTo>
                  <a:lnTo>
                    <a:pt x="477" y="57"/>
                  </a:lnTo>
                  <a:lnTo>
                    <a:pt x="477" y="64"/>
                  </a:lnTo>
                  <a:lnTo>
                    <a:pt x="477" y="69"/>
                  </a:lnTo>
                  <a:lnTo>
                    <a:pt x="477" y="71"/>
                  </a:lnTo>
                  <a:lnTo>
                    <a:pt x="477" y="71"/>
                  </a:lnTo>
                  <a:lnTo>
                    <a:pt x="480" y="78"/>
                  </a:lnTo>
                  <a:lnTo>
                    <a:pt x="484" y="93"/>
                  </a:lnTo>
                  <a:lnTo>
                    <a:pt x="485" y="93"/>
                  </a:lnTo>
                  <a:lnTo>
                    <a:pt x="487" y="97"/>
                  </a:lnTo>
                  <a:lnTo>
                    <a:pt x="490" y="101"/>
                  </a:lnTo>
                  <a:lnTo>
                    <a:pt x="492" y="107"/>
                  </a:lnTo>
                  <a:lnTo>
                    <a:pt x="494" y="108"/>
                  </a:lnTo>
                  <a:lnTo>
                    <a:pt x="497" y="115"/>
                  </a:lnTo>
                  <a:lnTo>
                    <a:pt x="497" y="117"/>
                  </a:lnTo>
                  <a:lnTo>
                    <a:pt x="497" y="134"/>
                  </a:lnTo>
                  <a:lnTo>
                    <a:pt x="497" y="148"/>
                  </a:lnTo>
                  <a:lnTo>
                    <a:pt x="498" y="166"/>
                  </a:lnTo>
                  <a:lnTo>
                    <a:pt x="498" y="166"/>
                  </a:lnTo>
                  <a:lnTo>
                    <a:pt x="502" y="174"/>
                  </a:lnTo>
                  <a:lnTo>
                    <a:pt x="501" y="176"/>
                  </a:lnTo>
                  <a:lnTo>
                    <a:pt x="501" y="176"/>
                  </a:lnTo>
                  <a:lnTo>
                    <a:pt x="501" y="177"/>
                  </a:lnTo>
                  <a:lnTo>
                    <a:pt x="499" y="181"/>
                  </a:lnTo>
                  <a:lnTo>
                    <a:pt x="499" y="183"/>
                  </a:lnTo>
                  <a:lnTo>
                    <a:pt x="499" y="194"/>
                  </a:lnTo>
                  <a:lnTo>
                    <a:pt x="499" y="194"/>
                  </a:lnTo>
                  <a:lnTo>
                    <a:pt x="504" y="207"/>
                  </a:lnTo>
                  <a:lnTo>
                    <a:pt x="504" y="208"/>
                  </a:lnTo>
                  <a:lnTo>
                    <a:pt x="505" y="211"/>
                  </a:lnTo>
                  <a:lnTo>
                    <a:pt x="506" y="214"/>
                  </a:lnTo>
                  <a:lnTo>
                    <a:pt x="509" y="216"/>
                  </a:lnTo>
                  <a:lnTo>
                    <a:pt x="511" y="218"/>
                  </a:lnTo>
                  <a:lnTo>
                    <a:pt x="512" y="219"/>
                  </a:lnTo>
                  <a:lnTo>
                    <a:pt x="512" y="219"/>
                  </a:lnTo>
                  <a:lnTo>
                    <a:pt x="513" y="221"/>
                  </a:lnTo>
                  <a:lnTo>
                    <a:pt x="513" y="222"/>
                  </a:lnTo>
                  <a:lnTo>
                    <a:pt x="513" y="222"/>
                  </a:lnTo>
                  <a:lnTo>
                    <a:pt x="516" y="235"/>
                  </a:lnTo>
                  <a:lnTo>
                    <a:pt x="516" y="240"/>
                  </a:lnTo>
                  <a:lnTo>
                    <a:pt x="516" y="240"/>
                  </a:lnTo>
                  <a:lnTo>
                    <a:pt x="516" y="242"/>
                  </a:lnTo>
                  <a:lnTo>
                    <a:pt x="516" y="243"/>
                  </a:lnTo>
                  <a:lnTo>
                    <a:pt x="515" y="244"/>
                  </a:lnTo>
                  <a:lnTo>
                    <a:pt x="515" y="244"/>
                  </a:lnTo>
                  <a:lnTo>
                    <a:pt x="515" y="246"/>
                  </a:lnTo>
                  <a:lnTo>
                    <a:pt x="515" y="246"/>
                  </a:lnTo>
                  <a:lnTo>
                    <a:pt x="516" y="253"/>
                  </a:lnTo>
                  <a:lnTo>
                    <a:pt x="515" y="253"/>
                  </a:lnTo>
                  <a:lnTo>
                    <a:pt x="431" y="253"/>
                  </a:lnTo>
                  <a:lnTo>
                    <a:pt x="312" y="253"/>
                  </a:lnTo>
                  <a:lnTo>
                    <a:pt x="248" y="253"/>
                  </a:lnTo>
                  <a:lnTo>
                    <a:pt x="184" y="253"/>
                  </a:lnTo>
                  <a:lnTo>
                    <a:pt x="72" y="253"/>
                  </a:lnTo>
                  <a:lnTo>
                    <a:pt x="3" y="253"/>
                  </a:lnTo>
                  <a:lnTo>
                    <a:pt x="2" y="253"/>
                  </a:lnTo>
                  <a:lnTo>
                    <a:pt x="2" y="250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79" name="Freeform 123"/>
            <p:cNvSpPr>
              <a:spLocks/>
            </p:cNvSpPr>
            <p:nvPr/>
          </p:nvSpPr>
          <p:spPr bwMode="auto">
            <a:xfrm>
              <a:off x="6662639" y="4075287"/>
              <a:ext cx="431441" cy="690680"/>
            </a:xfrm>
            <a:custGeom>
              <a:avLst/>
              <a:gdLst>
                <a:gd name="T0" fmla="*/ 29 w 248"/>
                <a:gd name="T1" fmla="*/ 0 h 397"/>
                <a:gd name="T2" fmla="*/ 39 w 248"/>
                <a:gd name="T3" fmla="*/ 0 h 397"/>
                <a:gd name="T4" fmla="*/ 57 w 248"/>
                <a:gd name="T5" fmla="*/ 0 h 397"/>
                <a:gd name="T6" fmla="*/ 73 w 248"/>
                <a:gd name="T7" fmla="*/ 0 h 397"/>
                <a:gd name="T8" fmla="*/ 95 w 248"/>
                <a:gd name="T9" fmla="*/ 1 h 397"/>
                <a:gd name="T10" fmla="*/ 113 w 248"/>
                <a:gd name="T11" fmla="*/ 1 h 397"/>
                <a:gd name="T12" fmla="*/ 123 w 248"/>
                <a:gd name="T13" fmla="*/ 1 h 397"/>
                <a:gd name="T14" fmla="*/ 136 w 248"/>
                <a:gd name="T15" fmla="*/ 1 h 397"/>
                <a:gd name="T16" fmla="*/ 151 w 248"/>
                <a:gd name="T17" fmla="*/ 1 h 397"/>
                <a:gd name="T18" fmla="*/ 198 w 248"/>
                <a:gd name="T19" fmla="*/ 1 h 397"/>
                <a:gd name="T20" fmla="*/ 212 w 248"/>
                <a:gd name="T21" fmla="*/ 70 h 397"/>
                <a:gd name="T22" fmla="*/ 223 w 248"/>
                <a:gd name="T23" fmla="*/ 139 h 397"/>
                <a:gd name="T24" fmla="*/ 230 w 248"/>
                <a:gd name="T25" fmla="*/ 180 h 397"/>
                <a:gd name="T26" fmla="*/ 237 w 248"/>
                <a:gd name="T27" fmla="*/ 202 h 397"/>
                <a:gd name="T28" fmla="*/ 241 w 248"/>
                <a:gd name="T29" fmla="*/ 208 h 397"/>
                <a:gd name="T30" fmla="*/ 247 w 248"/>
                <a:gd name="T31" fmla="*/ 224 h 397"/>
                <a:gd name="T32" fmla="*/ 242 w 248"/>
                <a:gd name="T33" fmla="*/ 234 h 397"/>
                <a:gd name="T34" fmla="*/ 240 w 248"/>
                <a:gd name="T35" fmla="*/ 234 h 397"/>
                <a:gd name="T36" fmla="*/ 231 w 248"/>
                <a:gd name="T37" fmla="*/ 262 h 397"/>
                <a:gd name="T38" fmla="*/ 234 w 248"/>
                <a:gd name="T39" fmla="*/ 275 h 397"/>
                <a:gd name="T40" fmla="*/ 237 w 248"/>
                <a:gd name="T41" fmla="*/ 279 h 397"/>
                <a:gd name="T42" fmla="*/ 238 w 248"/>
                <a:gd name="T43" fmla="*/ 287 h 397"/>
                <a:gd name="T44" fmla="*/ 234 w 248"/>
                <a:gd name="T45" fmla="*/ 317 h 397"/>
                <a:gd name="T46" fmla="*/ 237 w 248"/>
                <a:gd name="T47" fmla="*/ 318 h 397"/>
                <a:gd name="T48" fmla="*/ 241 w 248"/>
                <a:gd name="T49" fmla="*/ 330 h 397"/>
                <a:gd name="T50" fmla="*/ 238 w 248"/>
                <a:gd name="T51" fmla="*/ 332 h 397"/>
                <a:gd name="T52" fmla="*/ 60 w 248"/>
                <a:gd name="T53" fmla="*/ 344 h 397"/>
                <a:gd name="T54" fmla="*/ 70 w 248"/>
                <a:gd name="T55" fmla="*/ 356 h 397"/>
                <a:gd name="T56" fmla="*/ 76 w 248"/>
                <a:gd name="T57" fmla="*/ 359 h 397"/>
                <a:gd name="T58" fmla="*/ 74 w 248"/>
                <a:gd name="T59" fmla="*/ 366 h 397"/>
                <a:gd name="T60" fmla="*/ 73 w 248"/>
                <a:gd name="T61" fmla="*/ 370 h 397"/>
                <a:gd name="T62" fmla="*/ 71 w 248"/>
                <a:gd name="T63" fmla="*/ 384 h 397"/>
                <a:gd name="T64" fmla="*/ 52 w 248"/>
                <a:gd name="T65" fmla="*/ 395 h 397"/>
                <a:gd name="T66" fmla="*/ 32 w 248"/>
                <a:gd name="T67" fmla="*/ 395 h 397"/>
                <a:gd name="T68" fmla="*/ 43 w 248"/>
                <a:gd name="T69" fmla="*/ 394 h 397"/>
                <a:gd name="T70" fmla="*/ 50 w 248"/>
                <a:gd name="T71" fmla="*/ 391 h 397"/>
                <a:gd name="T72" fmla="*/ 46 w 248"/>
                <a:gd name="T73" fmla="*/ 384 h 397"/>
                <a:gd name="T74" fmla="*/ 41 w 248"/>
                <a:gd name="T75" fmla="*/ 380 h 397"/>
                <a:gd name="T76" fmla="*/ 41 w 248"/>
                <a:gd name="T77" fmla="*/ 369 h 397"/>
                <a:gd name="T78" fmla="*/ 38 w 248"/>
                <a:gd name="T79" fmla="*/ 359 h 397"/>
                <a:gd name="T80" fmla="*/ 28 w 248"/>
                <a:gd name="T81" fmla="*/ 367 h 397"/>
                <a:gd name="T82" fmla="*/ 27 w 248"/>
                <a:gd name="T83" fmla="*/ 384 h 397"/>
                <a:gd name="T84" fmla="*/ 25 w 248"/>
                <a:gd name="T85" fmla="*/ 388 h 397"/>
                <a:gd name="T86" fmla="*/ 21 w 248"/>
                <a:gd name="T87" fmla="*/ 386 h 397"/>
                <a:gd name="T88" fmla="*/ 11 w 248"/>
                <a:gd name="T89" fmla="*/ 381 h 397"/>
                <a:gd name="T90" fmla="*/ 5 w 248"/>
                <a:gd name="T91" fmla="*/ 360 h 397"/>
                <a:gd name="T92" fmla="*/ 1 w 248"/>
                <a:gd name="T93" fmla="*/ 269 h 397"/>
                <a:gd name="T94" fmla="*/ 15 w 248"/>
                <a:gd name="T95" fmla="*/ 122 h 397"/>
                <a:gd name="T96" fmla="*/ 25 w 248"/>
                <a:gd name="T97" fmla="*/ 38 h 397"/>
                <a:gd name="T98" fmla="*/ 27 w 248"/>
                <a:gd name="T99" fmla="*/ 10 h 397"/>
                <a:gd name="T100" fmla="*/ 24 w 248"/>
                <a:gd name="T101" fmla="*/ 7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8" h="397">
                  <a:moveTo>
                    <a:pt x="21" y="1"/>
                  </a:move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9" y="0"/>
                  </a:lnTo>
                  <a:lnTo>
                    <a:pt x="31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7" y="0"/>
                  </a:lnTo>
                  <a:lnTo>
                    <a:pt x="59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71" y="1"/>
                  </a:lnTo>
                  <a:lnTo>
                    <a:pt x="73" y="0"/>
                  </a:lnTo>
                  <a:lnTo>
                    <a:pt x="77" y="1"/>
                  </a:lnTo>
                  <a:lnTo>
                    <a:pt x="77" y="1"/>
                  </a:lnTo>
                  <a:lnTo>
                    <a:pt x="91" y="1"/>
                  </a:lnTo>
                  <a:lnTo>
                    <a:pt x="91" y="1"/>
                  </a:lnTo>
                  <a:lnTo>
                    <a:pt x="95" y="1"/>
                  </a:lnTo>
                  <a:lnTo>
                    <a:pt x="97" y="1"/>
                  </a:lnTo>
                  <a:lnTo>
                    <a:pt x="105" y="1"/>
                  </a:lnTo>
                  <a:lnTo>
                    <a:pt x="106" y="1"/>
                  </a:lnTo>
                  <a:lnTo>
                    <a:pt x="109" y="1"/>
                  </a:lnTo>
                  <a:lnTo>
                    <a:pt x="113" y="1"/>
                  </a:lnTo>
                  <a:lnTo>
                    <a:pt x="115" y="1"/>
                  </a:lnTo>
                  <a:lnTo>
                    <a:pt x="116" y="1"/>
                  </a:lnTo>
                  <a:lnTo>
                    <a:pt x="118" y="1"/>
                  </a:lnTo>
                  <a:lnTo>
                    <a:pt x="122" y="1"/>
                  </a:lnTo>
                  <a:lnTo>
                    <a:pt x="123" y="1"/>
                  </a:lnTo>
                  <a:lnTo>
                    <a:pt x="126" y="1"/>
                  </a:lnTo>
                  <a:lnTo>
                    <a:pt x="127" y="1"/>
                  </a:lnTo>
                  <a:lnTo>
                    <a:pt x="130" y="1"/>
                  </a:lnTo>
                  <a:lnTo>
                    <a:pt x="133" y="1"/>
                  </a:lnTo>
                  <a:lnTo>
                    <a:pt x="136" y="1"/>
                  </a:lnTo>
                  <a:lnTo>
                    <a:pt x="139" y="1"/>
                  </a:lnTo>
                  <a:lnTo>
                    <a:pt x="142" y="1"/>
                  </a:lnTo>
                  <a:lnTo>
                    <a:pt x="144" y="1"/>
                  </a:lnTo>
                  <a:lnTo>
                    <a:pt x="150" y="1"/>
                  </a:lnTo>
                  <a:lnTo>
                    <a:pt x="151" y="1"/>
                  </a:lnTo>
                  <a:lnTo>
                    <a:pt x="157" y="1"/>
                  </a:lnTo>
                  <a:lnTo>
                    <a:pt x="160" y="1"/>
                  </a:lnTo>
                  <a:lnTo>
                    <a:pt x="167" y="1"/>
                  </a:lnTo>
                  <a:lnTo>
                    <a:pt x="168" y="1"/>
                  </a:lnTo>
                  <a:lnTo>
                    <a:pt x="198" y="1"/>
                  </a:lnTo>
                  <a:lnTo>
                    <a:pt x="199" y="3"/>
                  </a:lnTo>
                  <a:lnTo>
                    <a:pt x="199" y="8"/>
                  </a:lnTo>
                  <a:lnTo>
                    <a:pt x="203" y="31"/>
                  </a:lnTo>
                  <a:lnTo>
                    <a:pt x="210" y="66"/>
                  </a:lnTo>
                  <a:lnTo>
                    <a:pt x="212" y="70"/>
                  </a:lnTo>
                  <a:lnTo>
                    <a:pt x="213" y="76"/>
                  </a:lnTo>
                  <a:lnTo>
                    <a:pt x="214" y="84"/>
                  </a:lnTo>
                  <a:lnTo>
                    <a:pt x="220" y="118"/>
                  </a:lnTo>
                  <a:lnTo>
                    <a:pt x="221" y="133"/>
                  </a:lnTo>
                  <a:lnTo>
                    <a:pt x="223" y="139"/>
                  </a:lnTo>
                  <a:lnTo>
                    <a:pt x="223" y="142"/>
                  </a:lnTo>
                  <a:lnTo>
                    <a:pt x="226" y="161"/>
                  </a:lnTo>
                  <a:lnTo>
                    <a:pt x="227" y="170"/>
                  </a:lnTo>
                  <a:lnTo>
                    <a:pt x="228" y="177"/>
                  </a:lnTo>
                  <a:lnTo>
                    <a:pt x="230" y="180"/>
                  </a:lnTo>
                  <a:lnTo>
                    <a:pt x="233" y="189"/>
                  </a:lnTo>
                  <a:lnTo>
                    <a:pt x="234" y="192"/>
                  </a:lnTo>
                  <a:lnTo>
                    <a:pt x="234" y="195"/>
                  </a:lnTo>
                  <a:lnTo>
                    <a:pt x="235" y="199"/>
                  </a:lnTo>
                  <a:lnTo>
                    <a:pt x="237" y="202"/>
                  </a:lnTo>
                  <a:lnTo>
                    <a:pt x="238" y="203"/>
                  </a:lnTo>
                  <a:lnTo>
                    <a:pt x="240" y="205"/>
                  </a:lnTo>
                  <a:lnTo>
                    <a:pt x="241" y="206"/>
                  </a:lnTo>
                  <a:lnTo>
                    <a:pt x="241" y="206"/>
                  </a:lnTo>
                  <a:lnTo>
                    <a:pt x="241" y="208"/>
                  </a:lnTo>
                  <a:lnTo>
                    <a:pt x="244" y="215"/>
                  </a:lnTo>
                  <a:lnTo>
                    <a:pt x="244" y="216"/>
                  </a:lnTo>
                  <a:lnTo>
                    <a:pt x="244" y="219"/>
                  </a:lnTo>
                  <a:lnTo>
                    <a:pt x="247" y="224"/>
                  </a:lnTo>
                  <a:lnTo>
                    <a:pt x="247" y="224"/>
                  </a:lnTo>
                  <a:lnTo>
                    <a:pt x="248" y="227"/>
                  </a:lnTo>
                  <a:lnTo>
                    <a:pt x="248" y="227"/>
                  </a:lnTo>
                  <a:lnTo>
                    <a:pt x="247" y="230"/>
                  </a:lnTo>
                  <a:lnTo>
                    <a:pt x="244" y="233"/>
                  </a:lnTo>
                  <a:lnTo>
                    <a:pt x="242" y="234"/>
                  </a:lnTo>
                  <a:lnTo>
                    <a:pt x="242" y="234"/>
                  </a:lnTo>
                  <a:lnTo>
                    <a:pt x="241" y="234"/>
                  </a:lnTo>
                  <a:lnTo>
                    <a:pt x="240" y="234"/>
                  </a:lnTo>
                  <a:lnTo>
                    <a:pt x="240" y="234"/>
                  </a:lnTo>
                  <a:lnTo>
                    <a:pt x="240" y="234"/>
                  </a:lnTo>
                  <a:lnTo>
                    <a:pt x="238" y="238"/>
                  </a:lnTo>
                  <a:lnTo>
                    <a:pt x="237" y="238"/>
                  </a:lnTo>
                  <a:lnTo>
                    <a:pt x="233" y="257"/>
                  </a:lnTo>
                  <a:lnTo>
                    <a:pt x="231" y="262"/>
                  </a:lnTo>
                  <a:lnTo>
                    <a:pt x="231" y="262"/>
                  </a:lnTo>
                  <a:lnTo>
                    <a:pt x="231" y="264"/>
                  </a:lnTo>
                  <a:lnTo>
                    <a:pt x="231" y="265"/>
                  </a:lnTo>
                  <a:lnTo>
                    <a:pt x="233" y="268"/>
                  </a:lnTo>
                  <a:lnTo>
                    <a:pt x="233" y="272"/>
                  </a:lnTo>
                  <a:lnTo>
                    <a:pt x="234" y="275"/>
                  </a:lnTo>
                  <a:lnTo>
                    <a:pt x="234" y="276"/>
                  </a:lnTo>
                  <a:lnTo>
                    <a:pt x="235" y="278"/>
                  </a:lnTo>
                  <a:lnTo>
                    <a:pt x="235" y="279"/>
                  </a:lnTo>
                  <a:lnTo>
                    <a:pt x="235" y="279"/>
                  </a:lnTo>
                  <a:lnTo>
                    <a:pt x="237" y="279"/>
                  </a:lnTo>
                  <a:lnTo>
                    <a:pt x="237" y="280"/>
                  </a:lnTo>
                  <a:lnTo>
                    <a:pt x="237" y="280"/>
                  </a:lnTo>
                  <a:lnTo>
                    <a:pt x="237" y="282"/>
                  </a:lnTo>
                  <a:lnTo>
                    <a:pt x="238" y="287"/>
                  </a:lnTo>
                  <a:lnTo>
                    <a:pt x="238" y="287"/>
                  </a:lnTo>
                  <a:lnTo>
                    <a:pt x="235" y="304"/>
                  </a:lnTo>
                  <a:lnTo>
                    <a:pt x="234" y="309"/>
                  </a:lnTo>
                  <a:lnTo>
                    <a:pt x="234" y="310"/>
                  </a:lnTo>
                  <a:lnTo>
                    <a:pt x="234" y="316"/>
                  </a:lnTo>
                  <a:lnTo>
                    <a:pt x="234" y="317"/>
                  </a:lnTo>
                  <a:lnTo>
                    <a:pt x="234" y="317"/>
                  </a:lnTo>
                  <a:lnTo>
                    <a:pt x="234" y="317"/>
                  </a:lnTo>
                  <a:lnTo>
                    <a:pt x="234" y="318"/>
                  </a:lnTo>
                  <a:lnTo>
                    <a:pt x="235" y="318"/>
                  </a:lnTo>
                  <a:lnTo>
                    <a:pt x="237" y="318"/>
                  </a:lnTo>
                  <a:lnTo>
                    <a:pt x="237" y="318"/>
                  </a:lnTo>
                  <a:lnTo>
                    <a:pt x="238" y="323"/>
                  </a:lnTo>
                  <a:lnTo>
                    <a:pt x="238" y="323"/>
                  </a:lnTo>
                  <a:lnTo>
                    <a:pt x="240" y="325"/>
                  </a:lnTo>
                  <a:lnTo>
                    <a:pt x="241" y="330"/>
                  </a:lnTo>
                  <a:lnTo>
                    <a:pt x="241" y="331"/>
                  </a:lnTo>
                  <a:lnTo>
                    <a:pt x="241" y="331"/>
                  </a:lnTo>
                  <a:lnTo>
                    <a:pt x="241" y="332"/>
                  </a:lnTo>
                  <a:lnTo>
                    <a:pt x="240" y="332"/>
                  </a:lnTo>
                  <a:lnTo>
                    <a:pt x="238" y="332"/>
                  </a:lnTo>
                  <a:lnTo>
                    <a:pt x="207" y="332"/>
                  </a:lnTo>
                  <a:lnTo>
                    <a:pt x="62" y="332"/>
                  </a:lnTo>
                  <a:lnTo>
                    <a:pt x="60" y="342"/>
                  </a:lnTo>
                  <a:lnTo>
                    <a:pt x="60" y="342"/>
                  </a:lnTo>
                  <a:lnTo>
                    <a:pt x="60" y="344"/>
                  </a:lnTo>
                  <a:lnTo>
                    <a:pt x="66" y="352"/>
                  </a:lnTo>
                  <a:lnTo>
                    <a:pt x="67" y="353"/>
                  </a:lnTo>
                  <a:lnTo>
                    <a:pt x="69" y="355"/>
                  </a:lnTo>
                  <a:lnTo>
                    <a:pt x="69" y="355"/>
                  </a:lnTo>
                  <a:lnTo>
                    <a:pt x="70" y="356"/>
                  </a:lnTo>
                  <a:lnTo>
                    <a:pt x="71" y="356"/>
                  </a:lnTo>
                  <a:lnTo>
                    <a:pt x="73" y="356"/>
                  </a:lnTo>
                  <a:lnTo>
                    <a:pt x="74" y="358"/>
                  </a:lnTo>
                  <a:lnTo>
                    <a:pt x="76" y="359"/>
                  </a:lnTo>
                  <a:lnTo>
                    <a:pt x="76" y="359"/>
                  </a:lnTo>
                  <a:lnTo>
                    <a:pt x="76" y="360"/>
                  </a:lnTo>
                  <a:lnTo>
                    <a:pt x="76" y="362"/>
                  </a:lnTo>
                  <a:lnTo>
                    <a:pt x="76" y="362"/>
                  </a:lnTo>
                  <a:lnTo>
                    <a:pt x="76" y="365"/>
                  </a:lnTo>
                  <a:lnTo>
                    <a:pt x="74" y="366"/>
                  </a:lnTo>
                  <a:lnTo>
                    <a:pt x="74" y="367"/>
                  </a:lnTo>
                  <a:lnTo>
                    <a:pt x="73" y="369"/>
                  </a:lnTo>
                  <a:lnTo>
                    <a:pt x="73" y="369"/>
                  </a:lnTo>
                  <a:lnTo>
                    <a:pt x="73" y="370"/>
                  </a:lnTo>
                  <a:lnTo>
                    <a:pt x="73" y="370"/>
                  </a:lnTo>
                  <a:lnTo>
                    <a:pt x="73" y="372"/>
                  </a:lnTo>
                  <a:lnTo>
                    <a:pt x="74" y="374"/>
                  </a:lnTo>
                  <a:lnTo>
                    <a:pt x="74" y="377"/>
                  </a:lnTo>
                  <a:lnTo>
                    <a:pt x="74" y="380"/>
                  </a:lnTo>
                  <a:lnTo>
                    <a:pt x="71" y="384"/>
                  </a:lnTo>
                  <a:lnTo>
                    <a:pt x="71" y="384"/>
                  </a:lnTo>
                  <a:lnTo>
                    <a:pt x="64" y="391"/>
                  </a:lnTo>
                  <a:lnTo>
                    <a:pt x="59" y="394"/>
                  </a:lnTo>
                  <a:lnTo>
                    <a:pt x="57" y="394"/>
                  </a:lnTo>
                  <a:lnTo>
                    <a:pt x="52" y="395"/>
                  </a:lnTo>
                  <a:lnTo>
                    <a:pt x="49" y="395"/>
                  </a:lnTo>
                  <a:lnTo>
                    <a:pt x="34" y="397"/>
                  </a:lnTo>
                  <a:lnTo>
                    <a:pt x="32" y="397"/>
                  </a:lnTo>
                  <a:lnTo>
                    <a:pt x="32" y="395"/>
                  </a:lnTo>
                  <a:lnTo>
                    <a:pt x="32" y="395"/>
                  </a:lnTo>
                  <a:lnTo>
                    <a:pt x="38" y="394"/>
                  </a:lnTo>
                  <a:lnTo>
                    <a:pt x="41" y="394"/>
                  </a:lnTo>
                  <a:lnTo>
                    <a:pt x="42" y="394"/>
                  </a:lnTo>
                  <a:lnTo>
                    <a:pt x="43" y="395"/>
                  </a:lnTo>
                  <a:lnTo>
                    <a:pt x="43" y="394"/>
                  </a:lnTo>
                  <a:lnTo>
                    <a:pt x="49" y="393"/>
                  </a:lnTo>
                  <a:lnTo>
                    <a:pt x="50" y="393"/>
                  </a:lnTo>
                  <a:lnTo>
                    <a:pt x="50" y="391"/>
                  </a:lnTo>
                  <a:lnTo>
                    <a:pt x="50" y="391"/>
                  </a:lnTo>
                  <a:lnTo>
                    <a:pt x="50" y="391"/>
                  </a:lnTo>
                  <a:lnTo>
                    <a:pt x="50" y="390"/>
                  </a:lnTo>
                  <a:lnTo>
                    <a:pt x="50" y="390"/>
                  </a:lnTo>
                  <a:lnTo>
                    <a:pt x="50" y="390"/>
                  </a:lnTo>
                  <a:lnTo>
                    <a:pt x="50" y="388"/>
                  </a:lnTo>
                  <a:lnTo>
                    <a:pt x="46" y="384"/>
                  </a:lnTo>
                  <a:lnTo>
                    <a:pt x="43" y="383"/>
                  </a:lnTo>
                  <a:lnTo>
                    <a:pt x="42" y="383"/>
                  </a:lnTo>
                  <a:lnTo>
                    <a:pt x="41" y="381"/>
                  </a:lnTo>
                  <a:lnTo>
                    <a:pt x="41" y="380"/>
                  </a:lnTo>
                  <a:lnTo>
                    <a:pt x="41" y="380"/>
                  </a:lnTo>
                  <a:lnTo>
                    <a:pt x="39" y="373"/>
                  </a:lnTo>
                  <a:lnTo>
                    <a:pt x="39" y="372"/>
                  </a:lnTo>
                  <a:lnTo>
                    <a:pt x="39" y="370"/>
                  </a:lnTo>
                  <a:lnTo>
                    <a:pt x="41" y="370"/>
                  </a:lnTo>
                  <a:lnTo>
                    <a:pt x="41" y="369"/>
                  </a:lnTo>
                  <a:lnTo>
                    <a:pt x="41" y="366"/>
                  </a:lnTo>
                  <a:lnTo>
                    <a:pt x="41" y="366"/>
                  </a:lnTo>
                  <a:lnTo>
                    <a:pt x="39" y="362"/>
                  </a:lnTo>
                  <a:lnTo>
                    <a:pt x="39" y="360"/>
                  </a:lnTo>
                  <a:lnTo>
                    <a:pt x="38" y="359"/>
                  </a:lnTo>
                  <a:lnTo>
                    <a:pt x="38" y="359"/>
                  </a:lnTo>
                  <a:lnTo>
                    <a:pt x="38" y="359"/>
                  </a:lnTo>
                  <a:lnTo>
                    <a:pt x="32" y="356"/>
                  </a:lnTo>
                  <a:lnTo>
                    <a:pt x="28" y="366"/>
                  </a:lnTo>
                  <a:lnTo>
                    <a:pt x="28" y="367"/>
                  </a:lnTo>
                  <a:lnTo>
                    <a:pt x="27" y="372"/>
                  </a:lnTo>
                  <a:lnTo>
                    <a:pt x="27" y="372"/>
                  </a:lnTo>
                  <a:lnTo>
                    <a:pt x="27" y="376"/>
                  </a:lnTo>
                  <a:lnTo>
                    <a:pt x="27" y="381"/>
                  </a:lnTo>
                  <a:lnTo>
                    <a:pt x="27" y="384"/>
                  </a:lnTo>
                  <a:lnTo>
                    <a:pt x="27" y="384"/>
                  </a:lnTo>
                  <a:lnTo>
                    <a:pt x="25" y="387"/>
                  </a:lnTo>
                  <a:lnTo>
                    <a:pt x="25" y="388"/>
                  </a:lnTo>
                  <a:lnTo>
                    <a:pt x="25" y="388"/>
                  </a:lnTo>
                  <a:lnTo>
                    <a:pt x="25" y="388"/>
                  </a:lnTo>
                  <a:lnTo>
                    <a:pt x="21" y="387"/>
                  </a:lnTo>
                  <a:lnTo>
                    <a:pt x="21" y="387"/>
                  </a:lnTo>
                  <a:lnTo>
                    <a:pt x="21" y="387"/>
                  </a:lnTo>
                  <a:lnTo>
                    <a:pt x="21" y="386"/>
                  </a:lnTo>
                  <a:lnTo>
                    <a:pt x="21" y="386"/>
                  </a:lnTo>
                  <a:lnTo>
                    <a:pt x="21" y="386"/>
                  </a:lnTo>
                  <a:lnTo>
                    <a:pt x="21" y="386"/>
                  </a:lnTo>
                  <a:lnTo>
                    <a:pt x="21" y="384"/>
                  </a:lnTo>
                  <a:lnTo>
                    <a:pt x="21" y="384"/>
                  </a:lnTo>
                  <a:lnTo>
                    <a:pt x="11" y="381"/>
                  </a:lnTo>
                  <a:lnTo>
                    <a:pt x="10" y="381"/>
                  </a:lnTo>
                  <a:lnTo>
                    <a:pt x="10" y="381"/>
                  </a:lnTo>
                  <a:lnTo>
                    <a:pt x="7" y="383"/>
                  </a:lnTo>
                  <a:lnTo>
                    <a:pt x="5" y="376"/>
                  </a:lnTo>
                  <a:lnTo>
                    <a:pt x="5" y="360"/>
                  </a:lnTo>
                  <a:lnTo>
                    <a:pt x="4" y="321"/>
                  </a:lnTo>
                  <a:lnTo>
                    <a:pt x="3" y="313"/>
                  </a:lnTo>
                  <a:lnTo>
                    <a:pt x="3" y="310"/>
                  </a:lnTo>
                  <a:lnTo>
                    <a:pt x="3" y="297"/>
                  </a:lnTo>
                  <a:lnTo>
                    <a:pt x="1" y="269"/>
                  </a:lnTo>
                  <a:lnTo>
                    <a:pt x="0" y="258"/>
                  </a:lnTo>
                  <a:lnTo>
                    <a:pt x="1" y="244"/>
                  </a:lnTo>
                  <a:lnTo>
                    <a:pt x="3" y="233"/>
                  </a:lnTo>
                  <a:lnTo>
                    <a:pt x="11" y="154"/>
                  </a:lnTo>
                  <a:lnTo>
                    <a:pt x="15" y="122"/>
                  </a:lnTo>
                  <a:lnTo>
                    <a:pt x="17" y="108"/>
                  </a:lnTo>
                  <a:lnTo>
                    <a:pt x="20" y="86"/>
                  </a:lnTo>
                  <a:lnTo>
                    <a:pt x="21" y="66"/>
                  </a:lnTo>
                  <a:lnTo>
                    <a:pt x="24" y="49"/>
                  </a:lnTo>
                  <a:lnTo>
                    <a:pt x="25" y="38"/>
                  </a:lnTo>
                  <a:lnTo>
                    <a:pt x="25" y="34"/>
                  </a:lnTo>
                  <a:lnTo>
                    <a:pt x="27" y="25"/>
                  </a:lnTo>
                  <a:lnTo>
                    <a:pt x="27" y="22"/>
                  </a:lnTo>
                  <a:lnTo>
                    <a:pt x="28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2" y="6"/>
                  </a:lnTo>
                  <a:lnTo>
                    <a:pt x="21" y="1"/>
                  </a:lnTo>
                  <a:lnTo>
                    <a:pt x="21" y="1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80" name="Freeform 126"/>
            <p:cNvSpPr>
              <a:spLocks/>
            </p:cNvSpPr>
            <p:nvPr/>
          </p:nvSpPr>
          <p:spPr bwMode="auto">
            <a:xfrm>
              <a:off x="6533904" y="3852600"/>
              <a:ext cx="8699" cy="10438"/>
            </a:xfrm>
            <a:custGeom>
              <a:avLst/>
              <a:gdLst>
                <a:gd name="T0" fmla="*/ 0 w 5"/>
                <a:gd name="T1" fmla="*/ 5 h 6"/>
                <a:gd name="T2" fmla="*/ 0 w 5"/>
                <a:gd name="T3" fmla="*/ 5 h 6"/>
                <a:gd name="T4" fmla="*/ 0 w 5"/>
                <a:gd name="T5" fmla="*/ 5 h 6"/>
                <a:gd name="T6" fmla="*/ 0 w 5"/>
                <a:gd name="T7" fmla="*/ 3 h 6"/>
                <a:gd name="T8" fmla="*/ 0 w 5"/>
                <a:gd name="T9" fmla="*/ 2 h 6"/>
                <a:gd name="T10" fmla="*/ 0 w 5"/>
                <a:gd name="T11" fmla="*/ 2 h 6"/>
                <a:gd name="T12" fmla="*/ 0 w 5"/>
                <a:gd name="T13" fmla="*/ 2 h 6"/>
                <a:gd name="T14" fmla="*/ 1 w 5"/>
                <a:gd name="T15" fmla="*/ 0 h 6"/>
                <a:gd name="T16" fmla="*/ 2 w 5"/>
                <a:gd name="T17" fmla="*/ 0 h 6"/>
                <a:gd name="T18" fmla="*/ 4 w 5"/>
                <a:gd name="T19" fmla="*/ 0 h 6"/>
                <a:gd name="T20" fmla="*/ 4 w 5"/>
                <a:gd name="T21" fmla="*/ 0 h 6"/>
                <a:gd name="T22" fmla="*/ 4 w 5"/>
                <a:gd name="T23" fmla="*/ 2 h 6"/>
                <a:gd name="T24" fmla="*/ 5 w 5"/>
                <a:gd name="T25" fmla="*/ 2 h 6"/>
                <a:gd name="T26" fmla="*/ 5 w 5"/>
                <a:gd name="T27" fmla="*/ 5 h 6"/>
                <a:gd name="T28" fmla="*/ 5 w 5"/>
                <a:gd name="T29" fmla="*/ 5 h 6"/>
                <a:gd name="T30" fmla="*/ 5 w 5"/>
                <a:gd name="T31" fmla="*/ 6 h 6"/>
                <a:gd name="T32" fmla="*/ 1 w 5"/>
                <a:gd name="T33" fmla="*/ 6 h 6"/>
                <a:gd name="T34" fmla="*/ 0 w 5"/>
                <a:gd name="T35" fmla="*/ 6 h 6"/>
                <a:gd name="T36" fmla="*/ 0 w 5"/>
                <a:gd name="T3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" h="6"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81" name="Freeform 133"/>
            <p:cNvSpPr>
              <a:spLocks/>
            </p:cNvSpPr>
            <p:nvPr/>
          </p:nvSpPr>
          <p:spPr bwMode="auto">
            <a:xfrm>
              <a:off x="8190076" y="3382868"/>
              <a:ext cx="86984" cy="200073"/>
            </a:xfrm>
            <a:custGeom>
              <a:avLst/>
              <a:gdLst>
                <a:gd name="T0" fmla="*/ 12 w 50"/>
                <a:gd name="T1" fmla="*/ 17 h 115"/>
                <a:gd name="T2" fmla="*/ 11 w 50"/>
                <a:gd name="T3" fmla="*/ 19 h 115"/>
                <a:gd name="T4" fmla="*/ 14 w 50"/>
                <a:gd name="T5" fmla="*/ 32 h 115"/>
                <a:gd name="T6" fmla="*/ 14 w 50"/>
                <a:gd name="T7" fmla="*/ 33 h 115"/>
                <a:gd name="T8" fmla="*/ 23 w 50"/>
                <a:gd name="T9" fmla="*/ 45 h 115"/>
                <a:gd name="T10" fmla="*/ 26 w 50"/>
                <a:gd name="T11" fmla="*/ 49 h 115"/>
                <a:gd name="T12" fmla="*/ 26 w 50"/>
                <a:gd name="T13" fmla="*/ 52 h 115"/>
                <a:gd name="T14" fmla="*/ 26 w 50"/>
                <a:gd name="T15" fmla="*/ 55 h 115"/>
                <a:gd name="T16" fmla="*/ 25 w 50"/>
                <a:gd name="T17" fmla="*/ 57 h 115"/>
                <a:gd name="T18" fmla="*/ 26 w 50"/>
                <a:gd name="T19" fmla="*/ 63 h 115"/>
                <a:gd name="T20" fmla="*/ 32 w 50"/>
                <a:gd name="T21" fmla="*/ 77 h 115"/>
                <a:gd name="T22" fmla="*/ 43 w 50"/>
                <a:gd name="T23" fmla="*/ 95 h 115"/>
                <a:gd name="T24" fmla="*/ 42 w 50"/>
                <a:gd name="T25" fmla="*/ 105 h 115"/>
                <a:gd name="T26" fmla="*/ 43 w 50"/>
                <a:gd name="T27" fmla="*/ 104 h 115"/>
                <a:gd name="T28" fmla="*/ 49 w 50"/>
                <a:gd name="T29" fmla="*/ 104 h 115"/>
                <a:gd name="T30" fmla="*/ 50 w 50"/>
                <a:gd name="T31" fmla="*/ 113 h 115"/>
                <a:gd name="T32" fmla="*/ 50 w 50"/>
                <a:gd name="T33" fmla="*/ 115 h 115"/>
                <a:gd name="T34" fmla="*/ 49 w 50"/>
                <a:gd name="T35" fmla="*/ 115 h 115"/>
                <a:gd name="T36" fmla="*/ 47 w 50"/>
                <a:gd name="T37" fmla="*/ 115 h 115"/>
                <a:gd name="T38" fmla="*/ 47 w 50"/>
                <a:gd name="T39" fmla="*/ 115 h 115"/>
                <a:gd name="T40" fmla="*/ 47 w 50"/>
                <a:gd name="T41" fmla="*/ 115 h 115"/>
                <a:gd name="T42" fmla="*/ 36 w 50"/>
                <a:gd name="T43" fmla="*/ 115 h 115"/>
                <a:gd name="T44" fmla="*/ 9 w 50"/>
                <a:gd name="T45" fmla="*/ 115 h 115"/>
                <a:gd name="T46" fmla="*/ 4 w 50"/>
                <a:gd name="T47" fmla="*/ 83 h 115"/>
                <a:gd name="T48" fmla="*/ 2 w 50"/>
                <a:gd name="T49" fmla="*/ 67 h 115"/>
                <a:gd name="T50" fmla="*/ 2 w 50"/>
                <a:gd name="T51" fmla="*/ 60 h 115"/>
                <a:gd name="T52" fmla="*/ 1 w 50"/>
                <a:gd name="T53" fmla="*/ 50 h 115"/>
                <a:gd name="T54" fmla="*/ 1 w 50"/>
                <a:gd name="T55" fmla="*/ 36 h 115"/>
                <a:gd name="T56" fmla="*/ 0 w 50"/>
                <a:gd name="T57" fmla="*/ 11 h 115"/>
                <a:gd name="T58" fmla="*/ 0 w 50"/>
                <a:gd name="T59" fmla="*/ 10 h 115"/>
                <a:gd name="T60" fmla="*/ 1 w 50"/>
                <a:gd name="T61" fmla="*/ 8 h 115"/>
                <a:gd name="T62" fmla="*/ 2 w 50"/>
                <a:gd name="T63" fmla="*/ 5 h 115"/>
                <a:gd name="T64" fmla="*/ 5 w 50"/>
                <a:gd name="T65" fmla="*/ 3 h 115"/>
                <a:gd name="T66" fmla="*/ 7 w 50"/>
                <a:gd name="T67" fmla="*/ 1 h 115"/>
                <a:gd name="T68" fmla="*/ 11 w 50"/>
                <a:gd name="T69" fmla="*/ 0 h 115"/>
                <a:gd name="T70" fmla="*/ 15 w 50"/>
                <a:gd name="T71" fmla="*/ 0 h 115"/>
                <a:gd name="T72" fmla="*/ 19 w 50"/>
                <a:gd name="T73" fmla="*/ 0 h 115"/>
                <a:gd name="T74" fmla="*/ 23 w 50"/>
                <a:gd name="T75" fmla="*/ 3 h 115"/>
                <a:gd name="T76" fmla="*/ 25 w 50"/>
                <a:gd name="T77" fmla="*/ 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0" h="115">
                  <a:moveTo>
                    <a:pt x="22" y="5"/>
                  </a:moveTo>
                  <a:lnTo>
                    <a:pt x="12" y="17"/>
                  </a:lnTo>
                  <a:lnTo>
                    <a:pt x="12" y="19"/>
                  </a:lnTo>
                  <a:lnTo>
                    <a:pt x="11" y="19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6" y="36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6" y="49"/>
                  </a:lnTo>
                  <a:lnTo>
                    <a:pt x="26" y="50"/>
                  </a:lnTo>
                  <a:lnTo>
                    <a:pt x="26" y="52"/>
                  </a:lnTo>
                  <a:lnTo>
                    <a:pt x="26" y="53"/>
                  </a:lnTo>
                  <a:lnTo>
                    <a:pt x="26" y="55"/>
                  </a:lnTo>
                  <a:lnTo>
                    <a:pt x="25" y="56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6" y="63"/>
                  </a:lnTo>
                  <a:lnTo>
                    <a:pt x="26" y="64"/>
                  </a:lnTo>
                  <a:lnTo>
                    <a:pt x="32" y="77"/>
                  </a:lnTo>
                  <a:lnTo>
                    <a:pt x="40" y="85"/>
                  </a:lnTo>
                  <a:lnTo>
                    <a:pt x="43" y="95"/>
                  </a:lnTo>
                  <a:lnTo>
                    <a:pt x="39" y="104"/>
                  </a:lnTo>
                  <a:lnTo>
                    <a:pt x="42" y="105"/>
                  </a:lnTo>
                  <a:lnTo>
                    <a:pt x="43" y="104"/>
                  </a:lnTo>
                  <a:lnTo>
                    <a:pt x="43" y="104"/>
                  </a:lnTo>
                  <a:lnTo>
                    <a:pt x="45" y="104"/>
                  </a:lnTo>
                  <a:lnTo>
                    <a:pt x="49" y="104"/>
                  </a:lnTo>
                  <a:lnTo>
                    <a:pt x="50" y="112"/>
                  </a:lnTo>
                  <a:lnTo>
                    <a:pt x="50" y="113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3" y="115"/>
                  </a:lnTo>
                  <a:lnTo>
                    <a:pt x="36" y="115"/>
                  </a:lnTo>
                  <a:lnTo>
                    <a:pt x="22" y="115"/>
                  </a:lnTo>
                  <a:lnTo>
                    <a:pt x="9" y="115"/>
                  </a:lnTo>
                  <a:lnTo>
                    <a:pt x="4" y="115"/>
                  </a:lnTo>
                  <a:lnTo>
                    <a:pt x="4" y="83"/>
                  </a:lnTo>
                  <a:lnTo>
                    <a:pt x="4" y="77"/>
                  </a:lnTo>
                  <a:lnTo>
                    <a:pt x="2" y="67"/>
                  </a:lnTo>
                  <a:lnTo>
                    <a:pt x="2" y="63"/>
                  </a:lnTo>
                  <a:lnTo>
                    <a:pt x="2" y="60"/>
                  </a:lnTo>
                  <a:lnTo>
                    <a:pt x="2" y="59"/>
                  </a:lnTo>
                  <a:lnTo>
                    <a:pt x="1" y="50"/>
                  </a:lnTo>
                  <a:lnTo>
                    <a:pt x="1" y="39"/>
                  </a:lnTo>
                  <a:lnTo>
                    <a:pt x="1" y="36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8"/>
                  </a:lnTo>
                  <a:lnTo>
                    <a:pt x="1" y="7"/>
                  </a:lnTo>
                  <a:lnTo>
                    <a:pt x="2" y="5"/>
                  </a:lnTo>
                  <a:lnTo>
                    <a:pt x="4" y="4"/>
                  </a:lnTo>
                  <a:lnTo>
                    <a:pt x="5" y="3"/>
                  </a:lnTo>
                  <a:lnTo>
                    <a:pt x="7" y="1"/>
                  </a:lnTo>
                  <a:lnTo>
                    <a:pt x="7" y="1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21" y="1"/>
                  </a:lnTo>
                  <a:lnTo>
                    <a:pt x="23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2" y="5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82" name="Freeform 134"/>
            <p:cNvSpPr>
              <a:spLocks/>
            </p:cNvSpPr>
            <p:nvPr/>
          </p:nvSpPr>
          <p:spPr bwMode="auto">
            <a:xfrm>
              <a:off x="8753732" y="2290306"/>
              <a:ext cx="494068" cy="628049"/>
            </a:xfrm>
            <a:custGeom>
              <a:avLst/>
              <a:gdLst>
                <a:gd name="T0" fmla="*/ 25 w 284"/>
                <a:gd name="T1" fmla="*/ 164 h 361"/>
                <a:gd name="T2" fmla="*/ 42 w 284"/>
                <a:gd name="T3" fmla="*/ 144 h 361"/>
                <a:gd name="T4" fmla="*/ 57 w 284"/>
                <a:gd name="T5" fmla="*/ 123 h 361"/>
                <a:gd name="T6" fmla="*/ 54 w 284"/>
                <a:gd name="T7" fmla="*/ 103 h 361"/>
                <a:gd name="T8" fmla="*/ 71 w 284"/>
                <a:gd name="T9" fmla="*/ 84 h 361"/>
                <a:gd name="T10" fmla="*/ 95 w 284"/>
                <a:gd name="T11" fmla="*/ 39 h 361"/>
                <a:gd name="T12" fmla="*/ 140 w 284"/>
                <a:gd name="T13" fmla="*/ 2 h 361"/>
                <a:gd name="T14" fmla="*/ 140 w 284"/>
                <a:gd name="T15" fmla="*/ 7 h 361"/>
                <a:gd name="T16" fmla="*/ 140 w 284"/>
                <a:gd name="T17" fmla="*/ 16 h 361"/>
                <a:gd name="T18" fmla="*/ 158 w 284"/>
                <a:gd name="T19" fmla="*/ 19 h 361"/>
                <a:gd name="T20" fmla="*/ 192 w 284"/>
                <a:gd name="T21" fmla="*/ 8 h 361"/>
                <a:gd name="T22" fmla="*/ 215 w 284"/>
                <a:gd name="T23" fmla="*/ 23 h 361"/>
                <a:gd name="T24" fmla="*/ 228 w 284"/>
                <a:gd name="T25" fmla="*/ 98 h 361"/>
                <a:gd name="T26" fmla="*/ 235 w 284"/>
                <a:gd name="T27" fmla="*/ 151 h 361"/>
                <a:gd name="T28" fmla="*/ 251 w 284"/>
                <a:gd name="T29" fmla="*/ 152 h 361"/>
                <a:gd name="T30" fmla="*/ 252 w 284"/>
                <a:gd name="T31" fmla="*/ 160 h 361"/>
                <a:gd name="T32" fmla="*/ 249 w 284"/>
                <a:gd name="T33" fmla="*/ 179 h 361"/>
                <a:gd name="T34" fmla="*/ 258 w 284"/>
                <a:gd name="T35" fmla="*/ 190 h 361"/>
                <a:gd name="T36" fmla="*/ 262 w 284"/>
                <a:gd name="T37" fmla="*/ 188 h 361"/>
                <a:gd name="T38" fmla="*/ 270 w 284"/>
                <a:gd name="T39" fmla="*/ 189 h 361"/>
                <a:gd name="T40" fmla="*/ 273 w 284"/>
                <a:gd name="T41" fmla="*/ 209 h 361"/>
                <a:gd name="T42" fmla="*/ 269 w 284"/>
                <a:gd name="T43" fmla="*/ 211 h 361"/>
                <a:gd name="T44" fmla="*/ 277 w 284"/>
                <a:gd name="T45" fmla="*/ 211 h 361"/>
                <a:gd name="T46" fmla="*/ 263 w 284"/>
                <a:gd name="T47" fmla="*/ 232 h 361"/>
                <a:gd name="T48" fmla="*/ 242 w 284"/>
                <a:gd name="T49" fmla="*/ 232 h 361"/>
                <a:gd name="T50" fmla="*/ 228 w 284"/>
                <a:gd name="T51" fmla="*/ 241 h 361"/>
                <a:gd name="T52" fmla="*/ 208 w 284"/>
                <a:gd name="T53" fmla="*/ 256 h 361"/>
                <a:gd name="T54" fmla="*/ 194 w 284"/>
                <a:gd name="T55" fmla="*/ 246 h 361"/>
                <a:gd name="T56" fmla="*/ 173 w 284"/>
                <a:gd name="T57" fmla="*/ 251 h 361"/>
                <a:gd name="T58" fmla="*/ 161 w 284"/>
                <a:gd name="T59" fmla="*/ 242 h 361"/>
                <a:gd name="T60" fmla="*/ 157 w 284"/>
                <a:gd name="T61" fmla="*/ 238 h 361"/>
                <a:gd name="T62" fmla="*/ 141 w 284"/>
                <a:gd name="T63" fmla="*/ 265 h 361"/>
                <a:gd name="T64" fmla="*/ 140 w 284"/>
                <a:gd name="T65" fmla="*/ 277 h 361"/>
                <a:gd name="T66" fmla="*/ 117 w 284"/>
                <a:gd name="T67" fmla="*/ 281 h 361"/>
                <a:gd name="T68" fmla="*/ 105 w 284"/>
                <a:gd name="T69" fmla="*/ 291 h 361"/>
                <a:gd name="T70" fmla="*/ 108 w 284"/>
                <a:gd name="T71" fmla="*/ 283 h 361"/>
                <a:gd name="T72" fmla="*/ 103 w 284"/>
                <a:gd name="T73" fmla="*/ 294 h 361"/>
                <a:gd name="T74" fmla="*/ 99 w 284"/>
                <a:gd name="T75" fmla="*/ 294 h 361"/>
                <a:gd name="T76" fmla="*/ 101 w 284"/>
                <a:gd name="T77" fmla="*/ 281 h 361"/>
                <a:gd name="T78" fmla="*/ 93 w 284"/>
                <a:gd name="T79" fmla="*/ 293 h 361"/>
                <a:gd name="T80" fmla="*/ 96 w 284"/>
                <a:gd name="T81" fmla="*/ 296 h 361"/>
                <a:gd name="T82" fmla="*/ 91 w 284"/>
                <a:gd name="T83" fmla="*/ 300 h 361"/>
                <a:gd name="T84" fmla="*/ 91 w 284"/>
                <a:gd name="T85" fmla="*/ 280 h 361"/>
                <a:gd name="T86" fmla="*/ 84 w 284"/>
                <a:gd name="T87" fmla="*/ 289 h 361"/>
                <a:gd name="T88" fmla="*/ 86 w 284"/>
                <a:gd name="T89" fmla="*/ 291 h 361"/>
                <a:gd name="T90" fmla="*/ 85 w 284"/>
                <a:gd name="T91" fmla="*/ 305 h 361"/>
                <a:gd name="T92" fmla="*/ 65 w 284"/>
                <a:gd name="T93" fmla="*/ 301 h 361"/>
                <a:gd name="T94" fmla="*/ 60 w 284"/>
                <a:gd name="T95" fmla="*/ 314 h 361"/>
                <a:gd name="T96" fmla="*/ 61 w 284"/>
                <a:gd name="T97" fmla="*/ 321 h 361"/>
                <a:gd name="T98" fmla="*/ 43 w 284"/>
                <a:gd name="T99" fmla="*/ 339 h 361"/>
                <a:gd name="T100" fmla="*/ 36 w 284"/>
                <a:gd name="T101" fmla="*/ 343 h 361"/>
                <a:gd name="T102" fmla="*/ 33 w 284"/>
                <a:gd name="T103" fmla="*/ 353 h 361"/>
                <a:gd name="T104" fmla="*/ 26 w 284"/>
                <a:gd name="T105" fmla="*/ 359 h 361"/>
                <a:gd name="T106" fmla="*/ 18 w 284"/>
                <a:gd name="T107" fmla="*/ 356 h 361"/>
                <a:gd name="T108" fmla="*/ 8 w 284"/>
                <a:gd name="T109" fmla="*/ 325 h 361"/>
                <a:gd name="T110" fmla="*/ 1 w 284"/>
                <a:gd name="T111" fmla="*/ 210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4" h="361">
                  <a:moveTo>
                    <a:pt x="4" y="176"/>
                  </a:moveTo>
                  <a:lnTo>
                    <a:pt x="14" y="183"/>
                  </a:lnTo>
                  <a:lnTo>
                    <a:pt x="14" y="183"/>
                  </a:lnTo>
                  <a:lnTo>
                    <a:pt x="14" y="183"/>
                  </a:lnTo>
                  <a:lnTo>
                    <a:pt x="15" y="183"/>
                  </a:lnTo>
                  <a:lnTo>
                    <a:pt x="26" y="165"/>
                  </a:lnTo>
                  <a:lnTo>
                    <a:pt x="26" y="164"/>
                  </a:lnTo>
                  <a:lnTo>
                    <a:pt x="25" y="164"/>
                  </a:lnTo>
                  <a:lnTo>
                    <a:pt x="25" y="162"/>
                  </a:lnTo>
                  <a:lnTo>
                    <a:pt x="25" y="162"/>
                  </a:lnTo>
                  <a:lnTo>
                    <a:pt x="25" y="160"/>
                  </a:lnTo>
                  <a:lnTo>
                    <a:pt x="26" y="155"/>
                  </a:lnTo>
                  <a:lnTo>
                    <a:pt x="30" y="151"/>
                  </a:lnTo>
                  <a:lnTo>
                    <a:pt x="35" y="148"/>
                  </a:lnTo>
                  <a:lnTo>
                    <a:pt x="36" y="148"/>
                  </a:lnTo>
                  <a:lnTo>
                    <a:pt x="42" y="144"/>
                  </a:lnTo>
                  <a:lnTo>
                    <a:pt x="47" y="138"/>
                  </a:lnTo>
                  <a:lnTo>
                    <a:pt x="56" y="129"/>
                  </a:lnTo>
                  <a:lnTo>
                    <a:pt x="57" y="129"/>
                  </a:lnTo>
                  <a:lnTo>
                    <a:pt x="57" y="127"/>
                  </a:lnTo>
                  <a:lnTo>
                    <a:pt x="58" y="124"/>
                  </a:lnTo>
                  <a:lnTo>
                    <a:pt x="58" y="124"/>
                  </a:lnTo>
                  <a:lnTo>
                    <a:pt x="57" y="123"/>
                  </a:lnTo>
                  <a:lnTo>
                    <a:pt x="57" y="123"/>
                  </a:lnTo>
                  <a:lnTo>
                    <a:pt x="57" y="123"/>
                  </a:lnTo>
                  <a:lnTo>
                    <a:pt x="56" y="123"/>
                  </a:lnTo>
                  <a:lnTo>
                    <a:pt x="54" y="123"/>
                  </a:lnTo>
                  <a:lnTo>
                    <a:pt x="53" y="123"/>
                  </a:lnTo>
                  <a:lnTo>
                    <a:pt x="53" y="122"/>
                  </a:lnTo>
                  <a:lnTo>
                    <a:pt x="53" y="122"/>
                  </a:lnTo>
                  <a:lnTo>
                    <a:pt x="53" y="115"/>
                  </a:lnTo>
                  <a:lnTo>
                    <a:pt x="54" y="103"/>
                  </a:lnTo>
                  <a:lnTo>
                    <a:pt x="57" y="98"/>
                  </a:lnTo>
                  <a:lnTo>
                    <a:pt x="61" y="92"/>
                  </a:lnTo>
                  <a:lnTo>
                    <a:pt x="67" y="88"/>
                  </a:lnTo>
                  <a:lnTo>
                    <a:pt x="68" y="87"/>
                  </a:lnTo>
                  <a:lnTo>
                    <a:pt x="68" y="87"/>
                  </a:lnTo>
                  <a:lnTo>
                    <a:pt x="70" y="87"/>
                  </a:lnTo>
                  <a:lnTo>
                    <a:pt x="70" y="85"/>
                  </a:lnTo>
                  <a:lnTo>
                    <a:pt x="71" y="84"/>
                  </a:lnTo>
                  <a:lnTo>
                    <a:pt x="71" y="84"/>
                  </a:lnTo>
                  <a:lnTo>
                    <a:pt x="71" y="81"/>
                  </a:lnTo>
                  <a:lnTo>
                    <a:pt x="71" y="78"/>
                  </a:lnTo>
                  <a:lnTo>
                    <a:pt x="72" y="73"/>
                  </a:lnTo>
                  <a:lnTo>
                    <a:pt x="74" y="63"/>
                  </a:lnTo>
                  <a:lnTo>
                    <a:pt x="75" y="61"/>
                  </a:lnTo>
                  <a:lnTo>
                    <a:pt x="85" y="50"/>
                  </a:lnTo>
                  <a:lnTo>
                    <a:pt x="95" y="39"/>
                  </a:lnTo>
                  <a:lnTo>
                    <a:pt x="98" y="33"/>
                  </a:lnTo>
                  <a:lnTo>
                    <a:pt x="115" y="15"/>
                  </a:lnTo>
                  <a:lnTo>
                    <a:pt x="123" y="5"/>
                  </a:lnTo>
                  <a:lnTo>
                    <a:pt x="127" y="0"/>
                  </a:lnTo>
                  <a:lnTo>
                    <a:pt x="127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40" y="2"/>
                  </a:lnTo>
                  <a:lnTo>
                    <a:pt x="140" y="2"/>
                  </a:lnTo>
                  <a:lnTo>
                    <a:pt x="141" y="2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0" y="5"/>
                  </a:lnTo>
                  <a:lnTo>
                    <a:pt x="140" y="5"/>
                  </a:lnTo>
                  <a:lnTo>
                    <a:pt x="140" y="5"/>
                  </a:lnTo>
                  <a:lnTo>
                    <a:pt x="140" y="7"/>
                  </a:lnTo>
                  <a:lnTo>
                    <a:pt x="140" y="9"/>
                  </a:lnTo>
                  <a:lnTo>
                    <a:pt x="140" y="11"/>
                  </a:lnTo>
                  <a:lnTo>
                    <a:pt x="140" y="14"/>
                  </a:lnTo>
                  <a:lnTo>
                    <a:pt x="140" y="14"/>
                  </a:lnTo>
                  <a:lnTo>
                    <a:pt x="140" y="14"/>
                  </a:lnTo>
                  <a:lnTo>
                    <a:pt x="140" y="14"/>
                  </a:lnTo>
                  <a:lnTo>
                    <a:pt x="140" y="15"/>
                  </a:lnTo>
                  <a:lnTo>
                    <a:pt x="140" y="16"/>
                  </a:lnTo>
                  <a:lnTo>
                    <a:pt x="141" y="16"/>
                  </a:lnTo>
                  <a:lnTo>
                    <a:pt x="141" y="18"/>
                  </a:lnTo>
                  <a:lnTo>
                    <a:pt x="145" y="19"/>
                  </a:lnTo>
                  <a:lnTo>
                    <a:pt x="147" y="21"/>
                  </a:lnTo>
                  <a:lnTo>
                    <a:pt x="151" y="22"/>
                  </a:lnTo>
                  <a:lnTo>
                    <a:pt x="151" y="22"/>
                  </a:lnTo>
                  <a:lnTo>
                    <a:pt x="155" y="21"/>
                  </a:lnTo>
                  <a:lnTo>
                    <a:pt x="158" y="19"/>
                  </a:lnTo>
                  <a:lnTo>
                    <a:pt x="159" y="19"/>
                  </a:lnTo>
                  <a:lnTo>
                    <a:pt x="173" y="14"/>
                  </a:lnTo>
                  <a:lnTo>
                    <a:pt x="186" y="9"/>
                  </a:lnTo>
                  <a:lnTo>
                    <a:pt x="187" y="9"/>
                  </a:lnTo>
                  <a:lnTo>
                    <a:pt x="189" y="8"/>
                  </a:lnTo>
                  <a:lnTo>
                    <a:pt x="189" y="8"/>
                  </a:lnTo>
                  <a:lnTo>
                    <a:pt x="190" y="8"/>
                  </a:lnTo>
                  <a:lnTo>
                    <a:pt x="192" y="8"/>
                  </a:lnTo>
                  <a:lnTo>
                    <a:pt x="196" y="9"/>
                  </a:lnTo>
                  <a:lnTo>
                    <a:pt x="199" y="9"/>
                  </a:lnTo>
                  <a:lnTo>
                    <a:pt x="200" y="11"/>
                  </a:lnTo>
                  <a:lnTo>
                    <a:pt x="214" y="21"/>
                  </a:lnTo>
                  <a:lnTo>
                    <a:pt x="215" y="22"/>
                  </a:lnTo>
                  <a:lnTo>
                    <a:pt x="215" y="23"/>
                  </a:lnTo>
                  <a:lnTo>
                    <a:pt x="215" y="23"/>
                  </a:lnTo>
                  <a:lnTo>
                    <a:pt x="215" y="23"/>
                  </a:lnTo>
                  <a:lnTo>
                    <a:pt x="215" y="25"/>
                  </a:lnTo>
                  <a:lnTo>
                    <a:pt x="220" y="29"/>
                  </a:lnTo>
                  <a:lnTo>
                    <a:pt x="221" y="29"/>
                  </a:lnTo>
                  <a:lnTo>
                    <a:pt x="222" y="31"/>
                  </a:lnTo>
                  <a:lnTo>
                    <a:pt x="227" y="32"/>
                  </a:lnTo>
                  <a:lnTo>
                    <a:pt x="227" y="45"/>
                  </a:lnTo>
                  <a:lnTo>
                    <a:pt x="227" y="56"/>
                  </a:lnTo>
                  <a:lnTo>
                    <a:pt x="228" y="98"/>
                  </a:lnTo>
                  <a:lnTo>
                    <a:pt x="228" y="124"/>
                  </a:lnTo>
                  <a:lnTo>
                    <a:pt x="227" y="130"/>
                  </a:lnTo>
                  <a:lnTo>
                    <a:pt x="225" y="138"/>
                  </a:lnTo>
                  <a:lnTo>
                    <a:pt x="225" y="143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35" y="151"/>
                  </a:lnTo>
                  <a:lnTo>
                    <a:pt x="237" y="151"/>
                  </a:lnTo>
                  <a:lnTo>
                    <a:pt x="242" y="152"/>
                  </a:lnTo>
                  <a:lnTo>
                    <a:pt x="246" y="154"/>
                  </a:lnTo>
                  <a:lnTo>
                    <a:pt x="246" y="154"/>
                  </a:lnTo>
                  <a:lnTo>
                    <a:pt x="248" y="154"/>
                  </a:lnTo>
                  <a:lnTo>
                    <a:pt x="249" y="152"/>
                  </a:lnTo>
                  <a:lnTo>
                    <a:pt x="249" y="152"/>
                  </a:lnTo>
                  <a:lnTo>
                    <a:pt x="251" y="152"/>
                  </a:lnTo>
                  <a:lnTo>
                    <a:pt x="252" y="154"/>
                  </a:lnTo>
                  <a:lnTo>
                    <a:pt x="253" y="155"/>
                  </a:lnTo>
                  <a:lnTo>
                    <a:pt x="253" y="155"/>
                  </a:lnTo>
                  <a:lnTo>
                    <a:pt x="253" y="155"/>
                  </a:lnTo>
                  <a:lnTo>
                    <a:pt x="253" y="160"/>
                  </a:lnTo>
                  <a:lnTo>
                    <a:pt x="253" y="160"/>
                  </a:lnTo>
                  <a:lnTo>
                    <a:pt x="252" y="160"/>
                  </a:lnTo>
                  <a:lnTo>
                    <a:pt x="252" y="160"/>
                  </a:lnTo>
                  <a:lnTo>
                    <a:pt x="249" y="161"/>
                  </a:lnTo>
                  <a:lnTo>
                    <a:pt x="248" y="161"/>
                  </a:lnTo>
                  <a:lnTo>
                    <a:pt x="248" y="162"/>
                  </a:lnTo>
                  <a:lnTo>
                    <a:pt x="248" y="162"/>
                  </a:lnTo>
                  <a:lnTo>
                    <a:pt x="248" y="162"/>
                  </a:lnTo>
                  <a:lnTo>
                    <a:pt x="251" y="175"/>
                  </a:lnTo>
                  <a:lnTo>
                    <a:pt x="249" y="179"/>
                  </a:lnTo>
                  <a:lnTo>
                    <a:pt x="249" y="179"/>
                  </a:lnTo>
                  <a:lnTo>
                    <a:pt x="249" y="181"/>
                  </a:lnTo>
                  <a:lnTo>
                    <a:pt x="249" y="181"/>
                  </a:lnTo>
                  <a:lnTo>
                    <a:pt x="251" y="182"/>
                  </a:lnTo>
                  <a:lnTo>
                    <a:pt x="252" y="185"/>
                  </a:lnTo>
                  <a:lnTo>
                    <a:pt x="253" y="186"/>
                  </a:lnTo>
                  <a:lnTo>
                    <a:pt x="253" y="188"/>
                  </a:lnTo>
                  <a:lnTo>
                    <a:pt x="258" y="190"/>
                  </a:lnTo>
                  <a:lnTo>
                    <a:pt x="258" y="190"/>
                  </a:lnTo>
                  <a:lnTo>
                    <a:pt x="259" y="190"/>
                  </a:lnTo>
                  <a:lnTo>
                    <a:pt x="259" y="190"/>
                  </a:lnTo>
                  <a:lnTo>
                    <a:pt x="260" y="190"/>
                  </a:lnTo>
                  <a:lnTo>
                    <a:pt x="260" y="190"/>
                  </a:lnTo>
                  <a:lnTo>
                    <a:pt x="260" y="190"/>
                  </a:lnTo>
                  <a:lnTo>
                    <a:pt x="262" y="189"/>
                  </a:lnTo>
                  <a:lnTo>
                    <a:pt x="262" y="189"/>
                  </a:lnTo>
                  <a:lnTo>
                    <a:pt x="262" y="188"/>
                  </a:lnTo>
                  <a:lnTo>
                    <a:pt x="262" y="188"/>
                  </a:lnTo>
                  <a:lnTo>
                    <a:pt x="262" y="186"/>
                  </a:lnTo>
                  <a:lnTo>
                    <a:pt x="263" y="186"/>
                  </a:lnTo>
                  <a:lnTo>
                    <a:pt x="263" y="186"/>
                  </a:lnTo>
                  <a:lnTo>
                    <a:pt x="265" y="186"/>
                  </a:lnTo>
                  <a:lnTo>
                    <a:pt x="265" y="188"/>
                  </a:lnTo>
                  <a:lnTo>
                    <a:pt x="267" y="188"/>
                  </a:lnTo>
                  <a:lnTo>
                    <a:pt x="270" y="189"/>
                  </a:lnTo>
                  <a:lnTo>
                    <a:pt x="270" y="189"/>
                  </a:lnTo>
                  <a:lnTo>
                    <a:pt x="274" y="195"/>
                  </a:lnTo>
                  <a:lnTo>
                    <a:pt x="279" y="204"/>
                  </a:lnTo>
                  <a:lnTo>
                    <a:pt x="277" y="207"/>
                  </a:lnTo>
                  <a:lnTo>
                    <a:pt x="276" y="207"/>
                  </a:lnTo>
                  <a:lnTo>
                    <a:pt x="274" y="209"/>
                  </a:lnTo>
                  <a:lnTo>
                    <a:pt x="273" y="209"/>
                  </a:lnTo>
                  <a:lnTo>
                    <a:pt x="273" y="209"/>
                  </a:lnTo>
                  <a:lnTo>
                    <a:pt x="273" y="209"/>
                  </a:lnTo>
                  <a:lnTo>
                    <a:pt x="272" y="209"/>
                  </a:lnTo>
                  <a:lnTo>
                    <a:pt x="269" y="209"/>
                  </a:lnTo>
                  <a:lnTo>
                    <a:pt x="269" y="209"/>
                  </a:lnTo>
                  <a:lnTo>
                    <a:pt x="267" y="209"/>
                  </a:lnTo>
                  <a:lnTo>
                    <a:pt x="267" y="210"/>
                  </a:lnTo>
                  <a:lnTo>
                    <a:pt x="267" y="210"/>
                  </a:lnTo>
                  <a:lnTo>
                    <a:pt x="269" y="211"/>
                  </a:lnTo>
                  <a:lnTo>
                    <a:pt x="269" y="211"/>
                  </a:lnTo>
                  <a:lnTo>
                    <a:pt x="273" y="213"/>
                  </a:lnTo>
                  <a:lnTo>
                    <a:pt x="274" y="214"/>
                  </a:lnTo>
                  <a:lnTo>
                    <a:pt x="276" y="214"/>
                  </a:lnTo>
                  <a:lnTo>
                    <a:pt x="276" y="214"/>
                  </a:lnTo>
                  <a:lnTo>
                    <a:pt x="276" y="213"/>
                  </a:lnTo>
                  <a:lnTo>
                    <a:pt x="277" y="211"/>
                  </a:lnTo>
                  <a:lnTo>
                    <a:pt x="277" y="211"/>
                  </a:lnTo>
                  <a:lnTo>
                    <a:pt x="283" y="214"/>
                  </a:lnTo>
                  <a:lnTo>
                    <a:pt x="283" y="214"/>
                  </a:lnTo>
                  <a:lnTo>
                    <a:pt x="284" y="217"/>
                  </a:lnTo>
                  <a:lnTo>
                    <a:pt x="283" y="217"/>
                  </a:lnTo>
                  <a:lnTo>
                    <a:pt x="281" y="220"/>
                  </a:lnTo>
                  <a:lnTo>
                    <a:pt x="269" y="231"/>
                  </a:lnTo>
                  <a:lnTo>
                    <a:pt x="269" y="231"/>
                  </a:lnTo>
                  <a:lnTo>
                    <a:pt x="263" y="232"/>
                  </a:lnTo>
                  <a:lnTo>
                    <a:pt x="263" y="232"/>
                  </a:lnTo>
                  <a:lnTo>
                    <a:pt x="253" y="234"/>
                  </a:lnTo>
                  <a:lnTo>
                    <a:pt x="246" y="232"/>
                  </a:lnTo>
                  <a:lnTo>
                    <a:pt x="246" y="232"/>
                  </a:lnTo>
                  <a:lnTo>
                    <a:pt x="245" y="231"/>
                  </a:lnTo>
                  <a:lnTo>
                    <a:pt x="244" y="231"/>
                  </a:lnTo>
                  <a:lnTo>
                    <a:pt x="244" y="231"/>
                  </a:lnTo>
                  <a:lnTo>
                    <a:pt x="242" y="232"/>
                  </a:lnTo>
                  <a:lnTo>
                    <a:pt x="242" y="234"/>
                  </a:lnTo>
                  <a:lnTo>
                    <a:pt x="242" y="237"/>
                  </a:lnTo>
                  <a:lnTo>
                    <a:pt x="242" y="239"/>
                  </a:lnTo>
                  <a:lnTo>
                    <a:pt x="242" y="241"/>
                  </a:lnTo>
                  <a:lnTo>
                    <a:pt x="232" y="244"/>
                  </a:lnTo>
                  <a:lnTo>
                    <a:pt x="231" y="242"/>
                  </a:lnTo>
                  <a:lnTo>
                    <a:pt x="231" y="242"/>
                  </a:lnTo>
                  <a:lnTo>
                    <a:pt x="228" y="241"/>
                  </a:lnTo>
                  <a:lnTo>
                    <a:pt x="221" y="245"/>
                  </a:lnTo>
                  <a:lnTo>
                    <a:pt x="217" y="251"/>
                  </a:lnTo>
                  <a:lnTo>
                    <a:pt x="214" y="252"/>
                  </a:lnTo>
                  <a:lnTo>
                    <a:pt x="211" y="253"/>
                  </a:lnTo>
                  <a:lnTo>
                    <a:pt x="210" y="256"/>
                  </a:lnTo>
                  <a:lnTo>
                    <a:pt x="208" y="256"/>
                  </a:lnTo>
                  <a:lnTo>
                    <a:pt x="208" y="258"/>
                  </a:lnTo>
                  <a:lnTo>
                    <a:pt x="208" y="256"/>
                  </a:lnTo>
                  <a:lnTo>
                    <a:pt x="208" y="256"/>
                  </a:lnTo>
                  <a:lnTo>
                    <a:pt x="207" y="256"/>
                  </a:lnTo>
                  <a:lnTo>
                    <a:pt x="206" y="253"/>
                  </a:lnTo>
                  <a:lnTo>
                    <a:pt x="206" y="252"/>
                  </a:lnTo>
                  <a:lnTo>
                    <a:pt x="206" y="252"/>
                  </a:lnTo>
                  <a:lnTo>
                    <a:pt x="206" y="248"/>
                  </a:lnTo>
                  <a:lnTo>
                    <a:pt x="204" y="248"/>
                  </a:lnTo>
                  <a:lnTo>
                    <a:pt x="194" y="246"/>
                  </a:lnTo>
                  <a:lnTo>
                    <a:pt x="190" y="246"/>
                  </a:lnTo>
                  <a:lnTo>
                    <a:pt x="187" y="249"/>
                  </a:lnTo>
                  <a:lnTo>
                    <a:pt x="186" y="251"/>
                  </a:lnTo>
                  <a:lnTo>
                    <a:pt x="180" y="252"/>
                  </a:lnTo>
                  <a:lnTo>
                    <a:pt x="180" y="253"/>
                  </a:lnTo>
                  <a:lnTo>
                    <a:pt x="180" y="252"/>
                  </a:lnTo>
                  <a:lnTo>
                    <a:pt x="178" y="251"/>
                  </a:lnTo>
                  <a:lnTo>
                    <a:pt x="173" y="251"/>
                  </a:lnTo>
                  <a:lnTo>
                    <a:pt x="175" y="259"/>
                  </a:lnTo>
                  <a:lnTo>
                    <a:pt x="175" y="259"/>
                  </a:lnTo>
                  <a:lnTo>
                    <a:pt x="175" y="259"/>
                  </a:lnTo>
                  <a:lnTo>
                    <a:pt x="171" y="260"/>
                  </a:lnTo>
                  <a:lnTo>
                    <a:pt x="157" y="259"/>
                  </a:lnTo>
                  <a:lnTo>
                    <a:pt x="157" y="258"/>
                  </a:lnTo>
                  <a:lnTo>
                    <a:pt x="158" y="248"/>
                  </a:lnTo>
                  <a:lnTo>
                    <a:pt x="161" y="242"/>
                  </a:lnTo>
                  <a:lnTo>
                    <a:pt x="162" y="241"/>
                  </a:lnTo>
                  <a:lnTo>
                    <a:pt x="162" y="239"/>
                  </a:lnTo>
                  <a:lnTo>
                    <a:pt x="162" y="239"/>
                  </a:lnTo>
                  <a:lnTo>
                    <a:pt x="162" y="239"/>
                  </a:lnTo>
                  <a:lnTo>
                    <a:pt x="158" y="238"/>
                  </a:lnTo>
                  <a:lnTo>
                    <a:pt x="158" y="238"/>
                  </a:lnTo>
                  <a:lnTo>
                    <a:pt x="158" y="238"/>
                  </a:lnTo>
                  <a:lnTo>
                    <a:pt x="157" y="238"/>
                  </a:lnTo>
                  <a:lnTo>
                    <a:pt x="157" y="238"/>
                  </a:lnTo>
                  <a:lnTo>
                    <a:pt x="157" y="242"/>
                  </a:lnTo>
                  <a:lnTo>
                    <a:pt x="154" y="246"/>
                  </a:lnTo>
                  <a:lnTo>
                    <a:pt x="150" y="248"/>
                  </a:lnTo>
                  <a:lnTo>
                    <a:pt x="145" y="249"/>
                  </a:lnTo>
                  <a:lnTo>
                    <a:pt x="145" y="249"/>
                  </a:lnTo>
                  <a:lnTo>
                    <a:pt x="144" y="249"/>
                  </a:lnTo>
                  <a:lnTo>
                    <a:pt x="141" y="265"/>
                  </a:lnTo>
                  <a:lnTo>
                    <a:pt x="138" y="274"/>
                  </a:lnTo>
                  <a:lnTo>
                    <a:pt x="137" y="274"/>
                  </a:lnTo>
                  <a:lnTo>
                    <a:pt x="137" y="277"/>
                  </a:lnTo>
                  <a:lnTo>
                    <a:pt x="137" y="277"/>
                  </a:lnTo>
                  <a:lnTo>
                    <a:pt x="138" y="277"/>
                  </a:lnTo>
                  <a:lnTo>
                    <a:pt x="138" y="277"/>
                  </a:lnTo>
                  <a:lnTo>
                    <a:pt x="140" y="277"/>
                  </a:lnTo>
                  <a:lnTo>
                    <a:pt x="140" y="277"/>
                  </a:lnTo>
                  <a:lnTo>
                    <a:pt x="140" y="277"/>
                  </a:lnTo>
                  <a:lnTo>
                    <a:pt x="140" y="277"/>
                  </a:lnTo>
                  <a:lnTo>
                    <a:pt x="138" y="280"/>
                  </a:lnTo>
                  <a:lnTo>
                    <a:pt x="138" y="280"/>
                  </a:lnTo>
                  <a:lnTo>
                    <a:pt x="130" y="287"/>
                  </a:lnTo>
                  <a:lnTo>
                    <a:pt x="126" y="291"/>
                  </a:lnTo>
                  <a:lnTo>
                    <a:pt x="123" y="286"/>
                  </a:lnTo>
                  <a:lnTo>
                    <a:pt x="117" y="281"/>
                  </a:lnTo>
                  <a:lnTo>
                    <a:pt x="112" y="291"/>
                  </a:lnTo>
                  <a:lnTo>
                    <a:pt x="110" y="297"/>
                  </a:lnTo>
                  <a:lnTo>
                    <a:pt x="109" y="298"/>
                  </a:lnTo>
                  <a:lnTo>
                    <a:pt x="109" y="298"/>
                  </a:lnTo>
                  <a:lnTo>
                    <a:pt x="106" y="296"/>
                  </a:lnTo>
                  <a:lnTo>
                    <a:pt x="106" y="296"/>
                  </a:lnTo>
                  <a:lnTo>
                    <a:pt x="105" y="294"/>
                  </a:lnTo>
                  <a:lnTo>
                    <a:pt x="105" y="291"/>
                  </a:lnTo>
                  <a:lnTo>
                    <a:pt x="105" y="289"/>
                  </a:lnTo>
                  <a:lnTo>
                    <a:pt x="105" y="287"/>
                  </a:lnTo>
                  <a:lnTo>
                    <a:pt x="105" y="287"/>
                  </a:lnTo>
                  <a:lnTo>
                    <a:pt x="108" y="284"/>
                  </a:lnTo>
                  <a:lnTo>
                    <a:pt x="108" y="284"/>
                  </a:lnTo>
                  <a:lnTo>
                    <a:pt x="108" y="284"/>
                  </a:lnTo>
                  <a:lnTo>
                    <a:pt x="108" y="283"/>
                  </a:lnTo>
                  <a:lnTo>
                    <a:pt x="108" y="283"/>
                  </a:lnTo>
                  <a:lnTo>
                    <a:pt x="106" y="283"/>
                  </a:lnTo>
                  <a:lnTo>
                    <a:pt x="106" y="283"/>
                  </a:lnTo>
                  <a:lnTo>
                    <a:pt x="103" y="289"/>
                  </a:lnTo>
                  <a:lnTo>
                    <a:pt x="103" y="289"/>
                  </a:lnTo>
                  <a:lnTo>
                    <a:pt x="102" y="291"/>
                  </a:lnTo>
                  <a:lnTo>
                    <a:pt x="102" y="293"/>
                  </a:lnTo>
                  <a:lnTo>
                    <a:pt x="103" y="293"/>
                  </a:lnTo>
                  <a:lnTo>
                    <a:pt x="103" y="294"/>
                  </a:lnTo>
                  <a:lnTo>
                    <a:pt x="103" y="294"/>
                  </a:lnTo>
                  <a:lnTo>
                    <a:pt x="103" y="294"/>
                  </a:lnTo>
                  <a:lnTo>
                    <a:pt x="103" y="296"/>
                  </a:lnTo>
                  <a:lnTo>
                    <a:pt x="103" y="296"/>
                  </a:lnTo>
                  <a:lnTo>
                    <a:pt x="103" y="296"/>
                  </a:lnTo>
                  <a:lnTo>
                    <a:pt x="102" y="296"/>
                  </a:lnTo>
                  <a:lnTo>
                    <a:pt x="102" y="296"/>
                  </a:lnTo>
                  <a:lnTo>
                    <a:pt x="99" y="294"/>
                  </a:lnTo>
                  <a:lnTo>
                    <a:pt x="99" y="286"/>
                  </a:lnTo>
                  <a:lnTo>
                    <a:pt x="99" y="286"/>
                  </a:lnTo>
                  <a:lnTo>
                    <a:pt x="99" y="284"/>
                  </a:lnTo>
                  <a:lnTo>
                    <a:pt x="101" y="284"/>
                  </a:lnTo>
                  <a:lnTo>
                    <a:pt x="101" y="283"/>
                  </a:lnTo>
                  <a:lnTo>
                    <a:pt x="102" y="283"/>
                  </a:lnTo>
                  <a:lnTo>
                    <a:pt x="102" y="283"/>
                  </a:lnTo>
                  <a:lnTo>
                    <a:pt x="101" y="281"/>
                  </a:lnTo>
                  <a:lnTo>
                    <a:pt x="101" y="281"/>
                  </a:lnTo>
                  <a:lnTo>
                    <a:pt x="101" y="283"/>
                  </a:lnTo>
                  <a:lnTo>
                    <a:pt x="99" y="283"/>
                  </a:lnTo>
                  <a:lnTo>
                    <a:pt x="99" y="283"/>
                  </a:lnTo>
                  <a:lnTo>
                    <a:pt x="98" y="284"/>
                  </a:lnTo>
                  <a:lnTo>
                    <a:pt x="96" y="289"/>
                  </a:lnTo>
                  <a:lnTo>
                    <a:pt x="93" y="293"/>
                  </a:lnTo>
                  <a:lnTo>
                    <a:pt x="93" y="293"/>
                  </a:lnTo>
                  <a:lnTo>
                    <a:pt x="93" y="293"/>
                  </a:lnTo>
                  <a:lnTo>
                    <a:pt x="93" y="293"/>
                  </a:lnTo>
                  <a:lnTo>
                    <a:pt x="93" y="294"/>
                  </a:lnTo>
                  <a:lnTo>
                    <a:pt x="93" y="294"/>
                  </a:lnTo>
                  <a:lnTo>
                    <a:pt x="95" y="294"/>
                  </a:lnTo>
                  <a:lnTo>
                    <a:pt x="95" y="294"/>
                  </a:lnTo>
                  <a:lnTo>
                    <a:pt x="95" y="296"/>
                  </a:lnTo>
                  <a:lnTo>
                    <a:pt x="96" y="296"/>
                  </a:lnTo>
                  <a:lnTo>
                    <a:pt x="95" y="298"/>
                  </a:lnTo>
                  <a:lnTo>
                    <a:pt x="93" y="303"/>
                  </a:lnTo>
                  <a:lnTo>
                    <a:pt x="93" y="304"/>
                  </a:lnTo>
                  <a:lnTo>
                    <a:pt x="92" y="300"/>
                  </a:lnTo>
                  <a:lnTo>
                    <a:pt x="92" y="300"/>
                  </a:lnTo>
                  <a:lnTo>
                    <a:pt x="92" y="300"/>
                  </a:lnTo>
                  <a:lnTo>
                    <a:pt x="91" y="300"/>
                  </a:lnTo>
                  <a:lnTo>
                    <a:pt x="91" y="300"/>
                  </a:lnTo>
                  <a:lnTo>
                    <a:pt x="89" y="289"/>
                  </a:lnTo>
                  <a:lnTo>
                    <a:pt x="89" y="289"/>
                  </a:lnTo>
                  <a:lnTo>
                    <a:pt x="89" y="289"/>
                  </a:lnTo>
                  <a:lnTo>
                    <a:pt x="89" y="283"/>
                  </a:lnTo>
                  <a:lnTo>
                    <a:pt x="89" y="281"/>
                  </a:lnTo>
                  <a:lnTo>
                    <a:pt x="89" y="281"/>
                  </a:lnTo>
                  <a:lnTo>
                    <a:pt x="91" y="280"/>
                  </a:lnTo>
                  <a:lnTo>
                    <a:pt x="91" y="280"/>
                  </a:lnTo>
                  <a:lnTo>
                    <a:pt x="91" y="280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89" y="279"/>
                  </a:lnTo>
                  <a:lnTo>
                    <a:pt x="84" y="286"/>
                  </a:lnTo>
                  <a:lnTo>
                    <a:pt x="82" y="287"/>
                  </a:lnTo>
                  <a:lnTo>
                    <a:pt x="82" y="289"/>
                  </a:lnTo>
                  <a:lnTo>
                    <a:pt x="84" y="289"/>
                  </a:lnTo>
                  <a:lnTo>
                    <a:pt x="84" y="289"/>
                  </a:lnTo>
                  <a:lnTo>
                    <a:pt x="85" y="289"/>
                  </a:lnTo>
                  <a:lnTo>
                    <a:pt x="85" y="291"/>
                  </a:lnTo>
                  <a:lnTo>
                    <a:pt x="85" y="291"/>
                  </a:lnTo>
                  <a:lnTo>
                    <a:pt x="86" y="291"/>
                  </a:lnTo>
                  <a:lnTo>
                    <a:pt x="86" y="291"/>
                  </a:lnTo>
                  <a:lnTo>
                    <a:pt x="86" y="291"/>
                  </a:lnTo>
                  <a:lnTo>
                    <a:pt x="86" y="291"/>
                  </a:lnTo>
                  <a:lnTo>
                    <a:pt x="86" y="294"/>
                  </a:lnTo>
                  <a:lnTo>
                    <a:pt x="88" y="297"/>
                  </a:lnTo>
                  <a:lnTo>
                    <a:pt x="88" y="303"/>
                  </a:lnTo>
                  <a:lnTo>
                    <a:pt x="88" y="303"/>
                  </a:lnTo>
                  <a:lnTo>
                    <a:pt x="86" y="310"/>
                  </a:lnTo>
                  <a:lnTo>
                    <a:pt x="86" y="310"/>
                  </a:lnTo>
                  <a:lnTo>
                    <a:pt x="85" y="308"/>
                  </a:lnTo>
                  <a:lnTo>
                    <a:pt x="85" y="305"/>
                  </a:lnTo>
                  <a:lnTo>
                    <a:pt x="84" y="303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75" y="296"/>
                  </a:lnTo>
                  <a:lnTo>
                    <a:pt x="68" y="300"/>
                  </a:lnTo>
                  <a:lnTo>
                    <a:pt x="65" y="301"/>
                  </a:lnTo>
                  <a:lnTo>
                    <a:pt x="63" y="304"/>
                  </a:lnTo>
                  <a:lnTo>
                    <a:pt x="60" y="308"/>
                  </a:lnTo>
                  <a:lnTo>
                    <a:pt x="58" y="312"/>
                  </a:lnTo>
                  <a:lnTo>
                    <a:pt x="58" y="312"/>
                  </a:lnTo>
                  <a:lnTo>
                    <a:pt x="57" y="314"/>
                  </a:lnTo>
                  <a:lnTo>
                    <a:pt x="58" y="314"/>
                  </a:lnTo>
                  <a:lnTo>
                    <a:pt x="60" y="314"/>
                  </a:lnTo>
                  <a:lnTo>
                    <a:pt x="60" y="314"/>
                  </a:lnTo>
                  <a:lnTo>
                    <a:pt x="60" y="314"/>
                  </a:lnTo>
                  <a:lnTo>
                    <a:pt x="61" y="314"/>
                  </a:lnTo>
                  <a:lnTo>
                    <a:pt x="61" y="315"/>
                  </a:lnTo>
                  <a:lnTo>
                    <a:pt x="61" y="315"/>
                  </a:lnTo>
                  <a:lnTo>
                    <a:pt x="61" y="317"/>
                  </a:lnTo>
                  <a:lnTo>
                    <a:pt x="61" y="321"/>
                  </a:lnTo>
                  <a:lnTo>
                    <a:pt x="61" y="321"/>
                  </a:lnTo>
                  <a:lnTo>
                    <a:pt x="61" y="321"/>
                  </a:lnTo>
                  <a:lnTo>
                    <a:pt x="56" y="322"/>
                  </a:lnTo>
                  <a:lnTo>
                    <a:pt x="54" y="322"/>
                  </a:lnTo>
                  <a:lnTo>
                    <a:pt x="50" y="331"/>
                  </a:lnTo>
                  <a:lnTo>
                    <a:pt x="50" y="332"/>
                  </a:lnTo>
                  <a:lnTo>
                    <a:pt x="47" y="335"/>
                  </a:lnTo>
                  <a:lnTo>
                    <a:pt x="44" y="338"/>
                  </a:lnTo>
                  <a:lnTo>
                    <a:pt x="43" y="339"/>
                  </a:lnTo>
                  <a:lnTo>
                    <a:pt x="43" y="339"/>
                  </a:lnTo>
                  <a:lnTo>
                    <a:pt x="42" y="339"/>
                  </a:lnTo>
                  <a:lnTo>
                    <a:pt x="42" y="339"/>
                  </a:lnTo>
                  <a:lnTo>
                    <a:pt x="40" y="339"/>
                  </a:lnTo>
                  <a:lnTo>
                    <a:pt x="40" y="339"/>
                  </a:lnTo>
                  <a:lnTo>
                    <a:pt x="39" y="339"/>
                  </a:lnTo>
                  <a:lnTo>
                    <a:pt x="39" y="339"/>
                  </a:lnTo>
                  <a:lnTo>
                    <a:pt x="36" y="342"/>
                  </a:lnTo>
                  <a:lnTo>
                    <a:pt x="36" y="343"/>
                  </a:lnTo>
                  <a:lnTo>
                    <a:pt x="35" y="345"/>
                  </a:lnTo>
                  <a:lnTo>
                    <a:pt x="35" y="346"/>
                  </a:lnTo>
                  <a:lnTo>
                    <a:pt x="35" y="347"/>
                  </a:lnTo>
                  <a:lnTo>
                    <a:pt x="35" y="347"/>
                  </a:lnTo>
                  <a:lnTo>
                    <a:pt x="35" y="347"/>
                  </a:lnTo>
                  <a:lnTo>
                    <a:pt x="35" y="349"/>
                  </a:lnTo>
                  <a:lnTo>
                    <a:pt x="35" y="350"/>
                  </a:lnTo>
                  <a:lnTo>
                    <a:pt x="33" y="353"/>
                  </a:lnTo>
                  <a:lnTo>
                    <a:pt x="29" y="361"/>
                  </a:lnTo>
                  <a:lnTo>
                    <a:pt x="29" y="361"/>
                  </a:lnTo>
                  <a:lnTo>
                    <a:pt x="28" y="361"/>
                  </a:lnTo>
                  <a:lnTo>
                    <a:pt x="28" y="361"/>
                  </a:lnTo>
                  <a:lnTo>
                    <a:pt x="28" y="361"/>
                  </a:lnTo>
                  <a:lnTo>
                    <a:pt x="26" y="360"/>
                  </a:lnTo>
                  <a:lnTo>
                    <a:pt x="26" y="360"/>
                  </a:lnTo>
                  <a:lnTo>
                    <a:pt x="26" y="359"/>
                  </a:lnTo>
                  <a:lnTo>
                    <a:pt x="25" y="359"/>
                  </a:lnTo>
                  <a:lnTo>
                    <a:pt x="25" y="357"/>
                  </a:lnTo>
                  <a:lnTo>
                    <a:pt x="23" y="359"/>
                  </a:lnTo>
                  <a:lnTo>
                    <a:pt x="23" y="359"/>
                  </a:lnTo>
                  <a:lnTo>
                    <a:pt x="23" y="361"/>
                  </a:lnTo>
                  <a:lnTo>
                    <a:pt x="23" y="361"/>
                  </a:lnTo>
                  <a:lnTo>
                    <a:pt x="22" y="360"/>
                  </a:lnTo>
                  <a:lnTo>
                    <a:pt x="18" y="356"/>
                  </a:lnTo>
                  <a:lnTo>
                    <a:pt x="18" y="354"/>
                  </a:lnTo>
                  <a:lnTo>
                    <a:pt x="12" y="343"/>
                  </a:lnTo>
                  <a:lnTo>
                    <a:pt x="8" y="338"/>
                  </a:lnTo>
                  <a:lnTo>
                    <a:pt x="7" y="336"/>
                  </a:lnTo>
                  <a:lnTo>
                    <a:pt x="7" y="336"/>
                  </a:lnTo>
                  <a:lnTo>
                    <a:pt x="7" y="335"/>
                  </a:lnTo>
                  <a:lnTo>
                    <a:pt x="8" y="328"/>
                  </a:lnTo>
                  <a:lnTo>
                    <a:pt x="8" y="325"/>
                  </a:lnTo>
                  <a:lnTo>
                    <a:pt x="9" y="322"/>
                  </a:lnTo>
                  <a:lnTo>
                    <a:pt x="9" y="321"/>
                  </a:lnTo>
                  <a:lnTo>
                    <a:pt x="8" y="308"/>
                  </a:lnTo>
                  <a:lnTo>
                    <a:pt x="7" y="290"/>
                  </a:lnTo>
                  <a:lnTo>
                    <a:pt x="4" y="258"/>
                  </a:lnTo>
                  <a:lnTo>
                    <a:pt x="4" y="242"/>
                  </a:lnTo>
                  <a:lnTo>
                    <a:pt x="2" y="231"/>
                  </a:lnTo>
                  <a:lnTo>
                    <a:pt x="1" y="210"/>
                  </a:lnTo>
                  <a:lnTo>
                    <a:pt x="1" y="204"/>
                  </a:lnTo>
                  <a:lnTo>
                    <a:pt x="1" y="199"/>
                  </a:lnTo>
                  <a:lnTo>
                    <a:pt x="1" y="193"/>
                  </a:lnTo>
                  <a:lnTo>
                    <a:pt x="0" y="189"/>
                  </a:lnTo>
                  <a:lnTo>
                    <a:pt x="0" y="182"/>
                  </a:lnTo>
                  <a:lnTo>
                    <a:pt x="0" y="178"/>
                  </a:lnTo>
                  <a:lnTo>
                    <a:pt x="4" y="176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83" name="Freeform 136"/>
            <p:cNvSpPr>
              <a:spLocks/>
            </p:cNvSpPr>
            <p:nvPr/>
          </p:nvSpPr>
          <p:spPr bwMode="auto">
            <a:xfrm>
              <a:off x="9035560" y="2746120"/>
              <a:ext cx="15658" cy="17397"/>
            </a:xfrm>
            <a:custGeom>
              <a:avLst/>
              <a:gdLst>
                <a:gd name="T0" fmla="*/ 7 w 9"/>
                <a:gd name="T1" fmla="*/ 1 h 10"/>
                <a:gd name="T2" fmla="*/ 9 w 9"/>
                <a:gd name="T3" fmla="*/ 1 h 10"/>
                <a:gd name="T4" fmla="*/ 9 w 9"/>
                <a:gd name="T5" fmla="*/ 3 h 10"/>
                <a:gd name="T6" fmla="*/ 9 w 9"/>
                <a:gd name="T7" fmla="*/ 3 h 10"/>
                <a:gd name="T8" fmla="*/ 9 w 9"/>
                <a:gd name="T9" fmla="*/ 5 h 10"/>
                <a:gd name="T10" fmla="*/ 9 w 9"/>
                <a:gd name="T11" fmla="*/ 8 h 10"/>
                <a:gd name="T12" fmla="*/ 7 w 9"/>
                <a:gd name="T13" fmla="*/ 8 h 10"/>
                <a:gd name="T14" fmla="*/ 6 w 9"/>
                <a:gd name="T15" fmla="*/ 10 h 10"/>
                <a:gd name="T16" fmla="*/ 6 w 9"/>
                <a:gd name="T17" fmla="*/ 10 h 10"/>
                <a:gd name="T18" fmla="*/ 4 w 9"/>
                <a:gd name="T19" fmla="*/ 10 h 10"/>
                <a:gd name="T20" fmla="*/ 2 w 9"/>
                <a:gd name="T21" fmla="*/ 10 h 10"/>
                <a:gd name="T22" fmla="*/ 2 w 9"/>
                <a:gd name="T23" fmla="*/ 8 h 10"/>
                <a:gd name="T24" fmla="*/ 0 w 9"/>
                <a:gd name="T25" fmla="*/ 4 h 10"/>
                <a:gd name="T26" fmla="*/ 0 w 9"/>
                <a:gd name="T27" fmla="*/ 4 h 10"/>
                <a:gd name="T28" fmla="*/ 4 w 9"/>
                <a:gd name="T29" fmla="*/ 0 h 10"/>
                <a:gd name="T30" fmla="*/ 4 w 9"/>
                <a:gd name="T31" fmla="*/ 0 h 10"/>
                <a:gd name="T32" fmla="*/ 4 w 9"/>
                <a:gd name="T33" fmla="*/ 0 h 10"/>
                <a:gd name="T34" fmla="*/ 7 w 9"/>
                <a:gd name="T35" fmla="*/ 1 h 10"/>
                <a:gd name="T36" fmla="*/ 7 w 9"/>
                <a:gd name="T3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" h="10">
                  <a:moveTo>
                    <a:pt x="7" y="1"/>
                  </a:moveTo>
                  <a:lnTo>
                    <a:pt x="9" y="1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5"/>
                  </a:lnTo>
                  <a:lnTo>
                    <a:pt x="9" y="8"/>
                  </a:lnTo>
                  <a:lnTo>
                    <a:pt x="7" y="8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7" y="1"/>
                  </a:lnTo>
                  <a:lnTo>
                    <a:pt x="7" y="1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84" name="Freeform 137"/>
            <p:cNvSpPr>
              <a:spLocks/>
            </p:cNvSpPr>
            <p:nvPr/>
          </p:nvSpPr>
          <p:spPr bwMode="auto">
            <a:xfrm>
              <a:off x="9014682" y="2766997"/>
              <a:ext cx="15658" cy="12179"/>
            </a:xfrm>
            <a:custGeom>
              <a:avLst/>
              <a:gdLst>
                <a:gd name="T0" fmla="*/ 9 w 9"/>
                <a:gd name="T1" fmla="*/ 5 h 7"/>
                <a:gd name="T2" fmla="*/ 9 w 9"/>
                <a:gd name="T3" fmla="*/ 6 h 7"/>
                <a:gd name="T4" fmla="*/ 9 w 9"/>
                <a:gd name="T5" fmla="*/ 6 h 7"/>
                <a:gd name="T6" fmla="*/ 7 w 9"/>
                <a:gd name="T7" fmla="*/ 7 h 7"/>
                <a:gd name="T8" fmla="*/ 7 w 9"/>
                <a:gd name="T9" fmla="*/ 7 h 7"/>
                <a:gd name="T10" fmla="*/ 4 w 9"/>
                <a:gd name="T11" fmla="*/ 6 h 7"/>
                <a:gd name="T12" fmla="*/ 4 w 9"/>
                <a:gd name="T13" fmla="*/ 6 h 7"/>
                <a:gd name="T14" fmla="*/ 1 w 9"/>
                <a:gd name="T15" fmla="*/ 3 h 7"/>
                <a:gd name="T16" fmla="*/ 1 w 9"/>
                <a:gd name="T17" fmla="*/ 2 h 7"/>
                <a:gd name="T18" fmla="*/ 0 w 9"/>
                <a:gd name="T19" fmla="*/ 2 h 7"/>
                <a:gd name="T20" fmla="*/ 1 w 9"/>
                <a:gd name="T21" fmla="*/ 2 h 7"/>
                <a:gd name="T22" fmla="*/ 1 w 9"/>
                <a:gd name="T23" fmla="*/ 0 h 7"/>
                <a:gd name="T24" fmla="*/ 1 w 9"/>
                <a:gd name="T25" fmla="*/ 0 h 7"/>
                <a:gd name="T26" fmla="*/ 1 w 9"/>
                <a:gd name="T27" fmla="*/ 0 h 7"/>
                <a:gd name="T28" fmla="*/ 2 w 9"/>
                <a:gd name="T29" fmla="*/ 0 h 7"/>
                <a:gd name="T30" fmla="*/ 2 w 9"/>
                <a:gd name="T31" fmla="*/ 0 h 7"/>
                <a:gd name="T32" fmla="*/ 2 w 9"/>
                <a:gd name="T33" fmla="*/ 2 h 7"/>
                <a:gd name="T34" fmla="*/ 4 w 9"/>
                <a:gd name="T35" fmla="*/ 2 h 7"/>
                <a:gd name="T36" fmla="*/ 5 w 9"/>
                <a:gd name="T37" fmla="*/ 3 h 7"/>
                <a:gd name="T38" fmla="*/ 5 w 9"/>
                <a:gd name="T39" fmla="*/ 3 h 7"/>
                <a:gd name="T40" fmla="*/ 7 w 9"/>
                <a:gd name="T41" fmla="*/ 3 h 7"/>
                <a:gd name="T42" fmla="*/ 9 w 9"/>
                <a:gd name="T43" fmla="*/ 3 h 7"/>
                <a:gd name="T44" fmla="*/ 9 w 9"/>
                <a:gd name="T4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" h="7">
                  <a:moveTo>
                    <a:pt x="9" y="5"/>
                  </a:moveTo>
                  <a:lnTo>
                    <a:pt x="9" y="6"/>
                  </a:lnTo>
                  <a:lnTo>
                    <a:pt x="9" y="6"/>
                  </a:lnTo>
                  <a:lnTo>
                    <a:pt x="7" y="7"/>
                  </a:lnTo>
                  <a:lnTo>
                    <a:pt x="7" y="7"/>
                  </a:lnTo>
                  <a:lnTo>
                    <a:pt x="4" y="6"/>
                  </a:lnTo>
                  <a:lnTo>
                    <a:pt x="4" y="6"/>
                  </a:lnTo>
                  <a:lnTo>
                    <a:pt x="1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4" y="2"/>
                  </a:lnTo>
                  <a:lnTo>
                    <a:pt x="5" y="3"/>
                  </a:lnTo>
                  <a:lnTo>
                    <a:pt x="5" y="3"/>
                  </a:lnTo>
                  <a:lnTo>
                    <a:pt x="7" y="3"/>
                  </a:lnTo>
                  <a:lnTo>
                    <a:pt x="9" y="3"/>
                  </a:lnTo>
                  <a:lnTo>
                    <a:pt x="9" y="5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85" name="Freeform 138"/>
            <p:cNvSpPr>
              <a:spLocks/>
            </p:cNvSpPr>
            <p:nvPr/>
          </p:nvSpPr>
          <p:spPr bwMode="auto">
            <a:xfrm>
              <a:off x="8471903" y="2641735"/>
              <a:ext cx="233118" cy="328813"/>
            </a:xfrm>
            <a:custGeom>
              <a:avLst/>
              <a:gdLst>
                <a:gd name="T0" fmla="*/ 131 w 134"/>
                <a:gd name="T1" fmla="*/ 1 h 189"/>
                <a:gd name="T2" fmla="*/ 131 w 134"/>
                <a:gd name="T3" fmla="*/ 4 h 189"/>
                <a:gd name="T4" fmla="*/ 132 w 134"/>
                <a:gd name="T5" fmla="*/ 7 h 189"/>
                <a:gd name="T6" fmla="*/ 128 w 134"/>
                <a:gd name="T7" fmla="*/ 16 h 189"/>
                <a:gd name="T8" fmla="*/ 124 w 134"/>
                <a:gd name="T9" fmla="*/ 21 h 189"/>
                <a:gd name="T10" fmla="*/ 124 w 134"/>
                <a:gd name="T11" fmla="*/ 22 h 189"/>
                <a:gd name="T12" fmla="*/ 128 w 134"/>
                <a:gd name="T13" fmla="*/ 30 h 189"/>
                <a:gd name="T14" fmla="*/ 129 w 134"/>
                <a:gd name="T15" fmla="*/ 36 h 189"/>
                <a:gd name="T16" fmla="*/ 125 w 134"/>
                <a:gd name="T17" fmla="*/ 43 h 189"/>
                <a:gd name="T18" fmla="*/ 104 w 134"/>
                <a:gd name="T19" fmla="*/ 56 h 189"/>
                <a:gd name="T20" fmla="*/ 98 w 134"/>
                <a:gd name="T21" fmla="*/ 56 h 189"/>
                <a:gd name="T22" fmla="*/ 96 w 134"/>
                <a:gd name="T23" fmla="*/ 58 h 189"/>
                <a:gd name="T24" fmla="*/ 96 w 134"/>
                <a:gd name="T25" fmla="*/ 63 h 189"/>
                <a:gd name="T26" fmla="*/ 96 w 134"/>
                <a:gd name="T27" fmla="*/ 75 h 189"/>
                <a:gd name="T28" fmla="*/ 86 w 134"/>
                <a:gd name="T29" fmla="*/ 94 h 189"/>
                <a:gd name="T30" fmla="*/ 84 w 134"/>
                <a:gd name="T31" fmla="*/ 101 h 189"/>
                <a:gd name="T32" fmla="*/ 83 w 134"/>
                <a:gd name="T33" fmla="*/ 103 h 189"/>
                <a:gd name="T34" fmla="*/ 77 w 134"/>
                <a:gd name="T35" fmla="*/ 106 h 189"/>
                <a:gd name="T36" fmla="*/ 70 w 134"/>
                <a:gd name="T37" fmla="*/ 120 h 189"/>
                <a:gd name="T38" fmla="*/ 72 w 134"/>
                <a:gd name="T39" fmla="*/ 129 h 189"/>
                <a:gd name="T40" fmla="*/ 70 w 134"/>
                <a:gd name="T41" fmla="*/ 143 h 189"/>
                <a:gd name="T42" fmla="*/ 66 w 134"/>
                <a:gd name="T43" fmla="*/ 154 h 189"/>
                <a:gd name="T44" fmla="*/ 68 w 134"/>
                <a:gd name="T45" fmla="*/ 155 h 189"/>
                <a:gd name="T46" fmla="*/ 66 w 134"/>
                <a:gd name="T47" fmla="*/ 165 h 189"/>
                <a:gd name="T48" fmla="*/ 65 w 134"/>
                <a:gd name="T49" fmla="*/ 168 h 189"/>
                <a:gd name="T50" fmla="*/ 62 w 134"/>
                <a:gd name="T51" fmla="*/ 169 h 189"/>
                <a:gd name="T52" fmla="*/ 59 w 134"/>
                <a:gd name="T53" fmla="*/ 178 h 189"/>
                <a:gd name="T54" fmla="*/ 62 w 134"/>
                <a:gd name="T55" fmla="*/ 183 h 189"/>
                <a:gd name="T56" fmla="*/ 66 w 134"/>
                <a:gd name="T57" fmla="*/ 186 h 189"/>
                <a:gd name="T58" fmla="*/ 62 w 134"/>
                <a:gd name="T59" fmla="*/ 189 h 189"/>
                <a:gd name="T60" fmla="*/ 13 w 134"/>
                <a:gd name="T61" fmla="*/ 186 h 189"/>
                <a:gd name="T62" fmla="*/ 12 w 134"/>
                <a:gd name="T63" fmla="*/ 179 h 189"/>
                <a:gd name="T64" fmla="*/ 13 w 134"/>
                <a:gd name="T65" fmla="*/ 123 h 189"/>
                <a:gd name="T66" fmla="*/ 9 w 134"/>
                <a:gd name="T67" fmla="*/ 115 h 189"/>
                <a:gd name="T68" fmla="*/ 6 w 134"/>
                <a:gd name="T69" fmla="*/ 115 h 189"/>
                <a:gd name="T70" fmla="*/ 5 w 134"/>
                <a:gd name="T71" fmla="*/ 116 h 189"/>
                <a:gd name="T72" fmla="*/ 3 w 134"/>
                <a:gd name="T73" fmla="*/ 119 h 189"/>
                <a:gd name="T74" fmla="*/ 0 w 134"/>
                <a:gd name="T75" fmla="*/ 117 h 189"/>
                <a:gd name="T76" fmla="*/ 5 w 134"/>
                <a:gd name="T77" fmla="*/ 105 h 189"/>
                <a:gd name="T78" fmla="*/ 5 w 134"/>
                <a:gd name="T79" fmla="*/ 101 h 189"/>
                <a:gd name="T80" fmla="*/ 0 w 134"/>
                <a:gd name="T81" fmla="*/ 77 h 189"/>
                <a:gd name="T82" fmla="*/ 5 w 134"/>
                <a:gd name="T83" fmla="*/ 65 h 189"/>
                <a:gd name="T84" fmla="*/ 7 w 134"/>
                <a:gd name="T85" fmla="*/ 63 h 189"/>
                <a:gd name="T86" fmla="*/ 9 w 134"/>
                <a:gd name="T87" fmla="*/ 43 h 189"/>
                <a:gd name="T88" fmla="*/ 5 w 134"/>
                <a:gd name="T89" fmla="*/ 36 h 189"/>
                <a:gd name="T90" fmla="*/ 3 w 134"/>
                <a:gd name="T91" fmla="*/ 32 h 189"/>
                <a:gd name="T92" fmla="*/ 6 w 134"/>
                <a:gd name="T93" fmla="*/ 19 h 189"/>
                <a:gd name="T94" fmla="*/ 6 w 134"/>
                <a:gd name="T95" fmla="*/ 1 h 189"/>
                <a:gd name="T96" fmla="*/ 6 w 134"/>
                <a:gd name="T97" fmla="*/ 0 h 189"/>
                <a:gd name="T98" fmla="*/ 66 w 134"/>
                <a:gd name="T99" fmla="*/ 0 h 189"/>
                <a:gd name="T100" fmla="*/ 129 w 134"/>
                <a:gd name="T101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4" h="189">
                  <a:moveTo>
                    <a:pt x="132" y="0"/>
                  </a:moveTo>
                  <a:lnTo>
                    <a:pt x="131" y="0"/>
                  </a:lnTo>
                  <a:lnTo>
                    <a:pt x="131" y="1"/>
                  </a:lnTo>
                  <a:lnTo>
                    <a:pt x="131" y="1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4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2" y="7"/>
                  </a:lnTo>
                  <a:lnTo>
                    <a:pt x="132" y="7"/>
                  </a:lnTo>
                  <a:lnTo>
                    <a:pt x="132" y="8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5" y="19"/>
                  </a:lnTo>
                  <a:lnTo>
                    <a:pt x="125" y="19"/>
                  </a:lnTo>
                  <a:lnTo>
                    <a:pt x="124" y="21"/>
                  </a:lnTo>
                  <a:lnTo>
                    <a:pt x="124" y="21"/>
                  </a:lnTo>
                  <a:lnTo>
                    <a:pt x="124" y="21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4" y="23"/>
                  </a:lnTo>
                  <a:lnTo>
                    <a:pt x="125" y="25"/>
                  </a:lnTo>
                  <a:lnTo>
                    <a:pt x="125" y="28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9" y="35"/>
                  </a:lnTo>
                  <a:lnTo>
                    <a:pt x="129" y="35"/>
                  </a:lnTo>
                  <a:lnTo>
                    <a:pt x="129" y="36"/>
                  </a:lnTo>
                  <a:lnTo>
                    <a:pt x="126" y="40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5" y="43"/>
                  </a:lnTo>
                  <a:lnTo>
                    <a:pt x="121" y="47"/>
                  </a:lnTo>
                  <a:lnTo>
                    <a:pt x="118" y="49"/>
                  </a:lnTo>
                  <a:lnTo>
                    <a:pt x="111" y="51"/>
                  </a:lnTo>
                  <a:lnTo>
                    <a:pt x="104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0" y="56"/>
                  </a:lnTo>
                  <a:lnTo>
                    <a:pt x="98" y="56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6" y="58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6" y="61"/>
                  </a:lnTo>
                  <a:lnTo>
                    <a:pt x="96" y="63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1" y="85"/>
                  </a:lnTo>
                  <a:lnTo>
                    <a:pt x="86" y="92"/>
                  </a:lnTo>
                  <a:lnTo>
                    <a:pt x="86" y="94"/>
                  </a:lnTo>
                  <a:lnTo>
                    <a:pt x="86" y="95"/>
                  </a:lnTo>
                  <a:lnTo>
                    <a:pt x="86" y="96"/>
                  </a:lnTo>
                  <a:lnTo>
                    <a:pt x="84" y="98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02"/>
                  </a:lnTo>
                  <a:lnTo>
                    <a:pt x="83" y="102"/>
                  </a:lnTo>
                  <a:lnTo>
                    <a:pt x="83" y="103"/>
                  </a:lnTo>
                  <a:lnTo>
                    <a:pt x="82" y="103"/>
                  </a:lnTo>
                  <a:lnTo>
                    <a:pt x="79" y="105"/>
                  </a:lnTo>
                  <a:lnTo>
                    <a:pt x="79" y="106"/>
                  </a:lnTo>
                  <a:lnTo>
                    <a:pt x="77" y="106"/>
                  </a:lnTo>
                  <a:lnTo>
                    <a:pt x="77" y="108"/>
                  </a:lnTo>
                  <a:lnTo>
                    <a:pt x="76" y="109"/>
                  </a:lnTo>
                  <a:lnTo>
                    <a:pt x="72" y="119"/>
                  </a:lnTo>
                  <a:lnTo>
                    <a:pt x="70" y="120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0" y="126"/>
                  </a:lnTo>
                  <a:lnTo>
                    <a:pt x="72" y="129"/>
                  </a:lnTo>
                  <a:lnTo>
                    <a:pt x="70" y="140"/>
                  </a:lnTo>
                  <a:lnTo>
                    <a:pt x="70" y="141"/>
                  </a:lnTo>
                  <a:lnTo>
                    <a:pt x="70" y="141"/>
                  </a:lnTo>
                  <a:lnTo>
                    <a:pt x="70" y="143"/>
                  </a:lnTo>
                  <a:lnTo>
                    <a:pt x="70" y="143"/>
                  </a:lnTo>
                  <a:lnTo>
                    <a:pt x="69" y="145"/>
                  </a:lnTo>
                  <a:lnTo>
                    <a:pt x="68" y="145"/>
                  </a:lnTo>
                  <a:lnTo>
                    <a:pt x="66" y="154"/>
                  </a:lnTo>
                  <a:lnTo>
                    <a:pt x="66" y="154"/>
                  </a:lnTo>
                  <a:lnTo>
                    <a:pt x="66" y="154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7"/>
                  </a:lnTo>
                  <a:lnTo>
                    <a:pt x="68" y="157"/>
                  </a:lnTo>
                  <a:lnTo>
                    <a:pt x="68" y="157"/>
                  </a:lnTo>
                  <a:lnTo>
                    <a:pt x="66" y="165"/>
                  </a:lnTo>
                  <a:lnTo>
                    <a:pt x="66" y="166"/>
                  </a:lnTo>
                  <a:lnTo>
                    <a:pt x="65" y="166"/>
                  </a:lnTo>
                  <a:lnTo>
                    <a:pt x="65" y="168"/>
                  </a:lnTo>
                  <a:lnTo>
                    <a:pt x="65" y="168"/>
                  </a:lnTo>
                  <a:lnTo>
                    <a:pt x="63" y="168"/>
                  </a:lnTo>
                  <a:lnTo>
                    <a:pt x="63" y="168"/>
                  </a:lnTo>
                  <a:lnTo>
                    <a:pt x="62" y="168"/>
                  </a:lnTo>
                  <a:lnTo>
                    <a:pt x="62" y="169"/>
                  </a:lnTo>
                  <a:lnTo>
                    <a:pt x="62" y="169"/>
                  </a:lnTo>
                  <a:lnTo>
                    <a:pt x="61" y="175"/>
                  </a:lnTo>
                  <a:lnTo>
                    <a:pt x="59" y="176"/>
                  </a:lnTo>
                  <a:lnTo>
                    <a:pt x="59" y="178"/>
                  </a:lnTo>
                  <a:lnTo>
                    <a:pt x="59" y="178"/>
                  </a:lnTo>
                  <a:lnTo>
                    <a:pt x="61" y="179"/>
                  </a:lnTo>
                  <a:lnTo>
                    <a:pt x="61" y="180"/>
                  </a:lnTo>
                  <a:lnTo>
                    <a:pt x="62" y="183"/>
                  </a:lnTo>
                  <a:lnTo>
                    <a:pt x="65" y="185"/>
                  </a:lnTo>
                  <a:lnTo>
                    <a:pt x="65" y="185"/>
                  </a:lnTo>
                  <a:lnTo>
                    <a:pt x="66" y="186"/>
                  </a:lnTo>
                  <a:lnTo>
                    <a:pt x="66" y="186"/>
                  </a:lnTo>
                  <a:lnTo>
                    <a:pt x="66" y="187"/>
                  </a:lnTo>
                  <a:lnTo>
                    <a:pt x="66" y="187"/>
                  </a:lnTo>
                  <a:lnTo>
                    <a:pt x="66" y="189"/>
                  </a:lnTo>
                  <a:lnTo>
                    <a:pt x="62" y="189"/>
                  </a:lnTo>
                  <a:lnTo>
                    <a:pt x="52" y="187"/>
                  </a:lnTo>
                  <a:lnTo>
                    <a:pt x="27" y="187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2" y="186"/>
                  </a:lnTo>
                  <a:lnTo>
                    <a:pt x="10" y="180"/>
                  </a:lnTo>
                  <a:lnTo>
                    <a:pt x="10" y="179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2" y="172"/>
                  </a:lnTo>
                  <a:lnTo>
                    <a:pt x="13" y="129"/>
                  </a:lnTo>
                  <a:lnTo>
                    <a:pt x="13" y="123"/>
                  </a:lnTo>
                  <a:lnTo>
                    <a:pt x="13" y="122"/>
                  </a:lnTo>
                  <a:lnTo>
                    <a:pt x="13" y="120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7" y="115"/>
                  </a:lnTo>
                  <a:lnTo>
                    <a:pt x="6" y="115"/>
                  </a:lnTo>
                  <a:lnTo>
                    <a:pt x="6" y="115"/>
                  </a:lnTo>
                  <a:lnTo>
                    <a:pt x="5" y="115"/>
                  </a:lnTo>
                  <a:lnTo>
                    <a:pt x="5" y="115"/>
                  </a:lnTo>
                  <a:lnTo>
                    <a:pt x="5" y="116"/>
                  </a:lnTo>
                  <a:lnTo>
                    <a:pt x="5" y="116"/>
                  </a:lnTo>
                  <a:lnTo>
                    <a:pt x="5" y="117"/>
                  </a:lnTo>
                  <a:lnTo>
                    <a:pt x="3" y="117"/>
                  </a:lnTo>
                  <a:lnTo>
                    <a:pt x="3" y="119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2" y="110"/>
                  </a:lnTo>
                  <a:lnTo>
                    <a:pt x="5" y="105"/>
                  </a:lnTo>
                  <a:lnTo>
                    <a:pt x="5" y="105"/>
                  </a:lnTo>
                  <a:lnTo>
                    <a:pt x="5" y="103"/>
                  </a:lnTo>
                  <a:lnTo>
                    <a:pt x="5" y="102"/>
                  </a:lnTo>
                  <a:lnTo>
                    <a:pt x="5" y="101"/>
                  </a:lnTo>
                  <a:lnTo>
                    <a:pt x="3" y="94"/>
                  </a:lnTo>
                  <a:lnTo>
                    <a:pt x="3" y="94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3" y="67"/>
                  </a:lnTo>
                  <a:lnTo>
                    <a:pt x="3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6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9" y="46"/>
                  </a:lnTo>
                  <a:lnTo>
                    <a:pt x="9" y="44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6" y="40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5" y="26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5"/>
                  </a:lnTo>
                  <a:lnTo>
                    <a:pt x="6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33" y="0"/>
                  </a:lnTo>
                  <a:lnTo>
                    <a:pt x="45" y="0"/>
                  </a:lnTo>
                  <a:lnTo>
                    <a:pt x="63" y="0"/>
                  </a:lnTo>
                  <a:lnTo>
                    <a:pt x="66" y="0"/>
                  </a:lnTo>
                  <a:lnTo>
                    <a:pt x="80" y="0"/>
                  </a:lnTo>
                  <a:lnTo>
                    <a:pt x="94" y="0"/>
                  </a:lnTo>
                  <a:lnTo>
                    <a:pt x="105" y="0"/>
                  </a:lnTo>
                  <a:lnTo>
                    <a:pt x="129" y="0"/>
                  </a:lnTo>
                  <a:lnTo>
                    <a:pt x="134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86" name="Freeform 139"/>
            <p:cNvSpPr>
              <a:spLocks/>
            </p:cNvSpPr>
            <p:nvPr/>
          </p:nvSpPr>
          <p:spPr bwMode="auto">
            <a:xfrm>
              <a:off x="8663267" y="3073193"/>
              <a:ext cx="73066" cy="99166"/>
            </a:xfrm>
            <a:custGeom>
              <a:avLst/>
              <a:gdLst>
                <a:gd name="T0" fmla="*/ 42 w 42"/>
                <a:gd name="T1" fmla="*/ 26 h 57"/>
                <a:gd name="T2" fmla="*/ 42 w 42"/>
                <a:gd name="T3" fmla="*/ 28 h 57"/>
                <a:gd name="T4" fmla="*/ 39 w 42"/>
                <a:gd name="T5" fmla="*/ 29 h 57"/>
                <a:gd name="T6" fmla="*/ 36 w 42"/>
                <a:gd name="T7" fmla="*/ 29 h 57"/>
                <a:gd name="T8" fmla="*/ 36 w 42"/>
                <a:gd name="T9" fmla="*/ 29 h 57"/>
                <a:gd name="T10" fmla="*/ 36 w 42"/>
                <a:gd name="T11" fmla="*/ 28 h 57"/>
                <a:gd name="T12" fmla="*/ 36 w 42"/>
                <a:gd name="T13" fmla="*/ 26 h 57"/>
                <a:gd name="T14" fmla="*/ 32 w 42"/>
                <a:gd name="T15" fmla="*/ 18 h 57"/>
                <a:gd name="T16" fmla="*/ 31 w 42"/>
                <a:gd name="T17" fmla="*/ 17 h 57"/>
                <a:gd name="T18" fmla="*/ 31 w 42"/>
                <a:gd name="T19" fmla="*/ 17 h 57"/>
                <a:gd name="T20" fmla="*/ 31 w 42"/>
                <a:gd name="T21" fmla="*/ 17 h 57"/>
                <a:gd name="T22" fmla="*/ 31 w 42"/>
                <a:gd name="T23" fmla="*/ 17 h 57"/>
                <a:gd name="T24" fmla="*/ 29 w 42"/>
                <a:gd name="T25" fmla="*/ 33 h 57"/>
                <a:gd name="T26" fmla="*/ 28 w 42"/>
                <a:gd name="T27" fmla="*/ 43 h 57"/>
                <a:gd name="T28" fmla="*/ 28 w 42"/>
                <a:gd name="T29" fmla="*/ 43 h 57"/>
                <a:gd name="T30" fmla="*/ 28 w 42"/>
                <a:gd name="T31" fmla="*/ 45 h 57"/>
                <a:gd name="T32" fmla="*/ 28 w 42"/>
                <a:gd name="T33" fmla="*/ 45 h 57"/>
                <a:gd name="T34" fmla="*/ 25 w 42"/>
                <a:gd name="T35" fmla="*/ 50 h 57"/>
                <a:gd name="T36" fmla="*/ 22 w 42"/>
                <a:gd name="T37" fmla="*/ 53 h 57"/>
                <a:gd name="T38" fmla="*/ 22 w 42"/>
                <a:gd name="T39" fmla="*/ 52 h 57"/>
                <a:gd name="T40" fmla="*/ 21 w 42"/>
                <a:gd name="T41" fmla="*/ 52 h 57"/>
                <a:gd name="T42" fmla="*/ 19 w 42"/>
                <a:gd name="T43" fmla="*/ 52 h 57"/>
                <a:gd name="T44" fmla="*/ 18 w 42"/>
                <a:gd name="T45" fmla="*/ 52 h 57"/>
                <a:gd name="T46" fmla="*/ 16 w 42"/>
                <a:gd name="T47" fmla="*/ 52 h 57"/>
                <a:gd name="T48" fmla="*/ 11 w 42"/>
                <a:gd name="T49" fmla="*/ 54 h 57"/>
                <a:gd name="T50" fmla="*/ 7 w 42"/>
                <a:gd name="T51" fmla="*/ 56 h 57"/>
                <a:gd name="T52" fmla="*/ 4 w 42"/>
                <a:gd name="T53" fmla="*/ 56 h 57"/>
                <a:gd name="T54" fmla="*/ 1 w 42"/>
                <a:gd name="T55" fmla="*/ 56 h 57"/>
                <a:gd name="T56" fmla="*/ 0 w 42"/>
                <a:gd name="T57" fmla="*/ 57 h 57"/>
                <a:gd name="T58" fmla="*/ 0 w 42"/>
                <a:gd name="T59" fmla="*/ 54 h 57"/>
                <a:gd name="T60" fmla="*/ 2 w 42"/>
                <a:gd name="T61" fmla="*/ 49 h 57"/>
                <a:gd name="T62" fmla="*/ 2 w 42"/>
                <a:gd name="T63" fmla="*/ 49 h 57"/>
                <a:gd name="T64" fmla="*/ 2 w 42"/>
                <a:gd name="T65" fmla="*/ 35 h 57"/>
                <a:gd name="T66" fmla="*/ 2 w 42"/>
                <a:gd name="T67" fmla="*/ 19 h 57"/>
                <a:gd name="T68" fmla="*/ 2 w 42"/>
                <a:gd name="T69" fmla="*/ 0 h 57"/>
                <a:gd name="T70" fmla="*/ 11 w 42"/>
                <a:gd name="T71" fmla="*/ 0 h 57"/>
                <a:gd name="T72" fmla="*/ 16 w 42"/>
                <a:gd name="T73" fmla="*/ 0 h 57"/>
                <a:gd name="T74" fmla="*/ 31 w 42"/>
                <a:gd name="T75" fmla="*/ 0 h 57"/>
                <a:gd name="T76" fmla="*/ 31 w 42"/>
                <a:gd name="T77" fmla="*/ 5 h 57"/>
                <a:gd name="T78" fmla="*/ 31 w 42"/>
                <a:gd name="T79" fmla="*/ 10 h 57"/>
                <a:gd name="T80" fmla="*/ 33 w 42"/>
                <a:gd name="T81" fmla="*/ 18 h 57"/>
                <a:gd name="T82" fmla="*/ 35 w 42"/>
                <a:gd name="T83" fmla="*/ 18 h 57"/>
                <a:gd name="T84" fmla="*/ 35 w 42"/>
                <a:gd name="T85" fmla="*/ 19 h 57"/>
                <a:gd name="T86" fmla="*/ 36 w 42"/>
                <a:gd name="T87" fmla="*/ 19 h 57"/>
                <a:gd name="T88" fmla="*/ 40 w 42"/>
                <a:gd name="T89" fmla="*/ 24 h 57"/>
                <a:gd name="T90" fmla="*/ 42 w 42"/>
                <a:gd name="T91" fmla="*/ 25 h 57"/>
                <a:gd name="T92" fmla="*/ 42 w 42"/>
                <a:gd name="T93" fmla="*/ 2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" h="57">
                  <a:moveTo>
                    <a:pt x="42" y="26"/>
                  </a:moveTo>
                  <a:lnTo>
                    <a:pt x="42" y="28"/>
                  </a:lnTo>
                  <a:lnTo>
                    <a:pt x="39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8"/>
                  </a:lnTo>
                  <a:lnTo>
                    <a:pt x="36" y="26"/>
                  </a:lnTo>
                  <a:lnTo>
                    <a:pt x="32" y="18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29" y="3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5"/>
                  </a:lnTo>
                  <a:lnTo>
                    <a:pt x="28" y="45"/>
                  </a:lnTo>
                  <a:lnTo>
                    <a:pt x="25" y="50"/>
                  </a:lnTo>
                  <a:lnTo>
                    <a:pt x="22" y="53"/>
                  </a:lnTo>
                  <a:lnTo>
                    <a:pt x="22" y="52"/>
                  </a:lnTo>
                  <a:lnTo>
                    <a:pt x="21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6" y="52"/>
                  </a:lnTo>
                  <a:lnTo>
                    <a:pt x="11" y="54"/>
                  </a:lnTo>
                  <a:lnTo>
                    <a:pt x="7" y="56"/>
                  </a:lnTo>
                  <a:lnTo>
                    <a:pt x="4" y="56"/>
                  </a:lnTo>
                  <a:lnTo>
                    <a:pt x="1" y="56"/>
                  </a:lnTo>
                  <a:lnTo>
                    <a:pt x="0" y="57"/>
                  </a:lnTo>
                  <a:lnTo>
                    <a:pt x="0" y="54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35"/>
                  </a:lnTo>
                  <a:lnTo>
                    <a:pt x="2" y="19"/>
                  </a:lnTo>
                  <a:lnTo>
                    <a:pt x="2" y="0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31" y="0"/>
                  </a:lnTo>
                  <a:lnTo>
                    <a:pt x="31" y="5"/>
                  </a:lnTo>
                  <a:lnTo>
                    <a:pt x="31" y="10"/>
                  </a:lnTo>
                  <a:lnTo>
                    <a:pt x="33" y="18"/>
                  </a:lnTo>
                  <a:lnTo>
                    <a:pt x="35" y="18"/>
                  </a:lnTo>
                  <a:lnTo>
                    <a:pt x="35" y="19"/>
                  </a:lnTo>
                  <a:lnTo>
                    <a:pt x="36" y="19"/>
                  </a:lnTo>
                  <a:lnTo>
                    <a:pt x="40" y="24"/>
                  </a:lnTo>
                  <a:lnTo>
                    <a:pt x="42" y="25"/>
                  </a:lnTo>
                  <a:lnTo>
                    <a:pt x="42" y="26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87" name="Freeform 140"/>
            <p:cNvSpPr>
              <a:spLocks/>
            </p:cNvSpPr>
            <p:nvPr/>
          </p:nvSpPr>
          <p:spPr bwMode="auto">
            <a:xfrm>
              <a:off x="8738073" y="3121906"/>
              <a:ext cx="10438" cy="29577"/>
            </a:xfrm>
            <a:custGeom>
              <a:avLst/>
              <a:gdLst>
                <a:gd name="T0" fmla="*/ 2 w 6"/>
                <a:gd name="T1" fmla="*/ 0 h 17"/>
                <a:gd name="T2" fmla="*/ 3 w 6"/>
                <a:gd name="T3" fmla="*/ 0 h 17"/>
                <a:gd name="T4" fmla="*/ 4 w 6"/>
                <a:gd name="T5" fmla="*/ 1 h 17"/>
                <a:gd name="T6" fmla="*/ 4 w 6"/>
                <a:gd name="T7" fmla="*/ 1 h 17"/>
                <a:gd name="T8" fmla="*/ 4 w 6"/>
                <a:gd name="T9" fmla="*/ 3 h 17"/>
                <a:gd name="T10" fmla="*/ 4 w 6"/>
                <a:gd name="T11" fmla="*/ 3 h 17"/>
                <a:gd name="T12" fmla="*/ 4 w 6"/>
                <a:gd name="T13" fmla="*/ 3 h 17"/>
                <a:gd name="T14" fmla="*/ 4 w 6"/>
                <a:gd name="T15" fmla="*/ 4 h 17"/>
                <a:gd name="T16" fmla="*/ 4 w 6"/>
                <a:gd name="T17" fmla="*/ 4 h 17"/>
                <a:gd name="T18" fmla="*/ 4 w 6"/>
                <a:gd name="T19" fmla="*/ 5 h 17"/>
                <a:gd name="T20" fmla="*/ 6 w 6"/>
                <a:gd name="T21" fmla="*/ 12 h 17"/>
                <a:gd name="T22" fmla="*/ 4 w 6"/>
                <a:gd name="T23" fmla="*/ 14 h 17"/>
                <a:gd name="T24" fmla="*/ 4 w 6"/>
                <a:gd name="T25" fmla="*/ 15 h 17"/>
                <a:gd name="T26" fmla="*/ 2 w 6"/>
                <a:gd name="T27" fmla="*/ 17 h 17"/>
                <a:gd name="T28" fmla="*/ 2 w 6"/>
                <a:gd name="T29" fmla="*/ 17 h 17"/>
                <a:gd name="T30" fmla="*/ 0 w 6"/>
                <a:gd name="T31" fmla="*/ 14 h 17"/>
                <a:gd name="T32" fmla="*/ 0 w 6"/>
                <a:gd name="T33" fmla="*/ 10 h 17"/>
                <a:gd name="T34" fmla="*/ 0 w 6"/>
                <a:gd name="T35" fmla="*/ 10 h 17"/>
                <a:gd name="T36" fmla="*/ 0 w 6"/>
                <a:gd name="T37" fmla="*/ 3 h 17"/>
                <a:gd name="T38" fmla="*/ 0 w 6"/>
                <a:gd name="T39" fmla="*/ 1 h 17"/>
                <a:gd name="T40" fmla="*/ 0 w 6"/>
                <a:gd name="T41" fmla="*/ 0 h 17"/>
                <a:gd name="T42" fmla="*/ 2 w 6"/>
                <a:gd name="T43" fmla="*/ 0 h 17"/>
                <a:gd name="T44" fmla="*/ 2 w 6"/>
                <a:gd name="T4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" h="17">
                  <a:moveTo>
                    <a:pt x="2" y="0"/>
                  </a:moveTo>
                  <a:lnTo>
                    <a:pt x="3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5"/>
                  </a:lnTo>
                  <a:lnTo>
                    <a:pt x="6" y="12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88" name="Freeform 141"/>
            <p:cNvSpPr>
              <a:spLocks/>
            </p:cNvSpPr>
            <p:nvPr/>
          </p:nvSpPr>
          <p:spPr bwMode="auto">
            <a:xfrm>
              <a:off x="8720677" y="3123645"/>
              <a:ext cx="15658" cy="29577"/>
            </a:xfrm>
            <a:custGeom>
              <a:avLst/>
              <a:gdLst>
                <a:gd name="T0" fmla="*/ 9 w 9"/>
                <a:gd name="T1" fmla="*/ 10 h 17"/>
                <a:gd name="T2" fmla="*/ 9 w 9"/>
                <a:gd name="T3" fmla="*/ 13 h 17"/>
                <a:gd name="T4" fmla="*/ 5 w 9"/>
                <a:gd name="T5" fmla="*/ 16 h 17"/>
                <a:gd name="T6" fmla="*/ 0 w 9"/>
                <a:gd name="T7" fmla="*/ 17 h 17"/>
                <a:gd name="T8" fmla="*/ 0 w 9"/>
                <a:gd name="T9" fmla="*/ 17 h 17"/>
                <a:gd name="T10" fmla="*/ 0 w 9"/>
                <a:gd name="T11" fmla="*/ 16 h 17"/>
                <a:gd name="T12" fmla="*/ 0 w 9"/>
                <a:gd name="T13" fmla="*/ 16 h 17"/>
                <a:gd name="T14" fmla="*/ 3 w 9"/>
                <a:gd name="T15" fmla="*/ 7 h 17"/>
                <a:gd name="T16" fmla="*/ 6 w 9"/>
                <a:gd name="T17" fmla="*/ 3 h 17"/>
                <a:gd name="T18" fmla="*/ 6 w 9"/>
                <a:gd name="T19" fmla="*/ 2 h 17"/>
                <a:gd name="T20" fmla="*/ 6 w 9"/>
                <a:gd name="T21" fmla="*/ 2 h 17"/>
                <a:gd name="T22" fmla="*/ 9 w 9"/>
                <a:gd name="T23" fmla="*/ 0 h 17"/>
                <a:gd name="T24" fmla="*/ 9 w 9"/>
                <a:gd name="T25" fmla="*/ 0 h 17"/>
                <a:gd name="T26" fmla="*/ 9 w 9"/>
                <a:gd name="T27" fmla="*/ 2 h 17"/>
                <a:gd name="T28" fmla="*/ 9 w 9"/>
                <a:gd name="T2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17">
                  <a:moveTo>
                    <a:pt x="9" y="10"/>
                  </a:moveTo>
                  <a:lnTo>
                    <a:pt x="9" y="13"/>
                  </a:lnTo>
                  <a:lnTo>
                    <a:pt x="5" y="16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3" y="7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9" y="10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89" name="Freeform 88"/>
            <p:cNvSpPr>
              <a:spLocks/>
            </p:cNvSpPr>
            <p:nvPr/>
          </p:nvSpPr>
          <p:spPr bwMode="auto">
            <a:xfrm>
              <a:off x="7711663" y="2641735"/>
              <a:ext cx="948125" cy="638488"/>
            </a:xfrm>
            <a:custGeom>
              <a:avLst/>
              <a:gdLst>
                <a:gd name="connsiteX0" fmla="*/ 819151 w 865188"/>
                <a:gd name="connsiteY0" fmla="*/ 504825 h 582613"/>
                <a:gd name="connsiteX1" fmla="*/ 823913 w 865188"/>
                <a:gd name="connsiteY1" fmla="*/ 504825 h 582613"/>
                <a:gd name="connsiteX2" fmla="*/ 823913 w 865188"/>
                <a:gd name="connsiteY2" fmla="*/ 506413 h 582613"/>
                <a:gd name="connsiteX3" fmla="*/ 820738 w 865188"/>
                <a:gd name="connsiteY3" fmla="*/ 509588 h 582613"/>
                <a:gd name="connsiteX4" fmla="*/ 819151 w 865188"/>
                <a:gd name="connsiteY4" fmla="*/ 509588 h 582613"/>
                <a:gd name="connsiteX5" fmla="*/ 808038 w 865188"/>
                <a:gd name="connsiteY5" fmla="*/ 512763 h 582613"/>
                <a:gd name="connsiteX6" fmla="*/ 782638 w 865188"/>
                <a:gd name="connsiteY6" fmla="*/ 534988 h 582613"/>
                <a:gd name="connsiteX7" fmla="*/ 781051 w 865188"/>
                <a:gd name="connsiteY7" fmla="*/ 534988 h 582613"/>
                <a:gd name="connsiteX8" fmla="*/ 782638 w 865188"/>
                <a:gd name="connsiteY8" fmla="*/ 538163 h 582613"/>
                <a:gd name="connsiteX9" fmla="*/ 785813 w 865188"/>
                <a:gd name="connsiteY9" fmla="*/ 538163 h 582613"/>
                <a:gd name="connsiteX10" fmla="*/ 793751 w 865188"/>
                <a:gd name="connsiteY10" fmla="*/ 538163 h 582613"/>
                <a:gd name="connsiteX11" fmla="*/ 796926 w 865188"/>
                <a:gd name="connsiteY11" fmla="*/ 538163 h 582613"/>
                <a:gd name="connsiteX12" fmla="*/ 801688 w 865188"/>
                <a:gd name="connsiteY12" fmla="*/ 534988 h 582613"/>
                <a:gd name="connsiteX13" fmla="*/ 803276 w 865188"/>
                <a:gd name="connsiteY13" fmla="*/ 534988 h 582613"/>
                <a:gd name="connsiteX14" fmla="*/ 804863 w 865188"/>
                <a:gd name="connsiteY14" fmla="*/ 528638 h 582613"/>
                <a:gd name="connsiteX15" fmla="*/ 812801 w 865188"/>
                <a:gd name="connsiteY15" fmla="*/ 523875 h 582613"/>
                <a:gd name="connsiteX16" fmla="*/ 820738 w 865188"/>
                <a:gd name="connsiteY16" fmla="*/ 522288 h 582613"/>
                <a:gd name="connsiteX17" fmla="*/ 835026 w 865188"/>
                <a:gd name="connsiteY17" fmla="*/ 520700 h 582613"/>
                <a:gd name="connsiteX18" fmla="*/ 836613 w 865188"/>
                <a:gd name="connsiteY18" fmla="*/ 523875 h 582613"/>
                <a:gd name="connsiteX19" fmla="*/ 838201 w 865188"/>
                <a:gd name="connsiteY19" fmla="*/ 523875 h 582613"/>
                <a:gd name="connsiteX20" fmla="*/ 842963 w 865188"/>
                <a:gd name="connsiteY20" fmla="*/ 522288 h 582613"/>
                <a:gd name="connsiteX21" fmla="*/ 847726 w 865188"/>
                <a:gd name="connsiteY21" fmla="*/ 522288 h 582613"/>
                <a:gd name="connsiteX22" fmla="*/ 847726 w 865188"/>
                <a:gd name="connsiteY22" fmla="*/ 520700 h 582613"/>
                <a:gd name="connsiteX23" fmla="*/ 849313 w 865188"/>
                <a:gd name="connsiteY23" fmla="*/ 517525 h 582613"/>
                <a:gd name="connsiteX24" fmla="*/ 858838 w 865188"/>
                <a:gd name="connsiteY24" fmla="*/ 515938 h 582613"/>
                <a:gd name="connsiteX25" fmla="*/ 863600 w 865188"/>
                <a:gd name="connsiteY25" fmla="*/ 515938 h 582613"/>
                <a:gd name="connsiteX26" fmla="*/ 865188 w 865188"/>
                <a:gd name="connsiteY26" fmla="*/ 515938 h 582613"/>
                <a:gd name="connsiteX27" fmla="*/ 865188 w 865188"/>
                <a:gd name="connsiteY27" fmla="*/ 517525 h 582613"/>
                <a:gd name="connsiteX28" fmla="*/ 841376 w 865188"/>
                <a:gd name="connsiteY28" fmla="*/ 527050 h 582613"/>
                <a:gd name="connsiteX29" fmla="*/ 812801 w 865188"/>
                <a:gd name="connsiteY29" fmla="*/ 539750 h 582613"/>
                <a:gd name="connsiteX30" fmla="*/ 801688 w 865188"/>
                <a:gd name="connsiteY30" fmla="*/ 544513 h 582613"/>
                <a:gd name="connsiteX31" fmla="*/ 790576 w 865188"/>
                <a:gd name="connsiteY31" fmla="*/ 549275 h 582613"/>
                <a:gd name="connsiteX32" fmla="*/ 776288 w 865188"/>
                <a:gd name="connsiteY32" fmla="*/ 550863 h 582613"/>
                <a:gd name="connsiteX33" fmla="*/ 774701 w 865188"/>
                <a:gd name="connsiteY33" fmla="*/ 554038 h 582613"/>
                <a:gd name="connsiteX34" fmla="*/ 760413 w 865188"/>
                <a:gd name="connsiteY34" fmla="*/ 555625 h 582613"/>
                <a:gd name="connsiteX35" fmla="*/ 754063 w 865188"/>
                <a:gd name="connsiteY35" fmla="*/ 558800 h 582613"/>
                <a:gd name="connsiteX36" fmla="*/ 752476 w 865188"/>
                <a:gd name="connsiteY36" fmla="*/ 555625 h 582613"/>
                <a:gd name="connsiteX37" fmla="*/ 741363 w 865188"/>
                <a:gd name="connsiteY37" fmla="*/ 558800 h 582613"/>
                <a:gd name="connsiteX38" fmla="*/ 738188 w 865188"/>
                <a:gd name="connsiteY38" fmla="*/ 558800 h 582613"/>
                <a:gd name="connsiteX39" fmla="*/ 730251 w 865188"/>
                <a:gd name="connsiteY39" fmla="*/ 560388 h 582613"/>
                <a:gd name="connsiteX40" fmla="*/ 725488 w 865188"/>
                <a:gd name="connsiteY40" fmla="*/ 561975 h 582613"/>
                <a:gd name="connsiteX41" fmla="*/ 692151 w 865188"/>
                <a:gd name="connsiteY41" fmla="*/ 569913 h 582613"/>
                <a:gd name="connsiteX42" fmla="*/ 677863 w 865188"/>
                <a:gd name="connsiteY42" fmla="*/ 571501 h 582613"/>
                <a:gd name="connsiteX43" fmla="*/ 669926 w 865188"/>
                <a:gd name="connsiteY43" fmla="*/ 576263 h 582613"/>
                <a:gd name="connsiteX44" fmla="*/ 676276 w 865188"/>
                <a:gd name="connsiteY44" fmla="*/ 576263 h 582613"/>
                <a:gd name="connsiteX45" fmla="*/ 676276 w 865188"/>
                <a:gd name="connsiteY45" fmla="*/ 577851 h 582613"/>
                <a:gd name="connsiteX46" fmla="*/ 671513 w 865188"/>
                <a:gd name="connsiteY46" fmla="*/ 577851 h 582613"/>
                <a:gd name="connsiteX47" fmla="*/ 669926 w 865188"/>
                <a:gd name="connsiteY47" fmla="*/ 577851 h 582613"/>
                <a:gd name="connsiteX48" fmla="*/ 652463 w 865188"/>
                <a:gd name="connsiteY48" fmla="*/ 577851 h 582613"/>
                <a:gd name="connsiteX49" fmla="*/ 647701 w 865188"/>
                <a:gd name="connsiteY49" fmla="*/ 581026 h 582613"/>
                <a:gd name="connsiteX50" fmla="*/ 641351 w 865188"/>
                <a:gd name="connsiteY50" fmla="*/ 582613 h 582613"/>
                <a:gd name="connsiteX51" fmla="*/ 638176 w 865188"/>
                <a:gd name="connsiteY51" fmla="*/ 582613 h 582613"/>
                <a:gd name="connsiteX52" fmla="*/ 644526 w 865188"/>
                <a:gd name="connsiteY52" fmla="*/ 581026 h 582613"/>
                <a:gd name="connsiteX53" fmla="*/ 649288 w 865188"/>
                <a:gd name="connsiteY53" fmla="*/ 577851 h 582613"/>
                <a:gd name="connsiteX54" fmla="*/ 654051 w 865188"/>
                <a:gd name="connsiteY54" fmla="*/ 576263 h 582613"/>
                <a:gd name="connsiteX55" fmla="*/ 655638 w 865188"/>
                <a:gd name="connsiteY55" fmla="*/ 576263 h 582613"/>
                <a:gd name="connsiteX56" fmla="*/ 655638 w 865188"/>
                <a:gd name="connsiteY56" fmla="*/ 573088 h 582613"/>
                <a:gd name="connsiteX57" fmla="*/ 655638 w 865188"/>
                <a:gd name="connsiteY57" fmla="*/ 571501 h 582613"/>
                <a:gd name="connsiteX58" fmla="*/ 652463 w 865188"/>
                <a:gd name="connsiteY58" fmla="*/ 571501 h 582613"/>
                <a:gd name="connsiteX59" fmla="*/ 649288 w 865188"/>
                <a:gd name="connsiteY59" fmla="*/ 569913 h 582613"/>
                <a:gd name="connsiteX60" fmla="*/ 647701 w 865188"/>
                <a:gd name="connsiteY60" fmla="*/ 569913 h 582613"/>
                <a:gd name="connsiteX61" fmla="*/ 644526 w 865188"/>
                <a:gd name="connsiteY61" fmla="*/ 571501 h 582613"/>
                <a:gd name="connsiteX62" fmla="*/ 641351 w 865188"/>
                <a:gd name="connsiteY62" fmla="*/ 573088 h 582613"/>
                <a:gd name="connsiteX63" fmla="*/ 642938 w 865188"/>
                <a:gd name="connsiteY63" fmla="*/ 576263 h 582613"/>
                <a:gd name="connsiteX64" fmla="*/ 644526 w 865188"/>
                <a:gd name="connsiteY64" fmla="*/ 576263 h 582613"/>
                <a:gd name="connsiteX65" fmla="*/ 644526 w 865188"/>
                <a:gd name="connsiteY65" fmla="*/ 577851 h 582613"/>
                <a:gd name="connsiteX66" fmla="*/ 642938 w 865188"/>
                <a:gd name="connsiteY66" fmla="*/ 577851 h 582613"/>
                <a:gd name="connsiteX67" fmla="*/ 636588 w 865188"/>
                <a:gd name="connsiteY67" fmla="*/ 581026 h 582613"/>
                <a:gd name="connsiteX68" fmla="*/ 630238 w 865188"/>
                <a:gd name="connsiteY68" fmla="*/ 581026 h 582613"/>
                <a:gd name="connsiteX69" fmla="*/ 627063 w 865188"/>
                <a:gd name="connsiteY69" fmla="*/ 573088 h 582613"/>
                <a:gd name="connsiteX70" fmla="*/ 627063 w 865188"/>
                <a:gd name="connsiteY70" fmla="*/ 571501 h 582613"/>
                <a:gd name="connsiteX71" fmla="*/ 627063 w 865188"/>
                <a:gd name="connsiteY71" fmla="*/ 569913 h 582613"/>
                <a:gd name="connsiteX72" fmla="*/ 630238 w 865188"/>
                <a:gd name="connsiteY72" fmla="*/ 566738 h 582613"/>
                <a:gd name="connsiteX73" fmla="*/ 630238 w 865188"/>
                <a:gd name="connsiteY73" fmla="*/ 565151 h 582613"/>
                <a:gd name="connsiteX74" fmla="*/ 631826 w 865188"/>
                <a:gd name="connsiteY74" fmla="*/ 565151 h 582613"/>
                <a:gd name="connsiteX75" fmla="*/ 633413 w 865188"/>
                <a:gd name="connsiteY75" fmla="*/ 561975 h 582613"/>
                <a:gd name="connsiteX76" fmla="*/ 636588 w 865188"/>
                <a:gd name="connsiteY76" fmla="*/ 555625 h 582613"/>
                <a:gd name="connsiteX77" fmla="*/ 638176 w 865188"/>
                <a:gd name="connsiteY77" fmla="*/ 554038 h 582613"/>
                <a:gd name="connsiteX78" fmla="*/ 641351 w 865188"/>
                <a:gd name="connsiteY78" fmla="*/ 550863 h 582613"/>
                <a:gd name="connsiteX79" fmla="*/ 649288 w 865188"/>
                <a:gd name="connsiteY79" fmla="*/ 550863 h 582613"/>
                <a:gd name="connsiteX80" fmla="*/ 660401 w 865188"/>
                <a:gd name="connsiteY80" fmla="*/ 544513 h 582613"/>
                <a:gd name="connsiteX81" fmla="*/ 671513 w 865188"/>
                <a:gd name="connsiteY81" fmla="*/ 538163 h 582613"/>
                <a:gd name="connsiteX82" fmla="*/ 674688 w 865188"/>
                <a:gd name="connsiteY82" fmla="*/ 538163 h 582613"/>
                <a:gd name="connsiteX83" fmla="*/ 676276 w 865188"/>
                <a:gd name="connsiteY83" fmla="*/ 534988 h 582613"/>
                <a:gd name="connsiteX84" fmla="*/ 687388 w 865188"/>
                <a:gd name="connsiteY84" fmla="*/ 533400 h 582613"/>
                <a:gd name="connsiteX85" fmla="*/ 701676 w 865188"/>
                <a:gd name="connsiteY85" fmla="*/ 534988 h 582613"/>
                <a:gd name="connsiteX86" fmla="*/ 715963 w 865188"/>
                <a:gd name="connsiteY86" fmla="*/ 538163 h 582613"/>
                <a:gd name="connsiteX87" fmla="*/ 715963 w 865188"/>
                <a:gd name="connsiteY87" fmla="*/ 534988 h 582613"/>
                <a:gd name="connsiteX88" fmla="*/ 719138 w 865188"/>
                <a:gd name="connsiteY88" fmla="*/ 534988 h 582613"/>
                <a:gd name="connsiteX89" fmla="*/ 723901 w 865188"/>
                <a:gd name="connsiteY89" fmla="*/ 533400 h 582613"/>
                <a:gd name="connsiteX90" fmla="*/ 725488 w 865188"/>
                <a:gd name="connsiteY90" fmla="*/ 531813 h 582613"/>
                <a:gd name="connsiteX91" fmla="*/ 736601 w 865188"/>
                <a:gd name="connsiteY91" fmla="*/ 528638 h 582613"/>
                <a:gd name="connsiteX92" fmla="*/ 752476 w 865188"/>
                <a:gd name="connsiteY92" fmla="*/ 528638 h 582613"/>
                <a:gd name="connsiteX93" fmla="*/ 763588 w 865188"/>
                <a:gd name="connsiteY93" fmla="*/ 528638 h 582613"/>
                <a:gd name="connsiteX94" fmla="*/ 765176 w 865188"/>
                <a:gd name="connsiteY94" fmla="*/ 531813 h 582613"/>
                <a:gd name="connsiteX95" fmla="*/ 768351 w 865188"/>
                <a:gd name="connsiteY95" fmla="*/ 528638 h 582613"/>
                <a:gd name="connsiteX96" fmla="*/ 779463 w 865188"/>
                <a:gd name="connsiteY96" fmla="*/ 528638 h 582613"/>
                <a:gd name="connsiteX97" fmla="*/ 781051 w 865188"/>
                <a:gd name="connsiteY97" fmla="*/ 527050 h 582613"/>
                <a:gd name="connsiteX98" fmla="*/ 782638 w 865188"/>
                <a:gd name="connsiteY98" fmla="*/ 527050 h 582613"/>
                <a:gd name="connsiteX99" fmla="*/ 787401 w 865188"/>
                <a:gd name="connsiteY99" fmla="*/ 522288 h 582613"/>
                <a:gd name="connsiteX100" fmla="*/ 792163 w 865188"/>
                <a:gd name="connsiteY100" fmla="*/ 520700 h 582613"/>
                <a:gd name="connsiteX101" fmla="*/ 801688 w 865188"/>
                <a:gd name="connsiteY101" fmla="*/ 512763 h 582613"/>
                <a:gd name="connsiteX102" fmla="*/ 812801 w 865188"/>
                <a:gd name="connsiteY102" fmla="*/ 506413 h 582613"/>
                <a:gd name="connsiteX103" fmla="*/ 538162 w 865188"/>
                <a:gd name="connsiteY103" fmla="*/ 0 h 582613"/>
                <a:gd name="connsiteX104" fmla="*/ 541337 w 865188"/>
                <a:gd name="connsiteY104" fmla="*/ 0 h 582613"/>
                <a:gd name="connsiteX105" fmla="*/ 542925 w 865188"/>
                <a:gd name="connsiteY105" fmla="*/ 0 h 582613"/>
                <a:gd name="connsiteX106" fmla="*/ 544512 w 865188"/>
                <a:gd name="connsiteY106" fmla="*/ 0 h 582613"/>
                <a:gd name="connsiteX107" fmla="*/ 547687 w 865188"/>
                <a:gd name="connsiteY107" fmla="*/ 1587 h 582613"/>
                <a:gd name="connsiteX108" fmla="*/ 549275 w 865188"/>
                <a:gd name="connsiteY108" fmla="*/ 1587 h 582613"/>
                <a:gd name="connsiteX109" fmla="*/ 555625 w 865188"/>
                <a:gd name="connsiteY109" fmla="*/ 1587 h 582613"/>
                <a:gd name="connsiteX110" fmla="*/ 603250 w 865188"/>
                <a:gd name="connsiteY110" fmla="*/ 3175 h 582613"/>
                <a:gd name="connsiteX111" fmla="*/ 641350 w 865188"/>
                <a:gd name="connsiteY111" fmla="*/ 1587 h 582613"/>
                <a:gd name="connsiteX112" fmla="*/ 671513 w 865188"/>
                <a:gd name="connsiteY112" fmla="*/ 1587 h 582613"/>
                <a:gd name="connsiteX113" fmla="*/ 698500 w 865188"/>
                <a:gd name="connsiteY113" fmla="*/ 0 h 582613"/>
                <a:gd name="connsiteX114" fmla="*/ 701675 w 865188"/>
                <a:gd name="connsiteY114" fmla="*/ 0 h 582613"/>
                <a:gd name="connsiteX115" fmla="*/ 701675 w 865188"/>
                <a:gd name="connsiteY115" fmla="*/ 1587 h 582613"/>
                <a:gd name="connsiteX116" fmla="*/ 703263 w 865188"/>
                <a:gd name="connsiteY116" fmla="*/ 1587 h 582613"/>
                <a:gd name="connsiteX117" fmla="*/ 703263 w 865188"/>
                <a:gd name="connsiteY117" fmla="*/ 7937 h 582613"/>
                <a:gd name="connsiteX118" fmla="*/ 703263 w 865188"/>
                <a:gd name="connsiteY118" fmla="*/ 30162 h 582613"/>
                <a:gd name="connsiteX119" fmla="*/ 701675 w 865188"/>
                <a:gd name="connsiteY119" fmla="*/ 41275 h 582613"/>
                <a:gd name="connsiteX120" fmla="*/ 698500 w 865188"/>
                <a:gd name="connsiteY120" fmla="*/ 47625 h 582613"/>
                <a:gd name="connsiteX121" fmla="*/ 698500 w 865188"/>
                <a:gd name="connsiteY121" fmla="*/ 50800 h 582613"/>
                <a:gd name="connsiteX122" fmla="*/ 698500 w 865188"/>
                <a:gd name="connsiteY122" fmla="*/ 52387 h 582613"/>
                <a:gd name="connsiteX123" fmla="*/ 698500 w 865188"/>
                <a:gd name="connsiteY123" fmla="*/ 55562 h 582613"/>
                <a:gd name="connsiteX124" fmla="*/ 698500 w 865188"/>
                <a:gd name="connsiteY124" fmla="*/ 57150 h 582613"/>
                <a:gd name="connsiteX125" fmla="*/ 701675 w 865188"/>
                <a:gd name="connsiteY125" fmla="*/ 57150 h 582613"/>
                <a:gd name="connsiteX126" fmla="*/ 701675 w 865188"/>
                <a:gd name="connsiteY126" fmla="*/ 58737 h 582613"/>
                <a:gd name="connsiteX127" fmla="*/ 703263 w 865188"/>
                <a:gd name="connsiteY127" fmla="*/ 63500 h 582613"/>
                <a:gd name="connsiteX128" fmla="*/ 708025 w 865188"/>
                <a:gd name="connsiteY128" fmla="*/ 68262 h 582613"/>
                <a:gd name="connsiteX129" fmla="*/ 708025 w 865188"/>
                <a:gd name="connsiteY129" fmla="*/ 69850 h 582613"/>
                <a:gd name="connsiteX130" fmla="*/ 708025 w 865188"/>
                <a:gd name="connsiteY130" fmla="*/ 73025 h 582613"/>
                <a:gd name="connsiteX131" fmla="*/ 704850 w 865188"/>
                <a:gd name="connsiteY131" fmla="*/ 100012 h 582613"/>
                <a:gd name="connsiteX132" fmla="*/ 704850 w 865188"/>
                <a:gd name="connsiteY132" fmla="*/ 101600 h 582613"/>
                <a:gd name="connsiteX133" fmla="*/ 703263 w 865188"/>
                <a:gd name="connsiteY133" fmla="*/ 101600 h 582613"/>
                <a:gd name="connsiteX134" fmla="*/ 701675 w 865188"/>
                <a:gd name="connsiteY134" fmla="*/ 103187 h 582613"/>
                <a:gd name="connsiteX135" fmla="*/ 698500 w 865188"/>
                <a:gd name="connsiteY135" fmla="*/ 103187 h 582613"/>
                <a:gd name="connsiteX136" fmla="*/ 698500 w 865188"/>
                <a:gd name="connsiteY136" fmla="*/ 106362 h 582613"/>
                <a:gd name="connsiteX137" fmla="*/ 693738 w 865188"/>
                <a:gd name="connsiteY137" fmla="*/ 122237 h 582613"/>
                <a:gd name="connsiteX138" fmla="*/ 693738 w 865188"/>
                <a:gd name="connsiteY138" fmla="*/ 134937 h 582613"/>
                <a:gd name="connsiteX139" fmla="*/ 698500 w 865188"/>
                <a:gd name="connsiteY139" fmla="*/ 149225 h 582613"/>
                <a:gd name="connsiteX140" fmla="*/ 701675 w 865188"/>
                <a:gd name="connsiteY140" fmla="*/ 160337 h 582613"/>
                <a:gd name="connsiteX141" fmla="*/ 701675 w 865188"/>
                <a:gd name="connsiteY141" fmla="*/ 161925 h 582613"/>
                <a:gd name="connsiteX142" fmla="*/ 701675 w 865188"/>
                <a:gd name="connsiteY142" fmla="*/ 163512 h 582613"/>
                <a:gd name="connsiteX143" fmla="*/ 701675 w 865188"/>
                <a:gd name="connsiteY143" fmla="*/ 166687 h 582613"/>
                <a:gd name="connsiteX144" fmla="*/ 696913 w 865188"/>
                <a:gd name="connsiteY144" fmla="*/ 174625 h 582613"/>
                <a:gd name="connsiteX145" fmla="*/ 693738 w 865188"/>
                <a:gd name="connsiteY145" fmla="*/ 179387 h 582613"/>
                <a:gd name="connsiteX146" fmla="*/ 693738 w 865188"/>
                <a:gd name="connsiteY146" fmla="*/ 185737 h 582613"/>
                <a:gd name="connsiteX147" fmla="*/ 696913 w 865188"/>
                <a:gd name="connsiteY147" fmla="*/ 188912 h 582613"/>
                <a:gd name="connsiteX148" fmla="*/ 698500 w 865188"/>
                <a:gd name="connsiteY148" fmla="*/ 188912 h 582613"/>
                <a:gd name="connsiteX149" fmla="*/ 698500 w 865188"/>
                <a:gd name="connsiteY149" fmla="*/ 185737 h 582613"/>
                <a:gd name="connsiteX150" fmla="*/ 701675 w 865188"/>
                <a:gd name="connsiteY150" fmla="*/ 185737 h 582613"/>
                <a:gd name="connsiteX151" fmla="*/ 701675 w 865188"/>
                <a:gd name="connsiteY151" fmla="*/ 184150 h 582613"/>
                <a:gd name="connsiteX152" fmla="*/ 701675 w 865188"/>
                <a:gd name="connsiteY152" fmla="*/ 182562 h 582613"/>
                <a:gd name="connsiteX153" fmla="*/ 703263 w 865188"/>
                <a:gd name="connsiteY153" fmla="*/ 182562 h 582613"/>
                <a:gd name="connsiteX154" fmla="*/ 704850 w 865188"/>
                <a:gd name="connsiteY154" fmla="*/ 182562 h 582613"/>
                <a:gd name="connsiteX155" fmla="*/ 708025 w 865188"/>
                <a:gd name="connsiteY155" fmla="*/ 182562 h 582613"/>
                <a:gd name="connsiteX156" fmla="*/ 714375 w 865188"/>
                <a:gd name="connsiteY156" fmla="*/ 190500 h 582613"/>
                <a:gd name="connsiteX157" fmla="*/ 714375 w 865188"/>
                <a:gd name="connsiteY157" fmla="*/ 193675 h 582613"/>
                <a:gd name="connsiteX158" fmla="*/ 714375 w 865188"/>
                <a:gd name="connsiteY158" fmla="*/ 195262 h 582613"/>
                <a:gd name="connsiteX159" fmla="*/ 714375 w 865188"/>
                <a:gd name="connsiteY159" fmla="*/ 204787 h 582613"/>
                <a:gd name="connsiteX160" fmla="*/ 712788 w 865188"/>
                <a:gd name="connsiteY160" fmla="*/ 273050 h 582613"/>
                <a:gd name="connsiteX161" fmla="*/ 712788 w 865188"/>
                <a:gd name="connsiteY161" fmla="*/ 282575 h 582613"/>
                <a:gd name="connsiteX162" fmla="*/ 712788 w 865188"/>
                <a:gd name="connsiteY162" fmla="*/ 284162 h 582613"/>
                <a:gd name="connsiteX163" fmla="*/ 709613 w 865188"/>
                <a:gd name="connsiteY163" fmla="*/ 284162 h 582613"/>
                <a:gd name="connsiteX164" fmla="*/ 709613 w 865188"/>
                <a:gd name="connsiteY164" fmla="*/ 285750 h 582613"/>
                <a:gd name="connsiteX165" fmla="*/ 712788 w 865188"/>
                <a:gd name="connsiteY165" fmla="*/ 295275 h 582613"/>
                <a:gd name="connsiteX166" fmla="*/ 712788 w 865188"/>
                <a:gd name="connsiteY166" fmla="*/ 296862 h 582613"/>
                <a:gd name="connsiteX167" fmla="*/ 709613 w 865188"/>
                <a:gd name="connsiteY167" fmla="*/ 296862 h 582613"/>
                <a:gd name="connsiteX168" fmla="*/ 709613 w 865188"/>
                <a:gd name="connsiteY168" fmla="*/ 301625 h 582613"/>
                <a:gd name="connsiteX169" fmla="*/ 708025 w 865188"/>
                <a:gd name="connsiteY169" fmla="*/ 304800 h 582613"/>
                <a:gd name="connsiteX170" fmla="*/ 704850 w 865188"/>
                <a:gd name="connsiteY170" fmla="*/ 312737 h 582613"/>
                <a:gd name="connsiteX171" fmla="*/ 687388 w 865188"/>
                <a:gd name="connsiteY171" fmla="*/ 373062 h 582613"/>
                <a:gd name="connsiteX172" fmla="*/ 685800 w 865188"/>
                <a:gd name="connsiteY172" fmla="*/ 384175 h 582613"/>
                <a:gd name="connsiteX173" fmla="*/ 685800 w 865188"/>
                <a:gd name="connsiteY173" fmla="*/ 387350 h 582613"/>
                <a:gd name="connsiteX174" fmla="*/ 687388 w 865188"/>
                <a:gd name="connsiteY174" fmla="*/ 387350 h 582613"/>
                <a:gd name="connsiteX175" fmla="*/ 687388 w 865188"/>
                <a:gd name="connsiteY175" fmla="*/ 390525 h 582613"/>
                <a:gd name="connsiteX176" fmla="*/ 687388 w 865188"/>
                <a:gd name="connsiteY176" fmla="*/ 400050 h 582613"/>
                <a:gd name="connsiteX177" fmla="*/ 682625 w 865188"/>
                <a:gd name="connsiteY177" fmla="*/ 449262 h 582613"/>
                <a:gd name="connsiteX178" fmla="*/ 681038 w 865188"/>
                <a:gd name="connsiteY178" fmla="*/ 461962 h 582613"/>
                <a:gd name="connsiteX179" fmla="*/ 681038 w 865188"/>
                <a:gd name="connsiteY179" fmla="*/ 484187 h 582613"/>
                <a:gd name="connsiteX180" fmla="*/ 681038 w 865188"/>
                <a:gd name="connsiteY180" fmla="*/ 487362 h 582613"/>
                <a:gd name="connsiteX181" fmla="*/ 682625 w 865188"/>
                <a:gd name="connsiteY181" fmla="*/ 488950 h 582613"/>
                <a:gd name="connsiteX182" fmla="*/ 685800 w 865188"/>
                <a:gd name="connsiteY182" fmla="*/ 493712 h 582613"/>
                <a:gd name="connsiteX183" fmla="*/ 687388 w 865188"/>
                <a:gd name="connsiteY183" fmla="*/ 498475 h 582613"/>
                <a:gd name="connsiteX184" fmla="*/ 660400 w 865188"/>
                <a:gd name="connsiteY184" fmla="*/ 511175 h 582613"/>
                <a:gd name="connsiteX185" fmla="*/ 669925 w 865188"/>
                <a:gd name="connsiteY185" fmla="*/ 523875 h 582613"/>
                <a:gd name="connsiteX186" fmla="*/ 669925 w 865188"/>
                <a:gd name="connsiteY186" fmla="*/ 527050 h 582613"/>
                <a:gd name="connsiteX187" fmla="*/ 669925 w 865188"/>
                <a:gd name="connsiteY187" fmla="*/ 528638 h 582613"/>
                <a:gd name="connsiteX188" fmla="*/ 666750 w 865188"/>
                <a:gd name="connsiteY188" fmla="*/ 531813 h 582613"/>
                <a:gd name="connsiteX189" fmla="*/ 665163 w 865188"/>
                <a:gd name="connsiteY189" fmla="*/ 531813 h 582613"/>
                <a:gd name="connsiteX190" fmla="*/ 663575 w 865188"/>
                <a:gd name="connsiteY190" fmla="*/ 531813 h 582613"/>
                <a:gd name="connsiteX191" fmla="*/ 658813 w 865188"/>
                <a:gd name="connsiteY191" fmla="*/ 533400 h 582613"/>
                <a:gd name="connsiteX192" fmla="*/ 658813 w 865188"/>
                <a:gd name="connsiteY192" fmla="*/ 534988 h 582613"/>
                <a:gd name="connsiteX193" fmla="*/ 654050 w 865188"/>
                <a:gd name="connsiteY193" fmla="*/ 539750 h 582613"/>
                <a:gd name="connsiteX194" fmla="*/ 649288 w 865188"/>
                <a:gd name="connsiteY194" fmla="*/ 549275 h 582613"/>
                <a:gd name="connsiteX195" fmla="*/ 638175 w 865188"/>
                <a:gd name="connsiteY195" fmla="*/ 550863 h 582613"/>
                <a:gd name="connsiteX196" fmla="*/ 633413 w 865188"/>
                <a:gd name="connsiteY196" fmla="*/ 560388 h 582613"/>
                <a:gd name="connsiteX197" fmla="*/ 631825 w 865188"/>
                <a:gd name="connsiteY197" fmla="*/ 561975 h 582613"/>
                <a:gd name="connsiteX198" fmla="*/ 630238 w 865188"/>
                <a:gd name="connsiteY198" fmla="*/ 561975 h 582613"/>
                <a:gd name="connsiteX199" fmla="*/ 631825 w 865188"/>
                <a:gd name="connsiteY199" fmla="*/ 558800 h 582613"/>
                <a:gd name="connsiteX200" fmla="*/ 633413 w 865188"/>
                <a:gd name="connsiteY200" fmla="*/ 550863 h 582613"/>
                <a:gd name="connsiteX201" fmla="*/ 636588 w 865188"/>
                <a:gd name="connsiteY201" fmla="*/ 549275 h 582613"/>
                <a:gd name="connsiteX202" fmla="*/ 638175 w 865188"/>
                <a:gd name="connsiteY202" fmla="*/ 542925 h 582613"/>
                <a:gd name="connsiteX203" fmla="*/ 641350 w 865188"/>
                <a:gd name="connsiteY203" fmla="*/ 538163 h 582613"/>
                <a:gd name="connsiteX204" fmla="*/ 641350 w 865188"/>
                <a:gd name="connsiteY204" fmla="*/ 534988 h 582613"/>
                <a:gd name="connsiteX205" fmla="*/ 642938 w 865188"/>
                <a:gd name="connsiteY205" fmla="*/ 533400 h 582613"/>
                <a:gd name="connsiteX206" fmla="*/ 642938 w 865188"/>
                <a:gd name="connsiteY206" fmla="*/ 528638 h 582613"/>
                <a:gd name="connsiteX207" fmla="*/ 644525 w 865188"/>
                <a:gd name="connsiteY207" fmla="*/ 522288 h 582613"/>
                <a:gd name="connsiteX208" fmla="*/ 644525 w 865188"/>
                <a:gd name="connsiteY208" fmla="*/ 520700 h 582613"/>
                <a:gd name="connsiteX209" fmla="*/ 644525 w 865188"/>
                <a:gd name="connsiteY209" fmla="*/ 517525 h 582613"/>
                <a:gd name="connsiteX210" fmla="*/ 644525 w 865188"/>
                <a:gd name="connsiteY210" fmla="*/ 515938 h 582613"/>
                <a:gd name="connsiteX211" fmla="*/ 644525 w 865188"/>
                <a:gd name="connsiteY211" fmla="*/ 512763 h 582613"/>
                <a:gd name="connsiteX212" fmla="*/ 644525 w 865188"/>
                <a:gd name="connsiteY212" fmla="*/ 504825 h 582613"/>
                <a:gd name="connsiteX213" fmla="*/ 644525 w 865188"/>
                <a:gd name="connsiteY213" fmla="*/ 501650 h 582613"/>
                <a:gd name="connsiteX214" fmla="*/ 642938 w 865188"/>
                <a:gd name="connsiteY214" fmla="*/ 501650 h 582613"/>
                <a:gd name="connsiteX215" fmla="*/ 636588 w 865188"/>
                <a:gd name="connsiteY215" fmla="*/ 487362 h 582613"/>
                <a:gd name="connsiteX216" fmla="*/ 636588 w 865188"/>
                <a:gd name="connsiteY216" fmla="*/ 484187 h 582613"/>
                <a:gd name="connsiteX217" fmla="*/ 631825 w 865188"/>
                <a:gd name="connsiteY217" fmla="*/ 488950 h 582613"/>
                <a:gd name="connsiteX218" fmla="*/ 631825 w 865188"/>
                <a:gd name="connsiteY218" fmla="*/ 490537 h 582613"/>
                <a:gd name="connsiteX219" fmla="*/ 633413 w 865188"/>
                <a:gd name="connsiteY219" fmla="*/ 498475 h 582613"/>
                <a:gd name="connsiteX220" fmla="*/ 636588 w 865188"/>
                <a:gd name="connsiteY220" fmla="*/ 500062 h 582613"/>
                <a:gd name="connsiteX221" fmla="*/ 638175 w 865188"/>
                <a:gd name="connsiteY221" fmla="*/ 501650 h 582613"/>
                <a:gd name="connsiteX222" fmla="*/ 641350 w 865188"/>
                <a:gd name="connsiteY222" fmla="*/ 504825 h 582613"/>
                <a:gd name="connsiteX223" fmla="*/ 641350 w 865188"/>
                <a:gd name="connsiteY223" fmla="*/ 506413 h 582613"/>
                <a:gd name="connsiteX224" fmla="*/ 641350 w 865188"/>
                <a:gd name="connsiteY224" fmla="*/ 527050 h 582613"/>
                <a:gd name="connsiteX225" fmla="*/ 636588 w 865188"/>
                <a:gd name="connsiteY225" fmla="*/ 523875 h 582613"/>
                <a:gd name="connsiteX226" fmla="*/ 630238 w 865188"/>
                <a:gd name="connsiteY226" fmla="*/ 520700 h 582613"/>
                <a:gd name="connsiteX227" fmla="*/ 625475 w 865188"/>
                <a:gd name="connsiteY227" fmla="*/ 517525 h 582613"/>
                <a:gd name="connsiteX228" fmla="*/ 600075 w 865188"/>
                <a:gd name="connsiteY228" fmla="*/ 504825 h 582613"/>
                <a:gd name="connsiteX229" fmla="*/ 593725 w 865188"/>
                <a:gd name="connsiteY229" fmla="*/ 500062 h 582613"/>
                <a:gd name="connsiteX230" fmla="*/ 576262 w 865188"/>
                <a:gd name="connsiteY230" fmla="*/ 490537 h 582613"/>
                <a:gd name="connsiteX231" fmla="*/ 569912 w 865188"/>
                <a:gd name="connsiteY231" fmla="*/ 487362 h 582613"/>
                <a:gd name="connsiteX232" fmla="*/ 555625 w 865188"/>
                <a:gd name="connsiteY232" fmla="*/ 479425 h 582613"/>
                <a:gd name="connsiteX233" fmla="*/ 554037 w 865188"/>
                <a:gd name="connsiteY233" fmla="*/ 479425 h 582613"/>
                <a:gd name="connsiteX234" fmla="*/ 554037 w 865188"/>
                <a:gd name="connsiteY234" fmla="*/ 477837 h 582613"/>
                <a:gd name="connsiteX235" fmla="*/ 554037 w 865188"/>
                <a:gd name="connsiteY235" fmla="*/ 476250 h 582613"/>
                <a:gd name="connsiteX236" fmla="*/ 549275 w 865188"/>
                <a:gd name="connsiteY236" fmla="*/ 468312 h 582613"/>
                <a:gd name="connsiteX237" fmla="*/ 547687 w 865188"/>
                <a:gd name="connsiteY237" fmla="*/ 468312 h 582613"/>
                <a:gd name="connsiteX238" fmla="*/ 544512 w 865188"/>
                <a:gd name="connsiteY238" fmla="*/ 468312 h 582613"/>
                <a:gd name="connsiteX239" fmla="*/ 533400 w 865188"/>
                <a:gd name="connsiteY239" fmla="*/ 466725 h 582613"/>
                <a:gd name="connsiteX240" fmla="*/ 522287 w 865188"/>
                <a:gd name="connsiteY240" fmla="*/ 461962 h 582613"/>
                <a:gd name="connsiteX241" fmla="*/ 522287 w 865188"/>
                <a:gd name="connsiteY241" fmla="*/ 460375 h 582613"/>
                <a:gd name="connsiteX242" fmla="*/ 520700 w 865188"/>
                <a:gd name="connsiteY242" fmla="*/ 457200 h 582613"/>
                <a:gd name="connsiteX243" fmla="*/ 519112 w 865188"/>
                <a:gd name="connsiteY243" fmla="*/ 454025 h 582613"/>
                <a:gd name="connsiteX244" fmla="*/ 514350 w 865188"/>
                <a:gd name="connsiteY244" fmla="*/ 446087 h 582613"/>
                <a:gd name="connsiteX245" fmla="*/ 514350 w 865188"/>
                <a:gd name="connsiteY245" fmla="*/ 444500 h 582613"/>
                <a:gd name="connsiteX246" fmla="*/ 515937 w 865188"/>
                <a:gd name="connsiteY246" fmla="*/ 442912 h 582613"/>
                <a:gd name="connsiteX247" fmla="*/ 515937 w 865188"/>
                <a:gd name="connsiteY247" fmla="*/ 439737 h 582613"/>
                <a:gd name="connsiteX248" fmla="*/ 515937 w 865188"/>
                <a:gd name="connsiteY248" fmla="*/ 423862 h 582613"/>
                <a:gd name="connsiteX249" fmla="*/ 514350 w 865188"/>
                <a:gd name="connsiteY249" fmla="*/ 417512 h 582613"/>
                <a:gd name="connsiteX250" fmla="*/ 511175 w 865188"/>
                <a:gd name="connsiteY250" fmla="*/ 417512 h 582613"/>
                <a:gd name="connsiteX251" fmla="*/ 509587 w 865188"/>
                <a:gd name="connsiteY251" fmla="*/ 412750 h 582613"/>
                <a:gd name="connsiteX252" fmla="*/ 503237 w 865188"/>
                <a:gd name="connsiteY252" fmla="*/ 411162 h 582613"/>
                <a:gd name="connsiteX253" fmla="*/ 500062 w 865188"/>
                <a:gd name="connsiteY253" fmla="*/ 411162 h 582613"/>
                <a:gd name="connsiteX254" fmla="*/ 492125 w 865188"/>
                <a:gd name="connsiteY254" fmla="*/ 400050 h 582613"/>
                <a:gd name="connsiteX255" fmla="*/ 482600 w 865188"/>
                <a:gd name="connsiteY255" fmla="*/ 395287 h 582613"/>
                <a:gd name="connsiteX256" fmla="*/ 481012 w 865188"/>
                <a:gd name="connsiteY256" fmla="*/ 395287 h 582613"/>
                <a:gd name="connsiteX257" fmla="*/ 439737 w 865188"/>
                <a:gd name="connsiteY257" fmla="*/ 395287 h 582613"/>
                <a:gd name="connsiteX258" fmla="*/ 400050 w 865188"/>
                <a:gd name="connsiteY258" fmla="*/ 395287 h 582613"/>
                <a:gd name="connsiteX259" fmla="*/ 0 w 865188"/>
                <a:gd name="connsiteY259" fmla="*/ 395287 h 582613"/>
                <a:gd name="connsiteX260" fmla="*/ 0 w 865188"/>
                <a:gd name="connsiteY260" fmla="*/ 366712 h 582613"/>
                <a:gd name="connsiteX261" fmla="*/ 44450 w 865188"/>
                <a:gd name="connsiteY261" fmla="*/ 342900 h 582613"/>
                <a:gd name="connsiteX262" fmla="*/ 61912 w 865188"/>
                <a:gd name="connsiteY262" fmla="*/ 330200 h 582613"/>
                <a:gd name="connsiteX263" fmla="*/ 79375 w 865188"/>
                <a:gd name="connsiteY263" fmla="*/ 319087 h 582613"/>
                <a:gd name="connsiteX264" fmla="*/ 93662 w 865188"/>
                <a:gd name="connsiteY264" fmla="*/ 304800 h 582613"/>
                <a:gd name="connsiteX265" fmla="*/ 111125 w 865188"/>
                <a:gd name="connsiteY265" fmla="*/ 290512 h 582613"/>
                <a:gd name="connsiteX266" fmla="*/ 106362 w 865188"/>
                <a:gd name="connsiteY266" fmla="*/ 263525 h 582613"/>
                <a:gd name="connsiteX267" fmla="*/ 87312 w 865188"/>
                <a:gd name="connsiteY267" fmla="*/ 257175 h 582613"/>
                <a:gd name="connsiteX268" fmla="*/ 88900 w 865188"/>
                <a:gd name="connsiteY268" fmla="*/ 268287 h 582613"/>
                <a:gd name="connsiteX269" fmla="*/ 87312 w 865188"/>
                <a:gd name="connsiteY269" fmla="*/ 268287 h 582613"/>
                <a:gd name="connsiteX270" fmla="*/ 84137 w 865188"/>
                <a:gd name="connsiteY270" fmla="*/ 268287 h 582613"/>
                <a:gd name="connsiteX271" fmla="*/ 82550 w 865188"/>
                <a:gd name="connsiteY271" fmla="*/ 266700 h 582613"/>
                <a:gd name="connsiteX272" fmla="*/ 79375 w 865188"/>
                <a:gd name="connsiteY272" fmla="*/ 263525 h 582613"/>
                <a:gd name="connsiteX273" fmla="*/ 77787 w 865188"/>
                <a:gd name="connsiteY273" fmla="*/ 261937 h 582613"/>
                <a:gd name="connsiteX274" fmla="*/ 73025 w 865188"/>
                <a:gd name="connsiteY274" fmla="*/ 252412 h 582613"/>
                <a:gd name="connsiteX275" fmla="*/ 74612 w 865188"/>
                <a:gd name="connsiteY275" fmla="*/ 246062 h 582613"/>
                <a:gd name="connsiteX276" fmla="*/ 77787 w 865188"/>
                <a:gd name="connsiteY276" fmla="*/ 244475 h 582613"/>
                <a:gd name="connsiteX277" fmla="*/ 77787 w 865188"/>
                <a:gd name="connsiteY277" fmla="*/ 241300 h 582613"/>
                <a:gd name="connsiteX278" fmla="*/ 77787 w 865188"/>
                <a:gd name="connsiteY278" fmla="*/ 234950 h 582613"/>
                <a:gd name="connsiteX279" fmla="*/ 88900 w 865188"/>
                <a:gd name="connsiteY279" fmla="*/ 233362 h 582613"/>
                <a:gd name="connsiteX280" fmla="*/ 95250 w 865188"/>
                <a:gd name="connsiteY280" fmla="*/ 230187 h 582613"/>
                <a:gd name="connsiteX281" fmla="*/ 117475 w 865188"/>
                <a:gd name="connsiteY281" fmla="*/ 223837 h 582613"/>
                <a:gd name="connsiteX282" fmla="*/ 139700 w 865188"/>
                <a:gd name="connsiteY282" fmla="*/ 219075 h 582613"/>
                <a:gd name="connsiteX283" fmla="*/ 166687 w 865188"/>
                <a:gd name="connsiteY283" fmla="*/ 217487 h 582613"/>
                <a:gd name="connsiteX284" fmla="*/ 193675 w 865188"/>
                <a:gd name="connsiteY284" fmla="*/ 217487 h 582613"/>
                <a:gd name="connsiteX285" fmla="*/ 217487 w 865188"/>
                <a:gd name="connsiteY285" fmla="*/ 219075 h 582613"/>
                <a:gd name="connsiteX286" fmla="*/ 239712 w 865188"/>
                <a:gd name="connsiteY286" fmla="*/ 227012 h 582613"/>
                <a:gd name="connsiteX287" fmla="*/ 260350 w 865188"/>
                <a:gd name="connsiteY287" fmla="*/ 234950 h 582613"/>
                <a:gd name="connsiteX288" fmla="*/ 284162 w 865188"/>
                <a:gd name="connsiteY288" fmla="*/ 228600 h 582613"/>
                <a:gd name="connsiteX289" fmla="*/ 311150 w 865188"/>
                <a:gd name="connsiteY289" fmla="*/ 230187 h 582613"/>
                <a:gd name="connsiteX290" fmla="*/ 336550 w 865188"/>
                <a:gd name="connsiteY290" fmla="*/ 227012 h 582613"/>
                <a:gd name="connsiteX291" fmla="*/ 354012 w 865188"/>
                <a:gd name="connsiteY291" fmla="*/ 217487 h 582613"/>
                <a:gd name="connsiteX292" fmla="*/ 371475 w 865188"/>
                <a:gd name="connsiteY292" fmla="*/ 206375 h 582613"/>
                <a:gd name="connsiteX293" fmla="*/ 393700 w 865188"/>
                <a:gd name="connsiteY293" fmla="*/ 200025 h 582613"/>
                <a:gd name="connsiteX294" fmla="*/ 406400 w 865188"/>
                <a:gd name="connsiteY294" fmla="*/ 182562 h 582613"/>
                <a:gd name="connsiteX295" fmla="*/ 409575 w 865188"/>
                <a:gd name="connsiteY295" fmla="*/ 152400 h 582613"/>
                <a:gd name="connsiteX296" fmla="*/ 417512 w 865188"/>
                <a:gd name="connsiteY296" fmla="*/ 130175 h 582613"/>
                <a:gd name="connsiteX297" fmla="*/ 404812 w 865188"/>
                <a:gd name="connsiteY297" fmla="*/ 112712 h 582613"/>
                <a:gd name="connsiteX298" fmla="*/ 392112 w 865188"/>
                <a:gd name="connsiteY298" fmla="*/ 101600 h 582613"/>
                <a:gd name="connsiteX299" fmla="*/ 404812 w 865188"/>
                <a:gd name="connsiteY299" fmla="*/ 88900 h 582613"/>
                <a:gd name="connsiteX300" fmla="*/ 406400 w 865188"/>
                <a:gd name="connsiteY300" fmla="*/ 85725 h 582613"/>
                <a:gd name="connsiteX301" fmla="*/ 409575 w 865188"/>
                <a:gd name="connsiteY301" fmla="*/ 85725 h 582613"/>
                <a:gd name="connsiteX302" fmla="*/ 411162 w 865188"/>
                <a:gd name="connsiteY302" fmla="*/ 85725 h 582613"/>
                <a:gd name="connsiteX303" fmla="*/ 414337 w 865188"/>
                <a:gd name="connsiteY303" fmla="*/ 85725 h 582613"/>
                <a:gd name="connsiteX304" fmla="*/ 415925 w 865188"/>
                <a:gd name="connsiteY304" fmla="*/ 84137 h 582613"/>
                <a:gd name="connsiteX305" fmla="*/ 422275 w 865188"/>
                <a:gd name="connsiteY305" fmla="*/ 80962 h 582613"/>
                <a:gd name="connsiteX306" fmla="*/ 425450 w 865188"/>
                <a:gd name="connsiteY306" fmla="*/ 80962 h 582613"/>
                <a:gd name="connsiteX307" fmla="*/ 427037 w 865188"/>
                <a:gd name="connsiteY307" fmla="*/ 79375 h 582613"/>
                <a:gd name="connsiteX308" fmla="*/ 428625 w 865188"/>
                <a:gd name="connsiteY308" fmla="*/ 77787 h 582613"/>
                <a:gd name="connsiteX309" fmla="*/ 428625 w 865188"/>
                <a:gd name="connsiteY309" fmla="*/ 74612 h 582613"/>
                <a:gd name="connsiteX310" fmla="*/ 431800 w 865188"/>
                <a:gd name="connsiteY310" fmla="*/ 69850 h 582613"/>
                <a:gd name="connsiteX311" fmla="*/ 431800 w 865188"/>
                <a:gd name="connsiteY311" fmla="*/ 68262 h 582613"/>
                <a:gd name="connsiteX312" fmla="*/ 433387 w 865188"/>
                <a:gd name="connsiteY312" fmla="*/ 68262 h 582613"/>
                <a:gd name="connsiteX313" fmla="*/ 439737 w 865188"/>
                <a:gd name="connsiteY313" fmla="*/ 61912 h 582613"/>
                <a:gd name="connsiteX314" fmla="*/ 447675 w 865188"/>
                <a:gd name="connsiteY314" fmla="*/ 55562 h 582613"/>
                <a:gd name="connsiteX315" fmla="*/ 450850 w 865188"/>
                <a:gd name="connsiteY315" fmla="*/ 50800 h 582613"/>
                <a:gd name="connsiteX316" fmla="*/ 454025 w 865188"/>
                <a:gd name="connsiteY316" fmla="*/ 50800 h 582613"/>
                <a:gd name="connsiteX317" fmla="*/ 460375 w 865188"/>
                <a:gd name="connsiteY317" fmla="*/ 44450 h 582613"/>
                <a:gd name="connsiteX318" fmla="*/ 461962 w 865188"/>
                <a:gd name="connsiteY318" fmla="*/ 41275 h 582613"/>
                <a:gd name="connsiteX319" fmla="*/ 477837 w 865188"/>
                <a:gd name="connsiteY319" fmla="*/ 30162 h 582613"/>
                <a:gd name="connsiteX320" fmla="*/ 487362 w 865188"/>
                <a:gd name="connsiteY320" fmla="*/ 23812 h 582613"/>
                <a:gd name="connsiteX321" fmla="*/ 487362 w 865188"/>
                <a:gd name="connsiteY321" fmla="*/ 22225 h 582613"/>
                <a:gd name="connsiteX322" fmla="*/ 492125 w 865188"/>
                <a:gd name="connsiteY322" fmla="*/ 19050 h 582613"/>
                <a:gd name="connsiteX323" fmla="*/ 503237 w 865188"/>
                <a:gd name="connsiteY323" fmla="*/ 14287 h 582613"/>
                <a:gd name="connsiteX324" fmla="*/ 520700 w 865188"/>
                <a:gd name="connsiteY324" fmla="*/ 3175 h 582613"/>
                <a:gd name="connsiteX325" fmla="*/ 522287 w 865188"/>
                <a:gd name="connsiteY325" fmla="*/ 3175 h 582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</a:cxnLst>
              <a:rect l="l" t="t" r="r" b="b"/>
              <a:pathLst>
                <a:path w="865188" h="582613">
                  <a:moveTo>
                    <a:pt x="819151" y="504825"/>
                  </a:moveTo>
                  <a:lnTo>
                    <a:pt x="823913" y="504825"/>
                  </a:lnTo>
                  <a:lnTo>
                    <a:pt x="823913" y="506413"/>
                  </a:lnTo>
                  <a:lnTo>
                    <a:pt x="820738" y="509588"/>
                  </a:lnTo>
                  <a:lnTo>
                    <a:pt x="819151" y="509588"/>
                  </a:lnTo>
                  <a:lnTo>
                    <a:pt x="808038" y="512763"/>
                  </a:lnTo>
                  <a:lnTo>
                    <a:pt x="782638" y="534988"/>
                  </a:lnTo>
                  <a:lnTo>
                    <a:pt x="781051" y="534988"/>
                  </a:lnTo>
                  <a:lnTo>
                    <a:pt x="782638" y="538163"/>
                  </a:lnTo>
                  <a:lnTo>
                    <a:pt x="785813" y="538163"/>
                  </a:lnTo>
                  <a:lnTo>
                    <a:pt x="793751" y="538163"/>
                  </a:lnTo>
                  <a:lnTo>
                    <a:pt x="796926" y="538163"/>
                  </a:lnTo>
                  <a:lnTo>
                    <a:pt x="801688" y="534988"/>
                  </a:lnTo>
                  <a:lnTo>
                    <a:pt x="803276" y="534988"/>
                  </a:lnTo>
                  <a:lnTo>
                    <a:pt x="804863" y="528638"/>
                  </a:lnTo>
                  <a:lnTo>
                    <a:pt x="812801" y="523875"/>
                  </a:lnTo>
                  <a:lnTo>
                    <a:pt x="820738" y="522288"/>
                  </a:lnTo>
                  <a:lnTo>
                    <a:pt x="835026" y="520700"/>
                  </a:lnTo>
                  <a:lnTo>
                    <a:pt x="836613" y="523875"/>
                  </a:lnTo>
                  <a:lnTo>
                    <a:pt x="838201" y="523875"/>
                  </a:lnTo>
                  <a:lnTo>
                    <a:pt x="842963" y="522288"/>
                  </a:lnTo>
                  <a:lnTo>
                    <a:pt x="847726" y="522288"/>
                  </a:lnTo>
                  <a:lnTo>
                    <a:pt x="847726" y="520700"/>
                  </a:lnTo>
                  <a:lnTo>
                    <a:pt x="849313" y="517525"/>
                  </a:lnTo>
                  <a:lnTo>
                    <a:pt x="858838" y="515938"/>
                  </a:lnTo>
                  <a:lnTo>
                    <a:pt x="863600" y="515938"/>
                  </a:lnTo>
                  <a:lnTo>
                    <a:pt x="865188" y="515938"/>
                  </a:lnTo>
                  <a:lnTo>
                    <a:pt x="865188" y="517525"/>
                  </a:lnTo>
                  <a:lnTo>
                    <a:pt x="841376" y="527050"/>
                  </a:lnTo>
                  <a:lnTo>
                    <a:pt x="812801" y="539750"/>
                  </a:lnTo>
                  <a:lnTo>
                    <a:pt x="801688" y="544513"/>
                  </a:lnTo>
                  <a:lnTo>
                    <a:pt x="790576" y="549275"/>
                  </a:lnTo>
                  <a:lnTo>
                    <a:pt x="776288" y="550863"/>
                  </a:lnTo>
                  <a:lnTo>
                    <a:pt x="774701" y="554038"/>
                  </a:lnTo>
                  <a:lnTo>
                    <a:pt x="760413" y="555625"/>
                  </a:lnTo>
                  <a:lnTo>
                    <a:pt x="754063" y="558800"/>
                  </a:lnTo>
                  <a:lnTo>
                    <a:pt x="752476" y="555625"/>
                  </a:lnTo>
                  <a:lnTo>
                    <a:pt x="741363" y="558800"/>
                  </a:lnTo>
                  <a:lnTo>
                    <a:pt x="738188" y="558800"/>
                  </a:lnTo>
                  <a:lnTo>
                    <a:pt x="730251" y="560388"/>
                  </a:lnTo>
                  <a:lnTo>
                    <a:pt x="725488" y="561975"/>
                  </a:lnTo>
                  <a:lnTo>
                    <a:pt x="692151" y="569913"/>
                  </a:lnTo>
                  <a:lnTo>
                    <a:pt x="677863" y="571501"/>
                  </a:lnTo>
                  <a:lnTo>
                    <a:pt x="669926" y="576263"/>
                  </a:lnTo>
                  <a:lnTo>
                    <a:pt x="676276" y="576263"/>
                  </a:lnTo>
                  <a:lnTo>
                    <a:pt x="676276" y="577851"/>
                  </a:lnTo>
                  <a:lnTo>
                    <a:pt x="671513" y="577851"/>
                  </a:lnTo>
                  <a:lnTo>
                    <a:pt x="669926" y="577851"/>
                  </a:lnTo>
                  <a:lnTo>
                    <a:pt x="652463" y="577851"/>
                  </a:lnTo>
                  <a:lnTo>
                    <a:pt x="647701" y="581026"/>
                  </a:lnTo>
                  <a:lnTo>
                    <a:pt x="641351" y="582613"/>
                  </a:lnTo>
                  <a:lnTo>
                    <a:pt x="638176" y="582613"/>
                  </a:lnTo>
                  <a:lnTo>
                    <a:pt x="644526" y="581026"/>
                  </a:lnTo>
                  <a:lnTo>
                    <a:pt x="649288" y="577851"/>
                  </a:lnTo>
                  <a:lnTo>
                    <a:pt x="654051" y="576263"/>
                  </a:lnTo>
                  <a:lnTo>
                    <a:pt x="655638" y="576263"/>
                  </a:lnTo>
                  <a:lnTo>
                    <a:pt x="655638" y="573088"/>
                  </a:lnTo>
                  <a:lnTo>
                    <a:pt x="655638" y="571501"/>
                  </a:lnTo>
                  <a:lnTo>
                    <a:pt x="652463" y="571501"/>
                  </a:lnTo>
                  <a:lnTo>
                    <a:pt x="649288" y="569913"/>
                  </a:lnTo>
                  <a:lnTo>
                    <a:pt x="647701" y="569913"/>
                  </a:lnTo>
                  <a:lnTo>
                    <a:pt x="644526" y="571501"/>
                  </a:lnTo>
                  <a:lnTo>
                    <a:pt x="641351" y="573088"/>
                  </a:lnTo>
                  <a:lnTo>
                    <a:pt x="642938" y="576263"/>
                  </a:lnTo>
                  <a:lnTo>
                    <a:pt x="644526" y="576263"/>
                  </a:lnTo>
                  <a:lnTo>
                    <a:pt x="644526" y="577851"/>
                  </a:lnTo>
                  <a:lnTo>
                    <a:pt x="642938" y="577851"/>
                  </a:lnTo>
                  <a:lnTo>
                    <a:pt x="636588" y="581026"/>
                  </a:lnTo>
                  <a:lnTo>
                    <a:pt x="630238" y="581026"/>
                  </a:lnTo>
                  <a:lnTo>
                    <a:pt x="627063" y="573088"/>
                  </a:lnTo>
                  <a:lnTo>
                    <a:pt x="627063" y="571501"/>
                  </a:lnTo>
                  <a:lnTo>
                    <a:pt x="627063" y="569913"/>
                  </a:lnTo>
                  <a:lnTo>
                    <a:pt x="630238" y="566738"/>
                  </a:lnTo>
                  <a:lnTo>
                    <a:pt x="630238" y="565151"/>
                  </a:lnTo>
                  <a:lnTo>
                    <a:pt x="631826" y="565151"/>
                  </a:lnTo>
                  <a:lnTo>
                    <a:pt x="633413" y="561975"/>
                  </a:lnTo>
                  <a:lnTo>
                    <a:pt x="636588" y="555625"/>
                  </a:lnTo>
                  <a:lnTo>
                    <a:pt x="638176" y="554038"/>
                  </a:lnTo>
                  <a:lnTo>
                    <a:pt x="641351" y="550863"/>
                  </a:lnTo>
                  <a:lnTo>
                    <a:pt x="649288" y="550863"/>
                  </a:lnTo>
                  <a:lnTo>
                    <a:pt x="660401" y="544513"/>
                  </a:lnTo>
                  <a:lnTo>
                    <a:pt x="671513" y="538163"/>
                  </a:lnTo>
                  <a:lnTo>
                    <a:pt x="674688" y="538163"/>
                  </a:lnTo>
                  <a:lnTo>
                    <a:pt x="676276" y="534988"/>
                  </a:lnTo>
                  <a:lnTo>
                    <a:pt x="687388" y="533400"/>
                  </a:lnTo>
                  <a:lnTo>
                    <a:pt x="701676" y="534988"/>
                  </a:lnTo>
                  <a:lnTo>
                    <a:pt x="715963" y="538163"/>
                  </a:lnTo>
                  <a:lnTo>
                    <a:pt x="715963" y="534988"/>
                  </a:lnTo>
                  <a:lnTo>
                    <a:pt x="719138" y="534988"/>
                  </a:lnTo>
                  <a:lnTo>
                    <a:pt x="723901" y="533400"/>
                  </a:lnTo>
                  <a:lnTo>
                    <a:pt x="725488" y="531813"/>
                  </a:lnTo>
                  <a:lnTo>
                    <a:pt x="736601" y="528638"/>
                  </a:lnTo>
                  <a:lnTo>
                    <a:pt x="752476" y="528638"/>
                  </a:lnTo>
                  <a:lnTo>
                    <a:pt x="763588" y="528638"/>
                  </a:lnTo>
                  <a:lnTo>
                    <a:pt x="765176" y="531813"/>
                  </a:lnTo>
                  <a:lnTo>
                    <a:pt x="768351" y="528638"/>
                  </a:lnTo>
                  <a:lnTo>
                    <a:pt x="779463" y="528638"/>
                  </a:lnTo>
                  <a:lnTo>
                    <a:pt x="781051" y="527050"/>
                  </a:lnTo>
                  <a:lnTo>
                    <a:pt x="782638" y="527050"/>
                  </a:lnTo>
                  <a:lnTo>
                    <a:pt x="787401" y="522288"/>
                  </a:lnTo>
                  <a:lnTo>
                    <a:pt x="792163" y="520700"/>
                  </a:lnTo>
                  <a:lnTo>
                    <a:pt x="801688" y="512763"/>
                  </a:lnTo>
                  <a:lnTo>
                    <a:pt x="812801" y="506413"/>
                  </a:lnTo>
                  <a:close/>
                  <a:moveTo>
                    <a:pt x="538162" y="0"/>
                  </a:moveTo>
                  <a:lnTo>
                    <a:pt x="541337" y="0"/>
                  </a:lnTo>
                  <a:lnTo>
                    <a:pt x="542925" y="0"/>
                  </a:lnTo>
                  <a:lnTo>
                    <a:pt x="544512" y="0"/>
                  </a:lnTo>
                  <a:lnTo>
                    <a:pt x="547687" y="1587"/>
                  </a:lnTo>
                  <a:lnTo>
                    <a:pt x="549275" y="1587"/>
                  </a:lnTo>
                  <a:lnTo>
                    <a:pt x="555625" y="1587"/>
                  </a:lnTo>
                  <a:lnTo>
                    <a:pt x="603250" y="3175"/>
                  </a:lnTo>
                  <a:lnTo>
                    <a:pt x="641350" y="1587"/>
                  </a:lnTo>
                  <a:lnTo>
                    <a:pt x="671513" y="1587"/>
                  </a:lnTo>
                  <a:lnTo>
                    <a:pt x="698500" y="0"/>
                  </a:lnTo>
                  <a:lnTo>
                    <a:pt x="701675" y="0"/>
                  </a:lnTo>
                  <a:lnTo>
                    <a:pt x="701675" y="1587"/>
                  </a:lnTo>
                  <a:lnTo>
                    <a:pt x="703263" y="1587"/>
                  </a:lnTo>
                  <a:lnTo>
                    <a:pt x="703263" y="7937"/>
                  </a:lnTo>
                  <a:lnTo>
                    <a:pt x="703263" y="30162"/>
                  </a:lnTo>
                  <a:lnTo>
                    <a:pt x="701675" y="41275"/>
                  </a:lnTo>
                  <a:lnTo>
                    <a:pt x="698500" y="47625"/>
                  </a:lnTo>
                  <a:lnTo>
                    <a:pt x="698500" y="50800"/>
                  </a:lnTo>
                  <a:lnTo>
                    <a:pt x="698500" y="52387"/>
                  </a:lnTo>
                  <a:lnTo>
                    <a:pt x="698500" y="55562"/>
                  </a:lnTo>
                  <a:lnTo>
                    <a:pt x="698500" y="57150"/>
                  </a:lnTo>
                  <a:lnTo>
                    <a:pt x="701675" y="57150"/>
                  </a:lnTo>
                  <a:lnTo>
                    <a:pt x="701675" y="58737"/>
                  </a:lnTo>
                  <a:lnTo>
                    <a:pt x="703263" y="63500"/>
                  </a:lnTo>
                  <a:lnTo>
                    <a:pt x="708025" y="68262"/>
                  </a:lnTo>
                  <a:lnTo>
                    <a:pt x="708025" y="69850"/>
                  </a:lnTo>
                  <a:lnTo>
                    <a:pt x="708025" y="73025"/>
                  </a:lnTo>
                  <a:lnTo>
                    <a:pt x="704850" y="100012"/>
                  </a:lnTo>
                  <a:lnTo>
                    <a:pt x="704850" y="101600"/>
                  </a:lnTo>
                  <a:lnTo>
                    <a:pt x="703263" y="101600"/>
                  </a:lnTo>
                  <a:lnTo>
                    <a:pt x="701675" y="103187"/>
                  </a:lnTo>
                  <a:lnTo>
                    <a:pt x="698500" y="103187"/>
                  </a:lnTo>
                  <a:lnTo>
                    <a:pt x="698500" y="106362"/>
                  </a:lnTo>
                  <a:lnTo>
                    <a:pt x="693738" y="122237"/>
                  </a:lnTo>
                  <a:lnTo>
                    <a:pt x="693738" y="134937"/>
                  </a:lnTo>
                  <a:lnTo>
                    <a:pt x="698500" y="149225"/>
                  </a:lnTo>
                  <a:lnTo>
                    <a:pt x="701675" y="160337"/>
                  </a:lnTo>
                  <a:lnTo>
                    <a:pt x="701675" y="161925"/>
                  </a:lnTo>
                  <a:lnTo>
                    <a:pt x="701675" y="163512"/>
                  </a:lnTo>
                  <a:lnTo>
                    <a:pt x="701675" y="166687"/>
                  </a:lnTo>
                  <a:lnTo>
                    <a:pt x="696913" y="174625"/>
                  </a:lnTo>
                  <a:lnTo>
                    <a:pt x="693738" y="179387"/>
                  </a:lnTo>
                  <a:lnTo>
                    <a:pt x="693738" y="185737"/>
                  </a:lnTo>
                  <a:lnTo>
                    <a:pt x="696913" y="188912"/>
                  </a:lnTo>
                  <a:lnTo>
                    <a:pt x="698500" y="188912"/>
                  </a:lnTo>
                  <a:lnTo>
                    <a:pt x="698500" y="185737"/>
                  </a:lnTo>
                  <a:lnTo>
                    <a:pt x="701675" y="185737"/>
                  </a:lnTo>
                  <a:lnTo>
                    <a:pt x="701675" y="184150"/>
                  </a:lnTo>
                  <a:lnTo>
                    <a:pt x="701675" y="182562"/>
                  </a:lnTo>
                  <a:lnTo>
                    <a:pt x="703263" y="182562"/>
                  </a:lnTo>
                  <a:lnTo>
                    <a:pt x="704850" y="182562"/>
                  </a:lnTo>
                  <a:lnTo>
                    <a:pt x="708025" y="182562"/>
                  </a:lnTo>
                  <a:lnTo>
                    <a:pt x="714375" y="190500"/>
                  </a:lnTo>
                  <a:lnTo>
                    <a:pt x="714375" y="193675"/>
                  </a:lnTo>
                  <a:lnTo>
                    <a:pt x="714375" y="195262"/>
                  </a:lnTo>
                  <a:lnTo>
                    <a:pt x="714375" y="204787"/>
                  </a:lnTo>
                  <a:lnTo>
                    <a:pt x="712788" y="273050"/>
                  </a:lnTo>
                  <a:lnTo>
                    <a:pt x="712788" y="282575"/>
                  </a:lnTo>
                  <a:lnTo>
                    <a:pt x="712788" y="284162"/>
                  </a:lnTo>
                  <a:lnTo>
                    <a:pt x="709613" y="284162"/>
                  </a:lnTo>
                  <a:lnTo>
                    <a:pt x="709613" y="285750"/>
                  </a:lnTo>
                  <a:lnTo>
                    <a:pt x="712788" y="295275"/>
                  </a:lnTo>
                  <a:lnTo>
                    <a:pt x="712788" y="296862"/>
                  </a:lnTo>
                  <a:lnTo>
                    <a:pt x="709613" y="296862"/>
                  </a:lnTo>
                  <a:lnTo>
                    <a:pt x="709613" y="301625"/>
                  </a:lnTo>
                  <a:lnTo>
                    <a:pt x="708025" y="304800"/>
                  </a:lnTo>
                  <a:lnTo>
                    <a:pt x="704850" y="312737"/>
                  </a:lnTo>
                  <a:lnTo>
                    <a:pt x="687388" y="373062"/>
                  </a:lnTo>
                  <a:lnTo>
                    <a:pt x="685800" y="384175"/>
                  </a:lnTo>
                  <a:lnTo>
                    <a:pt x="685800" y="387350"/>
                  </a:lnTo>
                  <a:lnTo>
                    <a:pt x="687388" y="387350"/>
                  </a:lnTo>
                  <a:lnTo>
                    <a:pt x="687388" y="390525"/>
                  </a:lnTo>
                  <a:lnTo>
                    <a:pt x="687388" y="400050"/>
                  </a:lnTo>
                  <a:lnTo>
                    <a:pt x="682625" y="449262"/>
                  </a:lnTo>
                  <a:lnTo>
                    <a:pt x="681038" y="461962"/>
                  </a:lnTo>
                  <a:lnTo>
                    <a:pt x="681038" y="484187"/>
                  </a:lnTo>
                  <a:lnTo>
                    <a:pt x="681038" y="487362"/>
                  </a:lnTo>
                  <a:lnTo>
                    <a:pt x="682625" y="488950"/>
                  </a:lnTo>
                  <a:lnTo>
                    <a:pt x="685800" y="493712"/>
                  </a:lnTo>
                  <a:lnTo>
                    <a:pt x="687388" y="498475"/>
                  </a:lnTo>
                  <a:lnTo>
                    <a:pt x="660400" y="511175"/>
                  </a:lnTo>
                  <a:lnTo>
                    <a:pt x="669925" y="523875"/>
                  </a:lnTo>
                  <a:lnTo>
                    <a:pt x="669925" y="527050"/>
                  </a:lnTo>
                  <a:lnTo>
                    <a:pt x="669925" y="528638"/>
                  </a:lnTo>
                  <a:lnTo>
                    <a:pt x="666750" y="531813"/>
                  </a:lnTo>
                  <a:lnTo>
                    <a:pt x="665163" y="531813"/>
                  </a:lnTo>
                  <a:lnTo>
                    <a:pt x="663575" y="531813"/>
                  </a:lnTo>
                  <a:lnTo>
                    <a:pt x="658813" y="533400"/>
                  </a:lnTo>
                  <a:lnTo>
                    <a:pt x="658813" y="534988"/>
                  </a:lnTo>
                  <a:lnTo>
                    <a:pt x="654050" y="539750"/>
                  </a:lnTo>
                  <a:lnTo>
                    <a:pt x="649288" y="549275"/>
                  </a:lnTo>
                  <a:lnTo>
                    <a:pt x="638175" y="550863"/>
                  </a:lnTo>
                  <a:lnTo>
                    <a:pt x="633413" y="560388"/>
                  </a:lnTo>
                  <a:lnTo>
                    <a:pt x="631825" y="561975"/>
                  </a:lnTo>
                  <a:lnTo>
                    <a:pt x="630238" y="561975"/>
                  </a:lnTo>
                  <a:lnTo>
                    <a:pt x="631825" y="558800"/>
                  </a:lnTo>
                  <a:lnTo>
                    <a:pt x="633413" y="550863"/>
                  </a:lnTo>
                  <a:lnTo>
                    <a:pt x="636588" y="549275"/>
                  </a:lnTo>
                  <a:lnTo>
                    <a:pt x="638175" y="542925"/>
                  </a:lnTo>
                  <a:lnTo>
                    <a:pt x="641350" y="538163"/>
                  </a:lnTo>
                  <a:lnTo>
                    <a:pt x="641350" y="534988"/>
                  </a:lnTo>
                  <a:lnTo>
                    <a:pt x="642938" y="533400"/>
                  </a:lnTo>
                  <a:lnTo>
                    <a:pt x="642938" y="528638"/>
                  </a:lnTo>
                  <a:lnTo>
                    <a:pt x="644525" y="522288"/>
                  </a:lnTo>
                  <a:lnTo>
                    <a:pt x="644525" y="520700"/>
                  </a:lnTo>
                  <a:lnTo>
                    <a:pt x="644525" y="517525"/>
                  </a:lnTo>
                  <a:lnTo>
                    <a:pt x="644525" y="515938"/>
                  </a:lnTo>
                  <a:lnTo>
                    <a:pt x="644525" y="512763"/>
                  </a:lnTo>
                  <a:lnTo>
                    <a:pt x="644525" y="504825"/>
                  </a:lnTo>
                  <a:lnTo>
                    <a:pt x="644525" y="501650"/>
                  </a:lnTo>
                  <a:lnTo>
                    <a:pt x="642938" y="501650"/>
                  </a:lnTo>
                  <a:lnTo>
                    <a:pt x="636588" y="487362"/>
                  </a:lnTo>
                  <a:lnTo>
                    <a:pt x="636588" y="484187"/>
                  </a:lnTo>
                  <a:lnTo>
                    <a:pt x="631825" y="488950"/>
                  </a:lnTo>
                  <a:lnTo>
                    <a:pt x="631825" y="490537"/>
                  </a:lnTo>
                  <a:lnTo>
                    <a:pt x="633413" y="498475"/>
                  </a:lnTo>
                  <a:lnTo>
                    <a:pt x="636588" y="500062"/>
                  </a:lnTo>
                  <a:lnTo>
                    <a:pt x="638175" y="501650"/>
                  </a:lnTo>
                  <a:lnTo>
                    <a:pt x="641350" y="504825"/>
                  </a:lnTo>
                  <a:lnTo>
                    <a:pt x="641350" y="506413"/>
                  </a:lnTo>
                  <a:lnTo>
                    <a:pt x="641350" y="527050"/>
                  </a:lnTo>
                  <a:lnTo>
                    <a:pt x="636588" y="523875"/>
                  </a:lnTo>
                  <a:lnTo>
                    <a:pt x="630238" y="520700"/>
                  </a:lnTo>
                  <a:lnTo>
                    <a:pt x="625475" y="517525"/>
                  </a:lnTo>
                  <a:lnTo>
                    <a:pt x="600075" y="504825"/>
                  </a:lnTo>
                  <a:lnTo>
                    <a:pt x="593725" y="500062"/>
                  </a:lnTo>
                  <a:lnTo>
                    <a:pt x="576262" y="490537"/>
                  </a:lnTo>
                  <a:lnTo>
                    <a:pt x="569912" y="487362"/>
                  </a:lnTo>
                  <a:lnTo>
                    <a:pt x="555625" y="479425"/>
                  </a:lnTo>
                  <a:lnTo>
                    <a:pt x="554037" y="479425"/>
                  </a:lnTo>
                  <a:lnTo>
                    <a:pt x="554037" y="477837"/>
                  </a:lnTo>
                  <a:lnTo>
                    <a:pt x="554037" y="476250"/>
                  </a:lnTo>
                  <a:lnTo>
                    <a:pt x="549275" y="468312"/>
                  </a:lnTo>
                  <a:lnTo>
                    <a:pt x="547687" y="468312"/>
                  </a:lnTo>
                  <a:lnTo>
                    <a:pt x="544512" y="468312"/>
                  </a:lnTo>
                  <a:lnTo>
                    <a:pt x="533400" y="466725"/>
                  </a:lnTo>
                  <a:lnTo>
                    <a:pt x="522287" y="461962"/>
                  </a:lnTo>
                  <a:lnTo>
                    <a:pt x="522287" y="460375"/>
                  </a:lnTo>
                  <a:lnTo>
                    <a:pt x="520700" y="457200"/>
                  </a:lnTo>
                  <a:lnTo>
                    <a:pt x="519112" y="454025"/>
                  </a:lnTo>
                  <a:lnTo>
                    <a:pt x="514350" y="446087"/>
                  </a:lnTo>
                  <a:lnTo>
                    <a:pt x="514350" y="444500"/>
                  </a:lnTo>
                  <a:lnTo>
                    <a:pt x="515937" y="442912"/>
                  </a:lnTo>
                  <a:lnTo>
                    <a:pt x="515937" y="439737"/>
                  </a:lnTo>
                  <a:lnTo>
                    <a:pt x="515937" y="423862"/>
                  </a:lnTo>
                  <a:lnTo>
                    <a:pt x="514350" y="417512"/>
                  </a:lnTo>
                  <a:lnTo>
                    <a:pt x="511175" y="417512"/>
                  </a:lnTo>
                  <a:lnTo>
                    <a:pt x="509587" y="412750"/>
                  </a:lnTo>
                  <a:lnTo>
                    <a:pt x="503237" y="411162"/>
                  </a:lnTo>
                  <a:lnTo>
                    <a:pt x="500062" y="411162"/>
                  </a:lnTo>
                  <a:lnTo>
                    <a:pt x="492125" y="400050"/>
                  </a:lnTo>
                  <a:lnTo>
                    <a:pt x="482600" y="395287"/>
                  </a:lnTo>
                  <a:lnTo>
                    <a:pt x="481012" y="395287"/>
                  </a:lnTo>
                  <a:lnTo>
                    <a:pt x="439737" y="395287"/>
                  </a:lnTo>
                  <a:lnTo>
                    <a:pt x="400050" y="395287"/>
                  </a:lnTo>
                  <a:lnTo>
                    <a:pt x="0" y="395287"/>
                  </a:lnTo>
                  <a:lnTo>
                    <a:pt x="0" y="366712"/>
                  </a:lnTo>
                  <a:lnTo>
                    <a:pt x="44450" y="342900"/>
                  </a:lnTo>
                  <a:lnTo>
                    <a:pt x="61912" y="330200"/>
                  </a:lnTo>
                  <a:lnTo>
                    <a:pt x="79375" y="319087"/>
                  </a:lnTo>
                  <a:lnTo>
                    <a:pt x="93662" y="304800"/>
                  </a:lnTo>
                  <a:lnTo>
                    <a:pt x="111125" y="290512"/>
                  </a:lnTo>
                  <a:lnTo>
                    <a:pt x="106362" y="263525"/>
                  </a:lnTo>
                  <a:lnTo>
                    <a:pt x="87312" y="257175"/>
                  </a:lnTo>
                  <a:lnTo>
                    <a:pt x="88900" y="268287"/>
                  </a:lnTo>
                  <a:lnTo>
                    <a:pt x="87312" y="268287"/>
                  </a:lnTo>
                  <a:lnTo>
                    <a:pt x="84137" y="268287"/>
                  </a:lnTo>
                  <a:lnTo>
                    <a:pt x="82550" y="266700"/>
                  </a:lnTo>
                  <a:lnTo>
                    <a:pt x="79375" y="263525"/>
                  </a:lnTo>
                  <a:lnTo>
                    <a:pt x="77787" y="261937"/>
                  </a:lnTo>
                  <a:lnTo>
                    <a:pt x="73025" y="252412"/>
                  </a:lnTo>
                  <a:lnTo>
                    <a:pt x="74612" y="246062"/>
                  </a:lnTo>
                  <a:lnTo>
                    <a:pt x="77787" y="244475"/>
                  </a:lnTo>
                  <a:lnTo>
                    <a:pt x="77787" y="241300"/>
                  </a:lnTo>
                  <a:lnTo>
                    <a:pt x="77787" y="234950"/>
                  </a:lnTo>
                  <a:lnTo>
                    <a:pt x="88900" y="233362"/>
                  </a:lnTo>
                  <a:lnTo>
                    <a:pt x="95250" y="230187"/>
                  </a:lnTo>
                  <a:lnTo>
                    <a:pt x="117475" y="223837"/>
                  </a:lnTo>
                  <a:lnTo>
                    <a:pt x="139700" y="219075"/>
                  </a:lnTo>
                  <a:lnTo>
                    <a:pt x="166687" y="217487"/>
                  </a:lnTo>
                  <a:lnTo>
                    <a:pt x="193675" y="217487"/>
                  </a:lnTo>
                  <a:lnTo>
                    <a:pt x="217487" y="219075"/>
                  </a:lnTo>
                  <a:lnTo>
                    <a:pt x="239712" y="227012"/>
                  </a:lnTo>
                  <a:lnTo>
                    <a:pt x="260350" y="234950"/>
                  </a:lnTo>
                  <a:lnTo>
                    <a:pt x="284162" y="228600"/>
                  </a:lnTo>
                  <a:lnTo>
                    <a:pt x="311150" y="230187"/>
                  </a:lnTo>
                  <a:lnTo>
                    <a:pt x="336550" y="227012"/>
                  </a:lnTo>
                  <a:lnTo>
                    <a:pt x="354012" y="217487"/>
                  </a:lnTo>
                  <a:lnTo>
                    <a:pt x="371475" y="206375"/>
                  </a:lnTo>
                  <a:lnTo>
                    <a:pt x="393700" y="200025"/>
                  </a:lnTo>
                  <a:lnTo>
                    <a:pt x="406400" y="182562"/>
                  </a:lnTo>
                  <a:lnTo>
                    <a:pt x="409575" y="152400"/>
                  </a:lnTo>
                  <a:lnTo>
                    <a:pt x="417512" y="130175"/>
                  </a:lnTo>
                  <a:lnTo>
                    <a:pt x="404812" y="112712"/>
                  </a:lnTo>
                  <a:lnTo>
                    <a:pt x="392112" y="101600"/>
                  </a:lnTo>
                  <a:lnTo>
                    <a:pt x="404812" y="88900"/>
                  </a:lnTo>
                  <a:lnTo>
                    <a:pt x="406400" y="85725"/>
                  </a:lnTo>
                  <a:lnTo>
                    <a:pt x="409575" y="85725"/>
                  </a:lnTo>
                  <a:lnTo>
                    <a:pt x="411162" y="85725"/>
                  </a:lnTo>
                  <a:lnTo>
                    <a:pt x="414337" y="85725"/>
                  </a:lnTo>
                  <a:lnTo>
                    <a:pt x="415925" y="84137"/>
                  </a:lnTo>
                  <a:lnTo>
                    <a:pt x="422275" y="80962"/>
                  </a:lnTo>
                  <a:lnTo>
                    <a:pt x="425450" y="80962"/>
                  </a:lnTo>
                  <a:lnTo>
                    <a:pt x="427037" y="79375"/>
                  </a:lnTo>
                  <a:lnTo>
                    <a:pt x="428625" y="77787"/>
                  </a:lnTo>
                  <a:lnTo>
                    <a:pt x="428625" y="74612"/>
                  </a:lnTo>
                  <a:lnTo>
                    <a:pt x="431800" y="69850"/>
                  </a:lnTo>
                  <a:lnTo>
                    <a:pt x="431800" y="68262"/>
                  </a:lnTo>
                  <a:lnTo>
                    <a:pt x="433387" y="68262"/>
                  </a:lnTo>
                  <a:lnTo>
                    <a:pt x="439737" y="61912"/>
                  </a:lnTo>
                  <a:lnTo>
                    <a:pt x="447675" y="55562"/>
                  </a:lnTo>
                  <a:lnTo>
                    <a:pt x="450850" y="50800"/>
                  </a:lnTo>
                  <a:lnTo>
                    <a:pt x="454025" y="50800"/>
                  </a:lnTo>
                  <a:lnTo>
                    <a:pt x="460375" y="44450"/>
                  </a:lnTo>
                  <a:lnTo>
                    <a:pt x="461962" y="41275"/>
                  </a:lnTo>
                  <a:lnTo>
                    <a:pt x="477837" y="30162"/>
                  </a:lnTo>
                  <a:lnTo>
                    <a:pt x="487362" y="23812"/>
                  </a:lnTo>
                  <a:lnTo>
                    <a:pt x="487362" y="22225"/>
                  </a:lnTo>
                  <a:lnTo>
                    <a:pt x="492125" y="19050"/>
                  </a:lnTo>
                  <a:lnTo>
                    <a:pt x="503237" y="14287"/>
                  </a:lnTo>
                  <a:lnTo>
                    <a:pt x="520700" y="3175"/>
                  </a:lnTo>
                  <a:lnTo>
                    <a:pt x="522287" y="3175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90" name="Freeform 153"/>
            <p:cNvSpPr>
              <a:spLocks/>
            </p:cNvSpPr>
            <p:nvPr/>
          </p:nvSpPr>
          <p:spPr bwMode="auto">
            <a:xfrm>
              <a:off x="6709610" y="3109727"/>
              <a:ext cx="398386" cy="570637"/>
            </a:xfrm>
            <a:custGeom>
              <a:avLst/>
              <a:gdLst>
                <a:gd name="T0" fmla="*/ 222 w 229"/>
                <a:gd name="T1" fmla="*/ 223 h 328"/>
                <a:gd name="T2" fmla="*/ 227 w 229"/>
                <a:gd name="T3" fmla="*/ 210 h 328"/>
                <a:gd name="T4" fmla="*/ 228 w 229"/>
                <a:gd name="T5" fmla="*/ 39 h 328"/>
                <a:gd name="T6" fmla="*/ 228 w 229"/>
                <a:gd name="T7" fmla="*/ 0 h 328"/>
                <a:gd name="T8" fmla="*/ 85 w 229"/>
                <a:gd name="T9" fmla="*/ 0 h 328"/>
                <a:gd name="T10" fmla="*/ 40 w 229"/>
                <a:gd name="T11" fmla="*/ 33 h 328"/>
                <a:gd name="T12" fmla="*/ 39 w 229"/>
                <a:gd name="T13" fmla="*/ 168 h 328"/>
                <a:gd name="T14" fmla="*/ 36 w 229"/>
                <a:gd name="T15" fmla="*/ 199 h 328"/>
                <a:gd name="T16" fmla="*/ 30 w 229"/>
                <a:gd name="T17" fmla="*/ 216 h 328"/>
                <a:gd name="T18" fmla="*/ 35 w 229"/>
                <a:gd name="T19" fmla="*/ 221 h 328"/>
                <a:gd name="T20" fmla="*/ 39 w 229"/>
                <a:gd name="T21" fmla="*/ 231 h 328"/>
                <a:gd name="T22" fmla="*/ 39 w 229"/>
                <a:gd name="T23" fmla="*/ 252 h 328"/>
                <a:gd name="T24" fmla="*/ 36 w 229"/>
                <a:gd name="T25" fmla="*/ 254 h 328"/>
                <a:gd name="T26" fmla="*/ 30 w 229"/>
                <a:gd name="T27" fmla="*/ 263 h 328"/>
                <a:gd name="T28" fmla="*/ 14 w 229"/>
                <a:gd name="T29" fmla="*/ 286 h 328"/>
                <a:gd name="T30" fmla="*/ 8 w 229"/>
                <a:gd name="T31" fmla="*/ 290 h 328"/>
                <a:gd name="T32" fmla="*/ 8 w 229"/>
                <a:gd name="T33" fmla="*/ 294 h 328"/>
                <a:gd name="T34" fmla="*/ 5 w 229"/>
                <a:gd name="T35" fmla="*/ 301 h 328"/>
                <a:gd name="T36" fmla="*/ 9 w 229"/>
                <a:gd name="T37" fmla="*/ 303 h 328"/>
                <a:gd name="T38" fmla="*/ 5 w 229"/>
                <a:gd name="T39" fmla="*/ 311 h 328"/>
                <a:gd name="T40" fmla="*/ 2 w 229"/>
                <a:gd name="T41" fmla="*/ 318 h 328"/>
                <a:gd name="T42" fmla="*/ 0 w 229"/>
                <a:gd name="T43" fmla="*/ 318 h 328"/>
                <a:gd name="T44" fmla="*/ 4 w 229"/>
                <a:gd name="T45" fmla="*/ 325 h 328"/>
                <a:gd name="T46" fmla="*/ 11 w 229"/>
                <a:gd name="T47" fmla="*/ 328 h 328"/>
                <a:gd name="T48" fmla="*/ 14 w 229"/>
                <a:gd name="T49" fmla="*/ 322 h 328"/>
                <a:gd name="T50" fmla="*/ 29 w 229"/>
                <a:gd name="T51" fmla="*/ 324 h 328"/>
                <a:gd name="T52" fmla="*/ 35 w 229"/>
                <a:gd name="T53" fmla="*/ 322 h 328"/>
                <a:gd name="T54" fmla="*/ 46 w 229"/>
                <a:gd name="T55" fmla="*/ 314 h 328"/>
                <a:gd name="T56" fmla="*/ 65 w 229"/>
                <a:gd name="T57" fmla="*/ 325 h 328"/>
                <a:gd name="T58" fmla="*/ 68 w 229"/>
                <a:gd name="T59" fmla="*/ 326 h 328"/>
                <a:gd name="T60" fmla="*/ 71 w 229"/>
                <a:gd name="T61" fmla="*/ 324 h 328"/>
                <a:gd name="T62" fmla="*/ 74 w 229"/>
                <a:gd name="T63" fmla="*/ 317 h 328"/>
                <a:gd name="T64" fmla="*/ 88 w 229"/>
                <a:gd name="T65" fmla="*/ 311 h 328"/>
                <a:gd name="T66" fmla="*/ 91 w 229"/>
                <a:gd name="T67" fmla="*/ 314 h 328"/>
                <a:gd name="T68" fmla="*/ 100 w 229"/>
                <a:gd name="T69" fmla="*/ 322 h 328"/>
                <a:gd name="T70" fmla="*/ 109 w 229"/>
                <a:gd name="T71" fmla="*/ 315 h 328"/>
                <a:gd name="T72" fmla="*/ 109 w 229"/>
                <a:gd name="T73" fmla="*/ 310 h 328"/>
                <a:gd name="T74" fmla="*/ 110 w 229"/>
                <a:gd name="T75" fmla="*/ 305 h 328"/>
                <a:gd name="T76" fmla="*/ 119 w 229"/>
                <a:gd name="T77" fmla="*/ 296 h 328"/>
                <a:gd name="T78" fmla="*/ 119 w 229"/>
                <a:gd name="T79" fmla="*/ 294 h 328"/>
                <a:gd name="T80" fmla="*/ 120 w 229"/>
                <a:gd name="T81" fmla="*/ 293 h 328"/>
                <a:gd name="T82" fmla="*/ 126 w 229"/>
                <a:gd name="T83" fmla="*/ 298 h 328"/>
                <a:gd name="T84" fmla="*/ 126 w 229"/>
                <a:gd name="T85" fmla="*/ 303 h 328"/>
                <a:gd name="T86" fmla="*/ 131 w 229"/>
                <a:gd name="T87" fmla="*/ 307 h 328"/>
                <a:gd name="T88" fmla="*/ 150 w 229"/>
                <a:gd name="T89" fmla="*/ 307 h 328"/>
                <a:gd name="T90" fmla="*/ 152 w 229"/>
                <a:gd name="T91" fmla="*/ 300 h 328"/>
                <a:gd name="T92" fmla="*/ 157 w 229"/>
                <a:gd name="T93" fmla="*/ 287 h 328"/>
                <a:gd name="T94" fmla="*/ 161 w 229"/>
                <a:gd name="T95" fmla="*/ 287 h 328"/>
                <a:gd name="T96" fmla="*/ 165 w 229"/>
                <a:gd name="T97" fmla="*/ 286 h 328"/>
                <a:gd name="T98" fmla="*/ 169 w 229"/>
                <a:gd name="T99" fmla="*/ 282 h 328"/>
                <a:gd name="T100" fmla="*/ 172 w 229"/>
                <a:gd name="T101" fmla="*/ 275 h 328"/>
                <a:gd name="T102" fmla="*/ 176 w 229"/>
                <a:gd name="T103" fmla="*/ 272 h 328"/>
                <a:gd name="T104" fmla="*/ 186 w 229"/>
                <a:gd name="T105" fmla="*/ 265 h 328"/>
                <a:gd name="T106" fmla="*/ 183 w 229"/>
                <a:gd name="T107" fmla="*/ 254 h 328"/>
                <a:gd name="T108" fmla="*/ 183 w 229"/>
                <a:gd name="T109" fmla="*/ 251 h 328"/>
                <a:gd name="T110" fmla="*/ 185 w 229"/>
                <a:gd name="T111" fmla="*/ 249 h 328"/>
                <a:gd name="T112" fmla="*/ 197 w 229"/>
                <a:gd name="T113" fmla="*/ 249 h 328"/>
                <a:gd name="T114" fmla="*/ 201 w 229"/>
                <a:gd name="T115" fmla="*/ 252 h 328"/>
                <a:gd name="T116" fmla="*/ 211 w 229"/>
                <a:gd name="T117" fmla="*/ 247 h 328"/>
                <a:gd name="T118" fmla="*/ 224 w 229"/>
                <a:gd name="T119" fmla="*/ 244 h 328"/>
                <a:gd name="T120" fmla="*/ 227 w 229"/>
                <a:gd name="T121" fmla="*/ 2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9" h="328">
                  <a:moveTo>
                    <a:pt x="225" y="228"/>
                  </a:moveTo>
                  <a:lnTo>
                    <a:pt x="224" y="226"/>
                  </a:lnTo>
                  <a:lnTo>
                    <a:pt x="224" y="224"/>
                  </a:lnTo>
                  <a:lnTo>
                    <a:pt x="222" y="224"/>
                  </a:lnTo>
                  <a:lnTo>
                    <a:pt x="222" y="223"/>
                  </a:lnTo>
                  <a:lnTo>
                    <a:pt x="222" y="223"/>
                  </a:lnTo>
                  <a:lnTo>
                    <a:pt x="222" y="223"/>
                  </a:lnTo>
                  <a:lnTo>
                    <a:pt x="222" y="221"/>
                  </a:lnTo>
                  <a:lnTo>
                    <a:pt x="227" y="219"/>
                  </a:lnTo>
                  <a:lnTo>
                    <a:pt x="227" y="210"/>
                  </a:lnTo>
                  <a:lnTo>
                    <a:pt x="227" y="174"/>
                  </a:lnTo>
                  <a:lnTo>
                    <a:pt x="228" y="67"/>
                  </a:lnTo>
                  <a:lnTo>
                    <a:pt x="228" y="61"/>
                  </a:lnTo>
                  <a:lnTo>
                    <a:pt x="228" y="45"/>
                  </a:lnTo>
                  <a:lnTo>
                    <a:pt x="228" y="39"/>
                  </a:lnTo>
                  <a:lnTo>
                    <a:pt x="228" y="28"/>
                  </a:lnTo>
                  <a:lnTo>
                    <a:pt x="228" y="5"/>
                  </a:lnTo>
                  <a:lnTo>
                    <a:pt x="228" y="4"/>
                  </a:lnTo>
                  <a:lnTo>
                    <a:pt x="228" y="4"/>
                  </a:lnTo>
                  <a:lnTo>
                    <a:pt x="228" y="0"/>
                  </a:lnTo>
                  <a:lnTo>
                    <a:pt x="224" y="0"/>
                  </a:lnTo>
                  <a:lnTo>
                    <a:pt x="134" y="0"/>
                  </a:lnTo>
                  <a:lnTo>
                    <a:pt x="99" y="0"/>
                  </a:lnTo>
                  <a:lnTo>
                    <a:pt x="88" y="0"/>
                  </a:lnTo>
                  <a:lnTo>
                    <a:pt x="85" y="0"/>
                  </a:lnTo>
                  <a:lnTo>
                    <a:pt x="78" y="3"/>
                  </a:lnTo>
                  <a:lnTo>
                    <a:pt x="67" y="8"/>
                  </a:lnTo>
                  <a:lnTo>
                    <a:pt x="51" y="12"/>
                  </a:lnTo>
                  <a:lnTo>
                    <a:pt x="40" y="8"/>
                  </a:lnTo>
                  <a:lnTo>
                    <a:pt x="40" y="33"/>
                  </a:lnTo>
                  <a:lnTo>
                    <a:pt x="40" y="47"/>
                  </a:lnTo>
                  <a:lnTo>
                    <a:pt x="40" y="50"/>
                  </a:lnTo>
                  <a:lnTo>
                    <a:pt x="40" y="122"/>
                  </a:lnTo>
                  <a:lnTo>
                    <a:pt x="40" y="146"/>
                  </a:lnTo>
                  <a:lnTo>
                    <a:pt x="39" y="168"/>
                  </a:lnTo>
                  <a:lnTo>
                    <a:pt x="39" y="196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6" y="199"/>
                  </a:lnTo>
                  <a:lnTo>
                    <a:pt x="36" y="199"/>
                  </a:lnTo>
                  <a:lnTo>
                    <a:pt x="36" y="199"/>
                  </a:lnTo>
                  <a:lnTo>
                    <a:pt x="35" y="200"/>
                  </a:lnTo>
                  <a:lnTo>
                    <a:pt x="33" y="202"/>
                  </a:lnTo>
                  <a:lnTo>
                    <a:pt x="33" y="202"/>
                  </a:lnTo>
                  <a:lnTo>
                    <a:pt x="30" y="216"/>
                  </a:lnTo>
                  <a:lnTo>
                    <a:pt x="30" y="219"/>
                  </a:lnTo>
                  <a:lnTo>
                    <a:pt x="30" y="219"/>
                  </a:lnTo>
                  <a:lnTo>
                    <a:pt x="30" y="219"/>
                  </a:lnTo>
                  <a:lnTo>
                    <a:pt x="32" y="220"/>
                  </a:lnTo>
                  <a:lnTo>
                    <a:pt x="35" y="221"/>
                  </a:lnTo>
                  <a:lnTo>
                    <a:pt x="35" y="223"/>
                  </a:lnTo>
                  <a:lnTo>
                    <a:pt x="36" y="223"/>
                  </a:lnTo>
                  <a:lnTo>
                    <a:pt x="39" y="230"/>
                  </a:lnTo>
                  <a:lnTo>
                    <a:pt x="39" y="231"/>
                  </a:lnTo>
                  <a:lnTo>
                    <a:pt x="39" y="231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40" y="252"/>
                  </a:lnTo>
                  <a:lnTo>
                    <a:pt x="39" y="252"/>
                  </a:lnTo>
                  <a:lnTo>
                    <a:pt x="39" y="252"/>
                  </a:lnTo>
                  <a:lnTo>
                    <a:pt x="39" y="254"/>
                  </a:lnTo>
                  <a:lnTo>
                    <a:pt x="37" y="254"/>
                  </a:lnTo>
                  <a:lnTo>
                    <a:pt x="37" y="254"/>
                  </a:lnTo>
                  <a:lnTo>
                    <a:pt x="36" y="254"/>
                  </a:lnTo>
                  <a:lnTo>
                    <a:pt x="36" y="254"/>
                  </a:lnTo>
                  <a:lnTo>
                    <a:pt x="35" y="254"/>
                  </a:lnTo>
                  <a:lnTo>
                    <a:pt x="33" y="255"/>
                  </a:lnTo>
                  <a:lnTo>
                    <a:pt x="33" y="256"/>
                  </a:lnTo>
                  <a:lnTo>
                    <a:pt x="30" y="263"/>
                  </a:lnTo>
                  <a:lnTo>
                    <a:pt x="30" y="263"/>
                  </a:lnTo>
                  <a:lnTo>
                    <a:pt x="22" y="277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6" y="286"/>
                  </a:lnTo>
                  <a:lnTo>
                    <a:pt x="14" y="286"/>
                  </a:lnTo>
                  <a:lnTo>
                    <a:pt x="12" y="284"/>
                  </a:lnTo>
                  <a:lnTo>
                    <a:pt x="12" y="284"/>
                  </a:lnTo>
                  <a:lnTo>
                    <a:pt x="11" y="284"/>
                  </a:lnTo>
                  <a:lnTo>
                    <a:pt x="11" y="286"/>
                  </a:lnTo>
                  <a:lnTo>
                    <a:pt x="8" y="290"/>
                  </a:lnTo>
                  <a:lnTo>
                    <a:pt x="8" y="291"/>
                  </a:lnTo>
                  <a:lnTo>
                    <a:pt x="8" y="291"/>
                  </a:lnTo>
                  <a:lnTo>
                    <a:pt x="8" y="291"/>
                  </a:lnTo>
                  <a:lnTo>
                    <a:pt x="8" y="293"/>
                  </a:lnTo>
                  <a:lnTo>
                    <a:pt x="8" y="294"/>
                  </a:lnTo>
                  <a:lnTo>
                    <a:pt x="9" y="294"/>
                  </a:lnTo>
                  <a:lnTo>
                    <a:pt x="9" y="294"/>
                  </a:lnTo>
                  <a:lnTo>
                    <a:pt x="11" y="296"/>
                  </a:lnTo>
                  <a:lnTo>
                    <a:pt x="9" y="298"/>
                  </a:lnTo>
                  <a:lnTo>
                    <a:pt x="5" y="301"/>
                  </a:lnTo>
                  <a:lnTo>
                    <a:pt x="5" y="303"/>
                  </a:lnTo>
                  <a:lnTo>
                    <a:pt x="8" y="301"/>
                  </a:lnTo>
                  <a:lnTo>
                    <a:pt x="9" y="303"/>
                  </a:lnTo>
                  <a:lnTo>
                    <a:pt x="9" y="303"/>
                  </a:lnTo>
                  <a:lnTo>
                    <a:pt x="9" y="303"/>
                  </a:lnTo>
                  <a:lnTo>
                    <a:pt x="9" y="303"/>
                  </a:lnTo>
                  <a:lnTo>
                    <a:pt x="9" y="304"/>
                  </a:lnTo>
                  <a:lnTo>
                    <a:pt x="8" y="304"/>
                  </a:lnTo>
                  <a:lnTo>
                    <a:pt x="4" y="307"/>
                  </a:lnTo>
                  <a:lnTo>
                    <a:pt x="5" y="311"/>
                  </a:lnTo>
                  <a:lnTo>
                    <a:pt x="5" y="318"/>
                  </a:lnTo>
                  <a:lnTo>
                    <a:pt x="5" y="318"/>
                  </a:lnTo>
                  <a:lnTo>
                    <a:pt x="4" y="318"/>
                  </a:lnTo>
                  <a:lnTo>
                    <a:pt x="4" y="318"/>
                  </a:lnTo>
                  <a:lnTo>
                    <a:pt x="2" y="318"/>
                  </a:lnTo>
                  <a:lnTo>
                    <a:pt x="2" y="318"/>
                  </a:lnTo>
                  <a:lnTo>
                    <a:pt x="1" y="318"/>
                  </a:lnTo>
                  <a:lnTo>
                    <a:pt x="0" y="318"/>
                  </a:lnTo>
                  <a:lnTo>
                    <a:pt x="0" y="318"/>
                  </a:lnTo>
                  <a:lnTo>
                    <a:pt x="0" y="318"/>
                  </a:lnTo>
                  <a:lnTo>
                    <a:pt x="1" y="324"/>
                  </a:lnTo>
                  <a:lnTo>
                    <a:pt x="1" y="325"/>
                  </a:lnTo>
                  <a:lnTo>
                    <a:pt x="1" y="325"/>
                  </a:lnTo>
                  <a:lnTo>
                    <a:pt x="4" y="325"/>
                  </a:lnTo>
                  <a:lnTo>
                    <a:pt x="4" y="325"/>
                  </a:lnTo>
                  <a:lnTo>
                    <a:pt x="4" y="325"/>
                  </a:lnTo>
                  <a:lnTo>
                    <a:pt x="5" y="325"/>
                  </a:lnTo>
                  <a:lnTo>
                    <a:pt x="8" y="326"/>
                  </a:lnTo>
                  <a:lnTo>
                    <a:pt x="9" y="328"/>
                  </a:lnTo>
                  <a:lnTo>
                    <a:pt x="11" y="328"/>
                  </a:lnTo>
                  <a:lnTo>
                    <a:pt x="14" y="325"/>
                  </a:lnTo>
                  <a:lnTo>
                    <a:pt x="14" y="325"/>
                  </a:lnTo>
                  <a:lnTo>
                    <a:pt x="14" y="324"/>
                  </a:lnTo>
                  <a:lnTo>
                    <a:pt x="14" y="324"/>
                  </a:lnTo>
                  <a:lnTo>
                    <a:pt x="14" y="322"/>
                  </a:lnTo>
                  <a:lnTo>
                    <a:pt x="18" y="318"/>
                  </a:lnTo>
                  <a:lnTo>
                    <a:pt x="25" y="319"/>
                  </a:lnTo>
                  <a:lnTo>
                    <a:pt x="29" y="322"/>
                  </a:lnTo>
                  <a:lnTo>
                    <a:pt x="29" y="322"/>
                  </a:lnTo>
                  <a:lnTo>
                    <a:pt x="29" y="324"/>
                  </a:lnTo>
                  <a:lnTo>
                    <a:pt x="30" y="324"/>
                  </a:lnTo>
                  <a:lnTo>
                    <a:pt x="32" y="324"/>
                  </a:lnTo>
                  <a:lnTo>
                    <a:pt x="32" y="324"/>
                  </a:lnTo>
                  <a:lnTo>
                    <a:pt x="33" y="324"/>
                  </a:lnTo>
                  <a:lnTo>
                    <a:pt x="35" y="322"/>
                  </a:lnTo>
                  <a:lnTo>
                    <a:pt x="35" y="322"/>
                  </a:lnTo>
                  <a:lnTo>
                    <a:pt x="39" y="317"/>
                  </a:lnTo>
                  <a:lnTo>
                    <a:pt x="44" y="314"/>
                  </a:lnTo>
                  <a:lnTo>
                    <a:pt x="46" y="314"/>
                  </a:lnTo>
                  <a:lnTo>
                    <a:pt x="46" y="314"/>
                  </a:lnTo>
                  <a:lnTo>
                    <a:pt x="47" y="314"/>
                  </a:lnTo>
                  <a:lnTo>
                    <a:pt x="47" y="314"/>
                  </a:lnTo>
                  <a:lnTo>
                    <a:pt x="49" y="315"/>
                  </a:lnTo>
                  <a:lnTo>
                    <a:pt x="63" y="322"/>
                  </a:lnTo>
                  <a:lnTo>
                    <a:pt x="65" y="325"/>
                  </a:lnTo>
                  <a:lnTo>
                    <a:pt x="65" y="325"/>
                  </a:lnTo>
                  <a:lnTo>
                    <a:pt x="65" y="326"/>
                  </a:lnTo>
                  <a:lnTo>
                    <a:pt x="67" y="326"/>
                  </a:lnTo>
                  <a:lnTo>
                    <a:pt x="68" y="326"/>
                  </a:lnTo>
                  <a:lnTo>
                    <a:pt x="68" y="326"/>
                  </a:lnTo>
                  <a:lnTo>
                    <a:pt x="70" y="326"/>
                  </a:lnTo>
                  <a:lnTo>
                    <a:pt x="70" y="326"/>
                  </a:lnTo>
                  <a:lnTo>
                    <a:pt x="71" y="325"/>
                  </a:lnTo>
                  <a:lnTo>
                    <a:pt x="71" y="324"/>
                  </a:lnTo>
                  <a:lnTo>
                    <a:pt x="71" y="324"/>
                  </a:lnTo>
                  <a:lnTo>
                    <a:pt x="72" y="324"/>
                  </a:lnTo>
                  <a:lnTo>
                    <a:pt x="72" y="322"/>
                  </a:lnTo>
                  <a:lnTo>
                    <a:pt x="72" y="319"/>
                  </a:lnTo>
                  <a:lnTo>
                    <a:pt x="72" y="319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5" y="315"/>
                  </a:lnTo>
                  <a:lnTo>
                    <a:pt x="86" y="311"/>
                  </a:lnTo>
                  <a:lnTo>
                    <a:pt x="88" y="310"/>
                  </a:lnTo>
                  <a:lnTo>
                    <a:pt x="88" y="311"/>
                  </a:lnTo>
                  <a:lnTo>
                    <a:pt x="89" y="311"/>
                  </a:lnTo>
                  <a:lnTo>
                    <a:pt x="89" y="311"/>
                  </a:lnTo>
                  <a:lnTo>
                    <a:pt x="89" y="312"/>
                  </a:lnTo>
                  <a:lnTo>
                    <a:pt x="91" y="312"/>
                  </a:lnTo>
                  <a:lnTo>
                    <a:pt x="91" y="314"/>
                  </a:lnTo>
                  <a:lnTo>
                    <a:pt x="91" y="315"/>
                  </a:lnTo>
                  <a:lnTo>
                    <a:pt x="92" y="317"/>
                  </a:lnTo>
                  <a:lnTo>
                    <a:pt x="92" y="317"/>
                  </a:lnTo>
                  <a:lnTo>
                    <a:pt x="100" y="322"/>
                  </a:lnTo>
                  <a:lnTo>
                    <a:pt x="100" y="322"/>
                  </a:lnTo>
                  <a:lnTo>
                    <a:pt x="102" y="322"/>
                  </a:lnTo>
                  <a:lnTo>
                    <a:pt x="102" y="322"/>
                  </a:lnTo>
                  <a:lnTo>
                    <a:pt x="103" y="321"/>
                  </a:lnTo>
                  <a:lnTo>
                    <a:pt x="103" y="321"/>
                  </a:lnTo>
                  <a:lnTo>
                    <a:pt x="109" y="315"/>
                  </a:lnTo>
                  <a:lnTo>
                    <a:pt x="109" y="315"/>
                  </a:lnTo>
                  <a:lnTo>
                    <a:pt x="110" y="314"/>
                  </a:lnTo>
                  <a:lnTo>
                    <a:pt x="110" y="314"/>
                  </a:lnTo>
                  <a:lnTo>
                    <a:pt x="109" y="311"/>
                  </a:lnTo>
                  <a:lnTo>
                    <a:pt x="109" y="310"/>
                  </a:lnTo>
                  <a:lnTo>
                    <a:pt x="109" y="308"/>
                  </a:lnTo>
                  <a:lnTo>
                    <a:pt x="109" y="307"/>
                  </a:lnTo>
                  <a:lnTo>
                    <a:pt x="109" y="307"/>
                  </a:lnTo>
                  <a:lnTo>
                    <a:pt x="109" y="307"/>
                  </a:lnTo>
                  <a:lnTo>
                    <a:pt x="110" y="305"/>
                  </a:lnTo>
                  <a:lnTo>
                    <a:pt x="110" y="305"/>
                  </a:lnTo>
                  <a:lnTo>
                    <a:pt x="115" y="303"/>
                  </a:lnTo>
                  <a:lnTo>
                    <a:pt x="117" y="301"/>
                  </a:lnTo>
                  <a:lnTo>
                    <a:pt x="119" y="296"/>
                  </a:lnTo>
                  <a:lnTo>
                    <a:pt x="119" y="296"/>
                  </a:lnTo>
                  <a:lnTo>
                    <a:pt x="119" y="296"/>
                  </a:lnTo>
                  <a:lnTo>
                    <a:pt x="119" y="296"/>
                  </a:lnTo>
                  <a:lnTo>
                    <a:pt x="119" y="294"/>
                  </a:lnTo>
                  <a:lnTo>
                    <a:pt x="119" y="294"/>
                  </a:lnTo>
                  <a:lnTo>
                    <a:pt x="119" y="294"/>
                  </a:lnTo>
                  <a:lnTo>
                    <a:pt x="119" y="293"/>
                  </a:lnTo>
                  <a:lnTo>
                    <a:pt x="119" y="293"/>
                  </a:lnTo>
                  <a:lnTo>
                    <a:pt x="120" y="293"/>
                  </a:lnTo>
                  <a:lnTo>
                    <a:pt x="120" y="293"/>
                  </a:lnTo>
                  <a:lnTo>
                    <a:pt x="120" y="293"/>
                  </a:lnTo>
                  <a:lnTo>
                    <a:pt x="122" y="294"/>
                  </a:lnTo>
                  <a:lnTo>
                    <a:pt x="122" y="294"/>
                  </a:lnTo>
                  <a:lnTo>
                    <a:pt x="124" y="297"/>
                  </a:lnTo>
                  <a:lnTo>
                    <a:pt x="126" y="297"/>
                  </a:lnTo>
                  <a:lnTo>
                    <a:pt x="126" y="298"/>
                  </a:lnTo>
                  <a:lnTo>
                    <a:pt x="126" y="298"/>
                  </a:lnTo>
                  <a:lnTo>
                    <a:pt x="126" y="300"/>
                  </a:lnTo>
                  <a:lnTo>
                    <a:pt x="126" y="301"/>
                  </a:lnTo>
                  <a:lnTo>
                    <a:pt x="126" y="301"/>
                  </a:lnTo>
                  <a:lnTo>
                    <a:pt x="126" y="303"/>
                  </a:lnTo>
                  <a:lnTo>
                    <a:pt x="126" y="303"/>
                  </a:lnTo>
                  <a:lnTo>
                    <a:pt x="126" y="303"/>
                  </a:lnTo>
                  <a:lnTo>
                    <a:pt x="126" y="304"/>
                  </a:lnTo>
                  <a:lnTo>
                    <a:pt x="127" y="305"/>
                  </a:lnTo>
                  <a:lnTo>
                    <a:pt x="131" y="307"/>
                  </a:lnTo>
                  <a:lnTo>
                    <a:pt x="131" y="307"/>
                  </a:lnTo>
                  <a:lnTo>
                    <a:pt x="143" y="311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50" y="307"/>
                  </a:lnTo>
                  <a:lnTo>
                    <a:pt x="151" y="305"/>
                  </a:lnTo>
                  <a:lnTo>
                    <a:pt x="151" y="305"/>
                  </a:lnTo>
                  <a:lnTo>
                    <a:pt x="151" y="304"/>
                  </a:lnTo>
                  <a:lnTo>
                    <a:pt x="151" y="303"/>
                  </a:lnTo>
                  <a:lnTo>
                    <a:pt x="152" y="300"/>
                  </a:lnTo>
                  <a:lnTo>
                    <a:pt x="152" y="297"/>
                  </a:lnTo>
                  <a:lnTo>
                    <a:pt x="152" y="296"/>
                  </a:lnTo>
                  <a:lnTo>
                    <a:pt x="152" y="294"/>
                  </a:lnTo>
                  <a:lnTo>
                    <a:pt x="152" y="294"/>
                  </a:lnTo>
                  <a:lnTo>
                    <a:pt x="157" y="287"/>
                  </a:lnTo>
                  <a:lnTo>
                    <a:pt x="157" y="286"/>
                  </a:lnTo>
                  <a:lnTo>
                    <a:pt x="158" y="286"/>
                  </a:lnTo>
                  <a:lnTo>
                    <a:pt x="158" y="286"/>
                  </a:lnTo>
                  <a:lnTo>
                    <a:pt x="159" y="286"/>
                  </a:lnTo>
                  <a:lnTo>
                    <a:pt x="161" y="287"/>
                  </a:lnTo>
                  <a:lnTo>
                    <a:pt x="162" y="287"/>
                  </a:lnTo>
                  <a:lnTo>
                    <a:pt x="162" y="287"/>
                  </a:lnTo>
                  <a:lnTo>
                    <a:pt x="164" y="287"/>
                  </a:lnTo>
                  <a:lnTo>
                    <a:pt x="164" y="287"/>
                  </a:lnTo>
                  <a:lnTo>
                    <a:pt x="165" y="286"/>
                  </a:lnTo>
                  <a:lnTo>
                    <a:pt x="168" y="284"/>
                  </a:lnTo>
                  <a:lnTo>
                    <a:pt x="168" y="284"/>
                  </a:lnTo>
                  <a:lnTo>
                    <a:pt x="169" y="283"/>
                  </a:lnTo>
                  <a:lnTo>
                    <a:pt x="169" y="283"/>
                  </a:lnTo>
                  <a:lnTo>
                    <a:pt x="169" y="282"/>
                  </a:lnTo>
                  <a:lnTo>
                    <a:pt x="169" y="282"/>
                  </a:lnTo>
                  <a:lnTo>
                    <a:pt x="171" y="279"/>
                  </a:lnTo>
                  <a:lnTo>
                    <a:pt x="171" y="277"/>
                  </a:lnTo>
                  <a:lnTo>
                    <a:pt x="171" y="275"/>
                  </a:lnTo>
                  <a:lnTo>
                    <a:pt x="172" y="275"/>
                  </a:lnTo>
                  <a:lnTo>
                    <a:pt x="172" y="273"/>
                  </a:lnTo>
                  <a:lnTo>
                    <a:pt x="172" y="272"/>
                  </a:lnTo>
                  <a:lnTo>
                    <a:pt x="173" y="272"/>
                  </a:lnTo>
                  <a:lnTo>
                    <a:pt x="175" y="272"/>
                  </a:lnTo>
                  <a:lnTo>
                    <a:pt x="176" y="272"/>
                  </a:lnTo>
                  <a:lnTo>
                    <a:pt x="178" y="270"/>
                  </a:lnTo>
                  <a:lnTo>
                    <a:pt x="179" y="270"/>
                  </a:lnTo>
                  <a:lnTo>
                    <a:pt x="185" y="265"/>
                  </a:lnTo>
                  <a:lnTo>
                    <a:pt x="186" y="265"/>
                  </a:lnTo>
                  <a:lnTo>
                    <a:pt x="186" y="265"/>
                  </a:lnTo>
                  <a:lnTo>
                    <a:pt x="186" y="263"/>
                  </a:lnTo>
                  <a:lnTo>
                    <a:pt x="186" y="263"/>
                  </a:lnTo>
                  <a:lnTo>
                    <a:pt x="185" y="256"/>
                  </a:lnTo>
                  <a:lnTo>
                    <a:pt x="185" y="255"/>
                  </a:lnTo>
                  <a:lnTo>
                    <a:pt x="183" y="254"/>
                  </a:lnTo>
                  <a:lnTo>
                    <a:pt x="183" y="254"/>
                  </a:lnTo>
                  <a:lnTo>
                    <a:pt x="183" y="252"/>
                  </a:lnTo>
                  <a:lnTo>
                    <a:pt x="183" y="252"/>
                  </a:lnTo>
                  <a:lnTo>
                    <a:pt x="183" y="252"/>
                  </a:lnTo>
                  <a:lnTo>
                    <a:pt x="183" y="251"/>
                  </a:lnTo>
                  <a:lnTo>
                    <a:pt x="183" y="251"/>
                  </a:lnTo>
                  <a:lnTo>
                    <a:pt x="183" y="249"/>
                  </a:lnTo>
                  <a:lnTo>
                    <a:pt x="185" y="249"/>
                  </a:lnTo>
                  <a:lnTo>
                    <a:pt x="185" y="249"/>
                  </a:lnTo>
                  <a:lnTo>
                    <a:pt x="185" y="249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6" y="248"/>
                  </a:lnTo>
                  <a:lnTo>
                    <a:pt x="196" y="248"/>
                  </a:lnTo>
                  <a:lnTo>
                    <a:pt x="197" y="249"/>
                  </a:lnTo>
                  <a:lnTo>
                    <a:pt x="199" y="251"/>
                  </a:lnTo>
                  <a:lnTo>
                    <a:pt x="200" y="252"/>
                  </a:lnTo>
                  <a:lnTo>
                    <a:pt x="200" y="252"/>
                  </a:lnTo>
                  <a:lnTo>
                    <a:pt x="201" y="252"/>
                  </a:lnTo>
                  <a:lnTo>
                    <a:pt x="201" y="252"/>
                  </a:lnTo>
                  <a:lnTo>
                    <a:pt x="203" y="252"/>
                  </a:lnTo>
                  <a:lnTo>
                    <a:pt x="204" y="252"/>
                  </a:lnTo>
                  <a:lnTo>
                    <a:pt x="207" y="249"/>
                  </a:lnTo>
                  <a:lnTo>
                    <a:pt x="211" y="247"/>
                  </a:lnTo>
                  <a:lnTo>
                    <a:pt x="211" y="247"/>
                  </a:lnTo>
                  <a:lnTo>
                    <a:pt x="213" y="247"/>
                  </a:lnTo>
                  <a:lnTo>
                    <a:pt x="215" y="245"/>
                  </a:lnTo>
                  <a:lnTo>
                    <a:pt x="215" y="245"/>
                  </a:lnTo>
                  <a:lnTo>
                    <a:pt x="222" y="244"/>
                  </a:lnTo>
                  <a:lnTo>
                    <a:pt x="224" y="244"/>
                  </a:lnTo>
                  <a:lnTo>
                    <a:pt x="225" y="244"/>
                  </a:lnTo>
                  <a:lnTo>
                    <a:pt x="227" y="242"/>
                  </a:lnTo>
                  <a:lnTo>
                    <a:pt x="229" y="238"/>
                  </a:lnTo>
                  <a:lnTo>
                    <a:pt x="229" y="237"/>
                  </a:lnTo>
                  <a:lnTo>
                    <a:pt x="227" y="228"/>
                  </a:lnTo>
                  <a:lnTo>
                    <a:pt x="225" y="228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91" name="Freeform 163"/>
            <p:cNvSpPr>
              <a:spLocks/>
            </p:cNvSpPr>
            <p:nvPr/>
          </p:nvSpPr>
          <p:spPr bwMode="auto">
            <a:xfrm>
              <a:off x="2878840" y="3074932"/>
              <a:ext cx="716748" cy="1005574"/>
            </a:xfrm>
            <a:custGeom>
              <a:avLst/>
              <a:gdLst>
                <a:gd name="T0" fmla="*/ 412 w 412"/>
                <a:gd name="T1" fmla="*/ 419 h 578"/>
                <a:gd name="T2" fmla="*/ 407 w 412"/>
                <a:gd name="T3" fmla="*/ 490 h 578"/>
                <a:gd name="T4" fmla="*/ 405 w 412"/>
                <a:gd name="T5" fmla="*/ 491 h 578"/>
                <a:gd name="T6" fmla="*/ 403 w 412"/>
                <a:gd name="T7" fmla="*/ 492 h 578"/>
                <a:gd name="T8" fmla="*/ 400 w 412"/>
                <a:gd name="T9" fmla="*/ 492 h 578"/>
                <a:gd name="T10" fmla="*/ 397 w 412"/>
                <a:gd name="T11" fmla="*/ 492 h 578"/>
                <a:gd name="T12" fmla="*/ 396 w 412"/>
                <a:gd name="T13" fmla="*/ 491 h 578"/>
                <a:gd name="T14" fmla="*/ 394 w 412"/>
                <a:gd name="T15" fmla="*/ 488 h 578"/>
                <a:gd name="T16" fmla="*/ 394 w 412"/>
                <a:gd name="T17" fmla="*/ 487 h 578"/>
                <a:gd name="T18" fmla="*/ 393 w 412"/>
                <a:gd name="T19" fmla="*/ 485 h 578"/>
                <a:gd name="T20" fmla="*/ 390 w 412"/>
                <a:gd name="T21" fmla="*/ 483 h 578"/>
                <a:gd name="T22" fmla="*/ 390 w 412"/>
                <a:gd name="T23" fmla="*/ 483 h 578"/>
                <a:gd name="T24" fmla="*/ 376 w 412"/>
                <a:gd name="T25" fmla="*/ 481 h 578"/>
                <a:gd name="T26" fmla="*/ 367 w 412"/>
                <a:gd name="T27" fmla="*/ 484 h 578"/>
                <a:gd name="T28" fmla="*/ 366 w 412"/>
                <a:gd name="T29" fmla="*/ 485 h 578"/>
                <a:gd name="T30" fmla="*/ 365 w 412"/>
                <a:gd name="T31" fmla="*/ 487 h 578"/>
                <a:gd name="T32" fmla="*/ 363 w 412"/>
                <a:gd name="T33" fmla="*/ 495 h 578"/>
                <a:gd name="T34" fmla="*/ 363 w 412"/>
                <a:gd name="T35" fmla="*/ 497 h 578"/>
                <a:gd name="T36" fmla="*/ 366 w 412"/>
                <a:gd name="T37" fmla="*/ 502 h 578"/>
                <a:gd name="T38" fmla="*/ 367 w 412"/>
                <a:gd name="T39" fmla="*/ 509 h 578"/>
                <a:gd name="T40" fmla="*/ 367 w 412"/>
                <a:gd name="T41" fmla="*/ 518 h 578"/>
                <a:gd name="T42" fmla="*/ 373 w 412"/>
                <a:gd name="T43" fmla="*/ 544 h 578"/>
                <a:gd name="T44" fmla="*/ 374 w 412"/>
                <a:gd name="T45" fmla="*/ 557 h 578"/>
                <a:gd name="T46" fmla="*/ 376 w 412"/>
                <a:gd name="T47" fmla="*/ 560 h 578"/>
                <a:gd name="T48" fmla="*/ 374 w 412"/>
                <a:gd name="T49" fmla="*/ 565 h 578"/>
                <a:gd name="T50" fmla="*/ 374 w 412"/>
                <a:gd name="T51" fmla="*/ 565 h 578"/>
                <a:gd name="T52" fmla="*/ 373 w 412"/>
                <a:gd name="T53" fmla="*/ 565 h 578"/>
                <a:gd name="T54" fmla="*/ 372 w 412"/>
                <a:gd name="T55" fmla="*/ 565 h 578"/>
                <a:gd name="T56" fmla="*/ 370 w 412"/>
                <a:gd name="T57" fmla="*/ 567 h 578"/>
                <a:gd name="T58" fmla="*/ 372 w 412"/>
                <a:gd name="T59" fmla="*/ 575 h 578"/>
                <a:gd name="T60" fmla="*/ 369 w 412"/>
                <a:gd name="T61" fmla="*/ 575 h 578"/>
                <a:gd name="T62" fmla="*/ 337 w 412"/>
                <a:gd name="T63" fmla="*/ 544 h 578"/>
                <a:gd name="T64" fmla="*/ 307 w 412"/>
                <a:gd name="T65" fmla="*/ 516 h 578"/>
                <a:gd name="T66" fmla="*/ 286 w 412"/>
                <a:gd name="T67" fmla="*/ 497 h 578"/>
                <a:gd name="T68" fmla="*/ 262 w 412"/>
                <a:gd name="T69" fmla="*/ 474 h 578"/>
                <a:gd name="T70" fmla="*/ 231 w 412"/>
                <a:gd name="T71" fmla="*/ 446 h 578"/>
                <a:gd name="T72" fmla="*/ 212 w 412"/>
                <a:gd name="T73" fmla="*/ 428 h 578"/>
                <a:gd name="T74" fmla="*/ 189 w 412"/>
                <a:gd name="T75" fmla="*/ 408 h 578"/>
                <a:gd name="T76" fmla="*/ 168 w 412"/>
                <a:gd name="T77" fmla="*/ 389 h 578"/>
                <a:gd name="T78" fmla="*/ 146 w 412"/>
                <a:gd name="T79" fmla="*/ 369 h 578"/>
                <a:gd name="T80" fmla="*/ 112 w 412"/>
                <a:gd name="T81" fmla="*/ 341 h 578"/>
                <a:gd name="T82" fmla="*/ 69 w 412"/>
                <a:gd name="T83" fmla="*/ 303 h 578"/>
                <a:gd name="T84" fmla="*/ 13 w 412"/>
                <a:gd name="T85" fmla="*/ 257 h 578"/>
                <a:gd name="T86" fmla="*/ 0 w 412"/>
                <a:gd name="T87" fmla="*/ 219 h 578"/>
                <a:gd name="T88" fmla="*/ 114 w 412"/>
                <a:gd name="T89" fmla="*/ 0 h 578"/>
                <a:gd name="T90" fmla="*/ 199 w 412"/>
                <a:gd name="T91" fmla="*/ 0 h 578"/>
                <a:gd name="T92" fmla="*/ 341 w 412"/>
                <a:gd name="T93" fmla="*/ 0 h 578"/>
                <a:gd name="T94" fmla="*/ 412 w 412"/>
                <a:gd name="T95" fmla="*/ 2 h 578"/>
                <a:gd name="T96" fmla="*/ 412 w 412"/>
                <a:gd name="T97" fmla="*/ 55 h 578"/>
                <a:gd name="T98" fmla="*/ 412 w 412"/>
                <a:gd name="T99" fmla="*/ 100 h 578"/>
                <a:gd name="T100" fmla="*/ 412 w 412"/>
                <a:gd name="T101" fmla="*/ 334 h 578"/>
                <a:gd name="T102" fmla="*/ 412 w 412"/>
                <a:gd name="T103" fmla="*/ 403 h 578"/>
                <a:gd name="T104" fmla="*/ 412 w 412"/>
                <a:gd name="T105" fmla="*/ 414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12" h="578">
                  <a:moveTo>
                    <a:pt x="412" y="414"/>
                  </a:moveTo>
                  <a:lnTo>
                    <a:pt x="412" y="419"/>
                  </a:lnTo>
                  <a:lnTo>
                    <a:pt x="412" y="478"/>
                  </a:lnTo>
                  <a:lnTo>
                    <a:pt x="407" y="490"/>
                  </a:lnTo>
                  <a:lnTo>
                    <a:pt x="405" y="491"/>
                  </a:lnTo>
                  <a:lnTo>
                    <a:pt x="405" y="491"/>
                  </a:lnTo>
                  <a:lnTo>
                    <a:pt x="404" y="491"/>
                  </a:lnTo>
                  <a:lnTo>
                    <a:pt x="403" y="492"/>
                  </a:lnTo>
                  <a:lnTo>
                    <a:pt x="401" y="492"/>
                  </a:lnTo>
                  <a:lnTo>
                    <a:pt x="400" y="492"/>
                  </a:lnTo>
                  <a:lnTo>
                    <a:pt x="398" y="492"/>
                  </a:lnTo>
                  <a:lnTo>
                    <a:pt x="397" y="492"/>
                  </a:lnTo>
                  <a:lnTo>
                    <a:pt x="397" y="491"/>
                  </a:lnTo>
                  <a:lnTo>
                    <a:pt x="396" y="491"/>
                  </a:lnTo>
                  <a:lnTo>
                    <a:pt x="394" y="490"/>
                  </a:lnTo>
                  <a:lnTo>
                    <a:pt x="394" y="488"/>
                  </a:lnTo>
                  <a:lnTo>
                    <a:pt x="394" y="488"/>
                  </a:lnTo>
                  <a:lnTo>
                    <a:pt x="394" y="487"/>
                  </a:lnTo>
                  <a:lnTo>
                    <a:pt x="393" y="485"/>
                  </a:lnTo>
                  <a:lnTo>
                    <a:pt x="393" y="485"/>
                  </a:lnTo>
                  <a:lnTo>
                    <a:pt x="393" y="484"/>
                  </a:lnTo>
                  <a:lnTo>
                    <a:pt x="390" y="483"/>
                  </a:lnTo>
                  <a:lnTo>
                    <a:pt x="390" y="483"/>
                  </a:lnTo>
                  <a:lnTo>
                    <a:pt x="390" y="483"/>
                  </a:lnTo>
                  <a:lnTo>
                    <a:pt x="377" y="481"/>
                  </a:lnTo>
                  <a:lnTo>
                    <a:pt x="376" y="481"/>
                  </a:lnTo>
                  <a:lnTo>
                    <a:pt x="372" y="483"/>
                  </a:lnTo>
                  <a:lnTo>
                    <a:pt x="367" y="484"/>
                  </a:lnTo>
                  <a:lnTo>
                    <a:pt x="366" y="485"/>
                  </a:lnTo>
                  <a:lnTo>
                    <a:pt x="366" y="485"/>
                  </a:lnTo>
                  <a:lnTo>
                    <a:pt x="365" y="487"/>
                  </a:lnTo>
                  <a:lnTo>
                    <a:pt x="365" y="487"/>
                  </a:lnTo>
                  <a:lnTo>
                    <a:pt x="365" y="488"/>
                  </a:lnTo>
                  <a:lnTo>
                    <a:pt x="363" y="495"/>
                  </a:lnTo>
                  <a:lnTo>
                    <a:pt x="363" y="495"/>
                  </a:lnTo>
                  <a:lnTo>
                    <a:pt x="363" y="497"/>
                  </a:lnTo>
                  <a:lnTo>
                    <a:pt x="365" y="498"/>
                  </a:lnTo>
                  <a:lnTo>
                    <a:pt x="366" y="502"/>
                  </a:lnTo>
                  <a:lnTo>
                    <a:pt x="367" y="508"/>
                  </a:lnTo>
                  <a:lnTo>
                    <a:pt x="367" y="509"/>
                  </a:lnTo>
                  <a:lnTo>
                    <a:pt x="367" y="516"/>
                  </a:lnTo>
                  <a:lnTo>
                    <a:pt x="367" y="518"/>
                  </a:lnTo>
                  <a:lnTo>
                    <a:pt x="369" y="529"/>
                  </a:lnTo>
                  <a:lnTo>
                    <a:pt x="373" y="544"/>
                  </a:lnTo>
                  <a:lnTo>
                    <a:pt x="374" y="548"/>
                  </a:lnTo>
                  <a:lnTo>
                    <a:pt x="374" y="557"/>
                  </a:lnTo>
                  <a:lnTo>
                    <a:pt x="376" y="558"/>
                  </a:lnTo>
                  <a:lnTo>
                    <a:pt x="376" y="560"/>
                  </a:lnTo>
                  <a:lnTo>
                    <a:pt x="374" y="564"/>
                  </a:lnTo>
                  <a:lnTo>
                    <a:pt x="374" y="565"/>
                  </a:lnTo>
                  <a:lnTo>
                    <a:pt x="374" y="565"/>
                  </a:lnTo>
                  <a:lnTo>
                    <a:pt x="374" y="565"/>
                  </a:lnTo>
                  <a:lnTo>
                    <a:pt x="373" y="565"/>
                  </a:lnTo>
                  <a:lnTo>
                    <a:pt x="373" y="565"/>
                  </a:lnTo>
                  <a:lnTo>
                    <a:pt x="372" y="565"/>
                  </a:lnTo>
                  <a:lnTo>
                    <a:pt x="372" y="565"/>
                  </a:lnTo>
                  <a:lnTo>
                    <a:pt x="370" y="567"/>
                  </a:lnTo>
                  <a:lnTo>
                    <a:pt x="370" y="567"/>
                  </a:lnTo>
                  <a:lnTo>
                    <a:pt x="370" y="574"/>
                  </a:lnTo>
                  <a:lnTo>
                    <a:pt x="372" y="575"/>
                  </a:lnTo>
                  <a:lnTo>
                    <a:pt x="372" y="578"/>
                  </a:lnTo>
                  <a:lnTo>
                    <a:pt x="369" y="575"/>
                  </a:lnTo>
                  <a:lnTo>
                    <a:pt x="346" y="553"/>
                  </a:lnTo>
                  <a:lnTo>
                    <a:pt x="337" y="544"/>
                  </a:lnTo>
                  <a:lnTo>
                    <a:pt x="328" y="536"/>
                  </a:lnTo>
                  <a:lnTo>
                    <a:pt x="307" y="516"/>
                  </a:lnTo>
                  <a:lnTo>
                    <a:pt x="293" y="504"/>
                  </a:lnTo>
                  <a:lnTo>
                    <a:pt x="286" y="497"/>
                  </a:lnTo>
                  <a:lnTo>
                    <a:pt x="275" y="485"/>
                  </a:lnTo>
                  <a:lnTo>
                    <a:pt x="262" y="474"/>
                  </a:lnTo>
                  <a:lnTo>
                    <a:pt x="243" y="456"/>
                  </a:lnTo>
                  <a:lnTo>
                    <a:pt x="231" y="446"/>
                  </a:lnTo>
                  <a:lnTo>
                    <a:pt x="222" y="436"/>
                  </a:lnTo>
                  <a:lnTo>
                    <a:pt x="212" y="428"/>
                  </a:lnTo>
                  <a:lnTo>
                    <a:pt x="201" y="418"/>
                  </a:lnTo>
                  <a:lnTo>
                    <a:pt x="189" y="408"/>
                  </a:lnTo>
                  <a:lnTo>
                    <a:pt x="178" y="398"/>
                  </a:lnTo>
                  <a:lnTo>
                    <a:pt x="168" y="389"/>
                  </a:lnTo>
                  <a:lnTo>
                    <a:pt x="156" y="379"/>
                  </a:lnTo>
                  <a:lnTo>
                    <a:pt x="146" y="369"/>
                  </a:lnTo>
                  <a:lnTo>
                    <a:pt x="124" y="351"/>
                  </a:lnTo>
                  <a:lnTo>
                    <a:pt x="112" y="341"/>
                  </a:lnTo>
                  <a:lnTo>
                    <a:pt x="77" y="311"/>
                  </a:lnTo>
                  <a:lnTo>
                    <a:pt x="69" y="303"/>
                  </a:lnTo>
                  <a:lnTo>
                    <a:pt x="34" y="274"/>
                  </a:lnTo>
                  <a:lnTo>
                    <a:pt x="13" y="257"/>
                  </a:lnTo>
                  <a:lnTo>
                    <a:pt x="0" y="247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114" y="0"/>
                  </a:lnTo>
                  <a:lnTo>
                    <a:pt x="149" y="0"/>
                  </a:lnTo>
                  <a:lnTo>
                    <a:pt x="199" y="0"/>
                  </a:lnTo>
                  <a:lnTo>
                    <a:pt x="209" y="0"/>
                  </a:lnTo>
                  <a:lnTo>
                    <a:pt x="341" y="0"/>
                  </a:lnTo>
                  <a:lnTo>
                    <a:pt x="412" y="0"/>
                  </a:lnTo>
                  <a:lnTo>
                    <a:pt x="412" y="2"/>
                  </a:lnTo>
                  <a:lnTo>
                    <a:pt x="412" y="7"/>
                  </a:lnTo>
                  <a:lnTo>
                    <a:pt x="412" y="55"/>
                  </a:lnTo>
                  <a:lnTo>
                    <a:pt x="412" y="76"/>
                  </a:lnTo>
                  <a:lnTo>
                    <a:pt x="412" y="100"/>
                  </a:lnTo>
                  <a:lnTo>
                    <a:pt x="412" y="136"/>
                  </a:lnTo>
                  <a:lnTo>
                    <a:pt x="412" y="334"/>
                  </a:lnTo>
                  <a:lnTo>
                    <a:pt x="412" y="337"/>
                  </a:lnTo>
                  <a:lnTo>
                    <a:pt x="412" y="403"/>
                  </a:lnTo>
                  <a:lnTo>
                    <a:pt x="412" y="411"/>
                  </a:lnTo>
                  <a:lnTo>
                    <a:pt x="412" y="414"/>
                  </a:lnTo>
                  <a:close/>
                </a:path>
              </a:pathLst>
            </a:custGeom>
            <a:solidFill>
              <a:srgbClr val="FFC000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92" name="Freeform 164"/>
            <p:cNvSpPr>
              <a:spLocks/>
            </p:cNvSpPr>
            <p:nvPr/>
          </p:nvSpPr>
          <p:spPr bwMode="auto">
            <a:xfrm>
              <a:off x="3355512" y="2069358"/>
              <a:ext cx="1445672" cy="659365"/>
            </a:xfrm>
            <a:custGeom>
              <a:avLst/>
              <a:gdLst>
                <a:gd name="T0" fmla="*/ 471 w 831"/>
                <a:gd name="T1" fmla="*/ 330 h 379"/>
                <a:gd name="T2" fmla="*/ 344 w 831"/>
                <a:gd name="T3" fmla="*/ 372 h 379"/>
                <a:gd name="T4" fmla="*/ 333 w 831"/>
                <a:gd name="T5" fmla="*/ 362 h 379"/>
                <a:gd name="T6" fmla="*/ 326 w 831"/>
                <a:gd name="T7" fmla="*/ 354 h 379"/>
                <a:gd name="T8" fmla="*/ 318 w 831"/>
                <a:gd name="T9" fmla="*/ 352 h 379"/>
                <a:gd name="T10" fmla="*/ 312 w 831"/>
                <a:gd name="T11" fmla="*/ 362 h 379"/>
                <a:gd name="T12" fmla="*/ 305 w 831"/>
                <a:gd name="T13" fmla="*/ 366 h 379"/>
                <a:gd name="T14" fmla="*/ 291 w 831"/>
                <a:gd name="T15" fmla="*/ 368 h 379"/>
                <a:gd name="T16" fmla="*/ 287 w 831"/>
                <a:gd name="T17" fmla="*/ 366 h 379"/>
                <a:gd name="T18" fmla="*/ 273 w 831"/>
                <a:gd name="T19" fmla="*/ 368 h 379"/>
                <a:gd name="T20" fmla="*/ 262 w 831"/>
                <a:gd name="T21" fmla="*/ 365 h 379"/>
                <a:gd name="T22" fmla="*/ 248 w 831"/>
                <a:gd name="T23" fmla="*/ 373 h 379"/>
                <a:gd name="T24" fmla="*/ 227 w 831"/>
                <a:gd name="T25" fmla="*/ 372 h 379"/>
                <a:gd name="T26" fmla="*/ 221 w 831"/>
                <a:gd name="T27" fmla="*/ 378 h 379"/>
                <a:gd name="T28" fmla="*/ 207 w 831"/>
                <a:gd name="T29" fmla="*/ 361 h 379"/>
                <a:gd name="T30" fmla="*/ 200 w 831"/>
                <a:gd name="T31" fmla="*/ 348 h 379"/>
                <a:gd name="T32" fmla="*/ 196 w 831"/>
                <a:gd name="T33" fmla="*/ 345 h 379"/>
                <a:gd name="T34" fmla="*/ 190 w 831"/>
                <a:gd name="T35" fmla="*/ 347 h 379"/>
                <a:gd name="T36" fmla="*/ 180 w 831"/>
                <a:gd name="T37" fmla="*/ 343 h 379"/>
                <a:gd name="T38" fmla="*/ 178 w 831"/>
                <a:gd name="T39" fmla="*/ 334 h 379"/>
                <a:gd name="T40" fmla="*/ 179 w 831"/>
                <a:gd name="T41" fmla="*/ 329 h 379"/>
                <a:gd name="T42" fmla="*/ 171 w 831"/>
                <a:gd name="T43" fmla="*/ 317 h 379"/>
                <a:gd name="T44" fmla="*/ 155 w 831"/>
                <a:gd name="T45" fmla="*/ 281 h 379"/>
                <a:gd name="T46" fmla="*/ 145 w 831"/>
                <a:gd name="T47" fmla="*/ 274 h 379"/>
                <a:gd name="T48" fmla="*/ 140 w 831"/>
                <a:gd name="T49" fmla="*/ 272 h 379"/>
                <a:gd name="T50" fmla="*/ 120 w 831"/>
                <a:gd name="T51" fmla="*/ 291 h 379"/>
                <a:gd name="T52" fmla="*/ 103 w 831"/>
                <a:gd name="T53" fmla="*/ 265 h 379"/>
                <a:gd name="T54" fmla="*/ 110 w 831"/>
                <a:gd name="T55" fmla="*/ 260 h 379"/>
                <a:gd name="T56" fmla="*/ 115 w 831"/>
                <a:gd name="T57" fmla="*/ 257 h 379"/>
                <a:gd name="T58" fmla="*/ 109 w 831"/>
                <a:gd name="T59" fmla="*/ 249 h 379"/>
                <a:gd name="T60" fmla="*/ 109 w 831"/>
                <a:gd name="T61" fmla="*/ 226 h 379"/>
                <a:gd name="T62" fmla="*/ 119 w 831"/>
                <a:gd name="T63" fmla="*/ 193 h 379"/>
                <a:gd name="T64" fmla="*/ 116 w 831"/>
                <a:gd name="T65" fmla="*/ 191 h 379"/>
                <a:gd name="T66" fmla="*/ 109 w 831"/>
                <a:gd name="T67" fmla="*/ 194 h 379"/>
                <a:gd name="T68" fmla="*/ 100 w 831"/>
                <a:gd name="T69" fmla="*/ 194 h 379"/>
                <a:gd name="T70" fmla="*/ 96 w 831"/>
                <a:gd name="T71" fmla="*/ 191 h 379"/>
                <a:gd name="T72" fmla="*/ 77 w 831"/>
                <a:gd name="T73" fmla="*/ 176 h 379"/>
                <a:gd name="T74" fmla="*/ 72 w 831"/>
                <a:gd name="T75" fmla="*/ 167 h 379"/>
                <a:gd name="T76" fmla="*/ 49 w 831"/>
                <a:gd name="T77" fmla="*/ 143 h 379"/>
                <a:gd name="T78" fmla="*/ 28 w 831"/>
                <a:gd name="T79" fmla="*/ 125 h 379"/>
                <a:gd name="T80" fmla="*/ 19 w 831"/>
                <a:gd name="T81" fmla="*/ 106 h 379"/>
                <a:gd name="T82" fmla="*/ 15 w 831"/>
                <a:gd name="T83" fmla="*/ 100 h 379"/>
                <a:gd name="T84" fmla="*/ 7 w 831"/>
                <a:gd name="T85" fmla="*/ 90 h 379"/>
                <a:gd name="T86" fmla="*/ 60 w 831"/>
                <a:gd name="T87" fmla="*/ 0 h 379"/>
                <a:gd name="T88" fmla="*/ 207 w 831"/>
                <a:gd name="T89" fmla="*/ 0 h 379"/>
                <a:gd name="T90" fmla="*/ 419 w 831"/>
                <a:gd name="T91" fmla="*/ 0 h 379"/>
                <a:gd name="T92" fmla="*/ 762 w 831"/>
                <a:gd name="T93" fmla="*/ 0 h 379"/>
                <a:gd name="T94" fmla="*/ 830 w 831"/>
                <a:gd name="T95" fmla="*/ 72 h 379"/>
                <a:gd name="T96" fmla="*/ 830 w 831"/>
                <a:gd name="T97" fmla="*/ 184 h 379"/>
                <a:gd name="T98" fmla="*/ 830 w 831"/>
                <a:gd name="T99" fmla="*/ 285 h 379"/>
                <a:gd name="T100" fmla="*/ 831 w 831"/>
                <a:gd name="T101" fmla="*/ 31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31" h="379">
                  <a:moveTo>
                    <a:pt x="825" y="330"/>
                  </a:moveTo>
                  <a:lnTo>
                    <a:pt x="807" y="330"/>
                  </a:lnTo>
                  <a:lnTo>
                    <a:pt x="750" y="330"/>
                  </a:lnTo>
                  <a:lnTo>
                    <a:pt x="611" y="330"/>
                  </a:lnTo>
                  <a:lnTo>
                    <a:pt x="471" y="330"/>
                  </a:lnTo>
                  <a:lnTo>
                    <a:pt x="344" y="330"/>
                  </a:lnTo>
                  <a:lnTo>
                    <a:pt x="344" y="357"/>
                  </a:lnTo>
                  <a:lnTo>
                    <a:pt x="344" y="372"/>
                  </a:lnTo>
                  <a:lnTo>
                    <a:pt x="344" y="372"/>
                  </a:lnTo>
                  <a:lnTo>
                    <a:pt x="344" y="372"/>
                  </a:lnTo>
                  <a:lnTo>
                    <a:pt x="343" y="372"/>
                  </a:lnTo>
                  <a:lnTo>
                    <a:pt x="340" y="371"/>
                  </a:lnTo>
                  <a:lnTo>
                    <a:pt x="333" y="364"/>
                  </a:lnTo>
                  <a:lnTo>
                    <a:pt x="333" y="364"/>
                  </a:lnTo>
                  <a:lnTo>
                    <a:pt x="333" y="362"/>
                  </a:lnTo>
                  <a:lnTo>
                    <a:pt x="333" y="361"/>
                  </a:lnTo>
                  <a:lnTo>
                    <a:pt x="333" y="361"/>
                  </a:lnTo>
                  <a:lnTo>
                    <a:pt x="333" y="359"/>
                  </a:lnTo>
                  <a:lnTo>
                    <a:pt x="332" y="359"/>
                  </a:lnTo>
                  <a:lnTo>
                    <a:pt x="326" y="354"/>
                  </a:lnTo>
                  <a:lnTo>
                    <a:pt x="323" y="350"/>
                  </a:lnTo>
                  <a:lnTo>
                    <a:pt x="322" y="350"/>
                  </a:lnTo>
                  <a:lnTo>
                    <a:pt x="322" y="350"/>
                  </a:lnTo>
                  <a:lnTo>
                    <a:pt x="322" y="350"/>
                  </a:lnTo>
                  <a:lnTo>
                    <a:pt x="318" y="352"/>
                  </a:lnTo>
                  <a:lnTo>
                    <a:pt x="316" y="352"/>
                  </a:lnTo>
                  <a:lnTo>
                    <a:pt x="316" y="354"/>
                  </a:lnTo>
                  <a:lnTo>
                    <a:pt x="315" y="354"/>
                  </a:lnTo>
                  <a:lnTo>
                    <a:pt x="314" y="359"/>
                  </a:lnTo>
                  <a:lnTo>
                    <a:pt x="312" y="362"/>
                  </a:lnTo>
                  <a:lnTo>
                    <a:pt x="312" y="362"/>
                  </a:lnTo>
                  <a:lnTo>
                    <a:pt x="312" y="364"/>
                  </a:lnTo>
                  <a:lnTo>
                    <a:pt x="314" y="365"/>
                  </a:lnTo>
                  <a:lnTo>
                    <a:pt x="312" y="366"/>
                  </a:lnTo>
                  <a:lnTo>
                    <a:pt x="305" y="366"/>
                  </a:lnTo>
                  <a:lnTo>
                    <a:pt x="295" y="368"/>
                  </a:lnTo>
                  <a:lnTo>
                    <a:pt x="293" y="369"/>
                  </a:lnTo>
                  <a:lnTo>
                    <a:pt x="291" y="369"/>
                  </a:lnTo>
                  <a:lnTo>
                    <a:pt x="291" y="369"/>
                  </a:lnTo>
                  <a:lnTo>
                    <a:pt x="291" y="368"/>
                  </a:lnTo>
                  <a:lnTo>
                    <a:pt x="290" y="368"/>
                  </a:lnTo>
                  <a:lnTo>
                    <a:pt x="288" y="366"/>
                  </a:lnTo>
                  <a:lnTo>
                    <a:pt x="288" y="366"/>
                  </a:lnTo>
                  <a:lnTo>
                    <a:pt x="288" y="366"/>
                  </a:lnTo>
                  <a:lnTo>
                    <a:pt x="287" y="366"/>
                  </a:lnTo>
                  <a:lnTo>
                    <a:pt x="284" y="366"/>
                  </a:lnTo>
                  <a:lnTo>
                    <a:pt x="284" y="366"/>
                  </a:lnTo>
                  <a:lnTo>
                    <a:pt x="284" y="366"/>
                  </a:lnTo>
                  <a:lnTo>
                    <a:pt x="279" y="368"/>
                  </a:lnTo>
                  <a:lnTo>
                    <a:pt x="273" y="368"/>
                  </a:lnTo>
                  <a:lnTo>
                    <a:pt x="273" y="368"/>
                  </a:lnTo>
                  <a:lnTo>
                    <a:pt x="272" y="368"/>
                  </a:lnTo>
                  <a:lnTo>
                    <a:pt x="269" y="366"/>
                  </a:lnTo>
                  <a:lnTo>
                    <a:pt x="263" y="365"/>
                  </a:lnTo>
                  <a:lnTo>
                    <a:pt x="262" y="365"/>
                  </a:lnTo>
                  <a:lnTo>
                    <a:pt x="262" y="365"/>
                  </a:lnTo>
                  <a:lnTo>
                    <a:pt x="258" y="368"/>
                  </a:lnTo>
                  <a:lnTo>
                    <a:pt x="256" y="368"/>
                  </a:lnTo>
                  <a:lnTo>
                    <a:pt x="256" y="368"/>
                  </a:lnTo>
                  <a:lnTo>
                    <a:pt x="248" y="373"/>
                  </a:lnTo>
                  <a:lnTo>
                    <a:pt x="232" y="371"/>
                  </a:lnTo>
                  <a:lnTo>
                    <a:pt x="232" y="371"/>
                  </a:lnTo>
                  <a:lnTo>
                    <a:pt x="231" y="371"/>
                  </a:lnTo>
                  <a:lnTo>
                    <a:pt x="227" y="372"/>
                  </a:lnTo>
                  <a:lnTo>
                    <a:pt x="227" y="372"/>
                  </a:lnTo>
                  <a:lnTo>
                    <a:pt x="222" y="376"/>
                  </a:lnTo>
                  <a:lnTo>
                    <a:pt x="222" y="376"/>
                  </a:lnTo>
                  <a:lnTo>
                    <a:pt x="221" y="378"/>
                  </a:lnTo>
                  <a:lnTo>
                    <a:pt x="221" y="378"/>
                  </a:lnTo>
                  <a:lnTo>
                    <a:pt x="221" y="378"/>
                  </a:lnTo>
                  <a:lnTo>
                    <a:pt x="220" y="379"/>
                  </a:lnTo>
                  <a:lnTo>
                    <a:pt x="215" y="378"/>
                  </a:lnTo>
                  <a:lnTo>
                    <a:pt x="210" y="375"/>
                  </a:lnTo>
                  <a:lnTo>
                    <a:pt x="208" y="372"/>
                  </a:lnTo>
                  <a:lnTo>
                    <a:pt x="207" y="361"/>
                  </a:lnTo>
                  <a:lnTo>
                    <a:pt x="207" y="359"/>
                  </a:lnTo>
                  <a:lnTo>
                    <a:pt x="207" y="359"/>
                  </a:lnTo>
                  <a:lnTo>
                    <a:pt x="203" y="352"/>
                  </a:lnTo>
                  <a:lnTo>
                    <a:pt x="203" y="351"/>
                  </a:lnTo>
                  <a:lnTo>
                    <a:pt x="200" y="348"/>
                  </a:lnTo>
                  <a:lnTo>
                    <a:pt x="199" y="348"/>
                  </a:lnTo>
                  <a:lnTo>
                    <a:pt x="199" y="347"/>
                  </a:lnTo>
                  <a:lnTo>
                    <a:pt x="197" y="347"/>
                  </a:lnTo>
                  <a:lnTo>
                    <a:pt x="196" y="345"/>
                  </a:lnTo>
                  <a:lnTo>
                    <a:pt x="196" y="345"/>
                  </a:lnTo>
                  <a:lnTo>
                    <a:pt x="194" y="345"/>
                  </a:lnTo>
                  <a:lnTo>
                    <a:pt x="192" y="345"/>
                  </a:lnTo>
                  <a:lnTo>
                    <a:pt x="192" y="345"/>
                  </a:lnTo>
                  <a:lnTo>
                    <a:pt x="190" y="347"/>
                  </a:lnTo>
                  <a:lnTo>
                    <a:pt x="190" y="347"/>
                  </a:lnTo>
                  <a:lnTo>
                    <a:pt x="189" y="347"/>
                  </a:lnTo>
                  <a:lnTo>
                    <a:pt x="189" y="347"/>
                  </a:lnTo>
                  <a:lnTo>
                    <a:pt x="187" y="347"/>
                  </a:lnTo>
                  <a:lnTo>
                    <a:pt x="186" y="347"/>
                  </a:lnTo>
                  <a:lnTo>
                    <a:pt x="180" y="343"/>
                  </a:lnTo>
                  <a:lnTo>
                    <a:pt x="179" y="341"/>
                  </a:lnTo>
                  <a:lnTo>
                    <a:pt x="176" y="336"/>
                  </a:lnTo>
                  <a:lnTo>
                    <a:pt x="176" y="336"/>
                  </a:lnTo>
                  <a:lnTo>
                    <a:pt x="176" y="334"/>
                  </a:lnTo>
                  <a:lnTo>
                    <a:pt x="178" y="334"/>
                  </a:lnTo>
                  <a:lnTo>
                    <a:pt x="179" y="334"/>
                  </a:lnTo>
                  <a:lnTo>
                    <a:pt x="179" y="334"/>
                  </a:lnTo>
                  <a:lnTo>
                    <a:pt x="179" y="333"/>
                  </a:lnTo>
                  <a:lnTo>
                    <a:pt x="180" y="330"/>
                  </a:lnTo>
                  <a:lnTo>
                    <a:pt x="179" y="329"/>
                  </a:lnTo>
                  <a:lnTo>
                    <a:pt x="179" y="329"/>
                  </a:lnTo>
                  <a:lnTo>
                    <a:pt x="179" y="326"/>
                  </a:lnTo>
                  <a:lnTo>
                    <a:pt x="178" y="326"/>
                  </a:lnTo>
                  <a:lnTo>
                    <a:pt x="175" y="322"/>
                  </a:lnTo>
                  <a:lnTo>
                    <a:pt x="171" y="317"/>
                  </a:lnTo>
                  <a:lnTo>
                    <a:pt x="164" y="309"/>
                  </a:lnTo>
                  <a:lnTo>
                    <a:pt x="164" y="309"/>
                  </a:lnTo>
                  <a:lnTo>
                    <a:pt x="159" y="305"/>
                  </a:lnTo>
                  <a:lnTo>
                    <a:pt x="158" y="292"/>
                  </a:lnTo>
                  <a:lnTo>
                    <a:pt x="155" y="281"/>
                  </a:lnTo>
                  <a:lnTo>
                    <a:pt x="155" y="281"/>
                  </a:lnTo>
                  <a:lnTo>
                    <a:pt x="155" y="281"/>
                  </a:lnTo>
                  <a:lnTo>
                    <a:pt x="155" y="279"/>
                  </a:lnTo>
                  <a:lnTo>
                    <a:pt x="147" y="274"/>
                  </a:lnTo>
                  <a:lnTo>
                    <a:pt x="145" y="274"/>
                  </a:lnTo>
                  <a:lnTo>
                    <a:pt x="143" y="272"/>
                  </a:lnTo>
                  <a:lnTo>
                    <a:pt x="141" y="272"/>
                  </a:lnTo>
                  <a:lnTo>
                    <a:pt x="141" y="272"/>
                  </a:lnTo>
                  <a:lnTo>
                    <a:pt x="141" y="272"/>
                  </a:lnTo>
                  <a:lnTo>
                    <a:pt x="140" y="272"/>
                  </a:lnTo>
                  <a:lnTo>
                    <a:pt x="141" y="274"/>
                  </a:lnTo>
                  <a:lnTo>
                    <a:pt x="133" y="282"/>
                  </a:lnTo>
                  <a:lnTo>
                    <a:pt x="123" y="289"/>
                  </a:lnTo>
                  <a:lnTo>
                    <a:pt x="120" y="291"/>
                  </a:lnTo>
                  <a:lnTo>
                    <a:pt x="120" y="291"/>
                  </a:lnTo>
                  <a:lnTo>
                    <a:pt x="119" y="291"/>
                  </a:lnTo>
                  <a:lnTo>
                    <a:pt x="116" y="288"/>
                  </a:lnTo>
                  <a:lnTo>
                    <a:pt x="106" y="284"/>
                  </a:lnTo>
                  <a:lnTo>
                    <a:pt x="102" y="267"/>
                  </a:lnTo>
                  <a:lnTo>
                    <a:pt x="103" y="265"/>
                  </a:lnTo>
                  <a:lnTo>
                    <a:pt x="106" y="260"/>
                  </a:lnTo>
                  <a:lnTo>
                    <a:pt x="108" y="260"/>
                  </a:lnTo>
                  <a:lnTo>
                    <a:pt x="108" y="260"/>
                  </a:lnTo>
                  <a:lnTo>
                    <a:pt x="109" y="260"/>
                  </a:lnTo>
                  <a:lnTo>
                    <a:pt x="110" y="260"/>
                  </a:lnTo>
                  <a:lnTo>
                    <a:pt x="110" y="260"/>
                  </a:lnTo>
                  <a:lnTo>
                    <a:pt x="110" y="260"/>
                  </a:lnTo>
                  <a:lnTo>
                    <a:pt x="112" y="260"/>
                  </a:lnTo>
                  <a:lnTo>
                    <a:pt x="113" y="257"/>
                  </a:lnTo>
                  <a:lnTo>
                    <a:pt x="115" y="257"/>
                  </a:lnTo>
                  <a:lnTo>
                    <a:pt x="115" y="257"/>
                  </a:lnTo>
                  <a:lnTo>
                    <a:pt x="115" y="256"/>
                  </a:lnTo>
                  <a:lnTo>
                    <a:pt x="112" y="251"/>
                  </a:lnTo>
                  <a:lnTo>
                    <a:pt x="110" y="249"/>
                  </a:lnTo>
                  <a:lnTo>
                    <a:pt x="109" y="249"/>
                  </a:lnTo>
                  <a:lnTo>
                    <a:pt x="109" y="247"/>
                  </a:lnTo>
                  <a:lnTo>
                    <a:pt x="108" y="247"/>
                  </a:lnTo>
                  <a:lnTo>
                    <a:pt x="108" y="247"/>
                  </a:lnTo>
                  <a:lnTo>
                    <a:pt x="108" y="243"/>
                  </a:lnTo>
                  <a:lnTo>
                    <a:pt x="109" y="226"/>
                  </a:lnTo>
                  <a:lnTo>
                    <a:pt x="113" y="216"/>
                  </a:lnTo>
                  <a:lnTo>
                    <a:pt x="119" y="197"/>
                  </a:lnTo>
                  <a:lnTo>
                    <a:pt x="119" y="195"/>
                  </a:lnTo>
                  <a:lnTo>
                    <a:pt x="119" y="193"/>
                  </a:lnTo>
                  <a:lnTo>
                    <a:pt x="119" y="193"/>
                  </a:lnTo>
                  <a:lnTo>
                    <a:pt x="117" y="193"/>
                  </a:lnTo>
                  <a:lnTo>
                    <a:pt x="117" y="191"/>
                  </a:lnTo>
                  <a:lnTo>
                    <a:pt x="117" y="191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5" y="193"/>
                  </a:lnTo>
                  <a:lnTo>
                    <a:pt x="112" y="193"/>
                  </a:lnTo>
                  <a:lnTo>
                    <a:pt x="112" y="193"/>
                  </a:lnTo>
                  <a:lnTo>
                    <a:pt x="110" y="193"/>
                  </a:lnTo>
                  <a:lnTo>
                    <a:pt x="109" y="194"/>
                  </a:lnTo>
                  <a:lnTo>
                    <a:pt x="109" y="194"/>
                  </a:lnTo>
                  <a:lnTo>
                    <a:pt x="108" y="194"/>
                  </a:lnTo>
                  <a:lnTo>
                    <a:pt x="102" y="194"/>
                  </a:lnTo>
                  <a:lnTo>
                    <a:pt x="100" y="194"/>
                  </a:lnTo>
                  <a:lnTo>
                    <a:pt x="100" y="194"/>
                  </a:lnTo>
                  <a:lnTo>
                    <a:pt x="99" y="194"/>
                  </a:lnTo>
                  <a:lnTo>
                    <a:pt x="99" y="194"/>
                  </a:lnTo>
                  <a:lnTo>
                    <a:pt x="98" y="193"/>
                  </a:lnTo>
                  <a:lnTo>
                    <a:pt x="96" y="193"/>
                  </a:lnTo>
                  <a:lnTo>
                    <a:pt x="96" y="191"/>
                  </a:lnTo>
                  <a:lnTo>
                    <a:pt x="78" y="179"/>
                  </a:lnTo>
                  <a:lnTo>
                    <a:pt x="78" y="179"/>
                  </a:lnTo>
                  <a:lnTo>
                    <a:pt x="78" y="177"/>
                  </a:lnTo>
                  <a:lnTo>
                    <a:pt x="77" y="176"/>
                  </a:lnTo>
                  <a:lnTo>
                    <a:pt x="77" y="176"/>
                  </a:lnTo>
                  <a:lnTo>
                    <a:pt x="77" y="174"/>
                  </a:lnTo>
                  <a:lnTo>
                    <a:pt x="77" y="173"/>
                  </a:lnTo>
                  <a:lnTo>
                    <a:pt x="75" y="170"/>
                  </a:lnTo>
                  <a:lnTo>
                    <a:pt x="72" y="167"/>
                  </a:lnTo>
                  <a:lnTo>
                    <a:pt x="72" y="167"/>
                  </a:lnTo>
                  <a:lnTo>
                    <a:pt x="58" y="153"/>
                  </a:lnTo>
                  <a:lnTo>
                    <a:pt x="50" y="145"/>
                  </a:lnTo>
                  <a:lnTo>
                    <a:pt x="50" y="143"/>
                  </a:lnTo>
                  <a:lnTo>
                    <a:pt x="49" y="143"/>
                  </a:lnTo>
                  <a:lnTo>
                    <a:pt x="49" y="143"/>
                  </a:lnTo>
                  <a:lnTo>
                    <a:pt x="49" y="143"/>
                  </a:lnTo>
                  <a:lnTo>
                    <a:pt x="43" y="141"/>
                  </a:lnTo>
                  <a:lnTo>
                    <a:pt x="35" y="136"/>
                  </a:lnTo>
                  <a:lnTo>
                    <a:pt x="30" y="132"/>
                  </a:lnTo>
                  <a:lnTo>
                    <a:pt x="28" y="125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2" y="107"/>
                  </a:lnTo>
                  <a:lnTo>
                    <a:pt x="22" y="107"/>
                  </a:lnTo>
                  <a:lnTo>
                    <a:pt x="19" y="106"/>
                  </a:lnTo>
                  <a:lnTo>
                    <a:pt x="19" y="106"/>
                  </a:lnTo>
                  <a:lnTo>
                    <a:pt x="15" y="101"/>
                  </a:lnTo>
                  <a:lnTo>
                    <a:pt x="15" y="101"/>
                  </a:lnTo>
                  <a:lnTo>
                    <a:pt x="15" y="100"/>
                  </a:lnTo>
                  <a:lnTo>
                    <a:pt x="15" y="100"/>
                  </a:lnTo>
                  <a:lnTo>
                    <a:pt x="14" y="99"/>
                  </a:lnTo>
                  <a:lnTo>
                    <a:pt x="14" y="97"/>
                  </a:lnTo>
                  <a:lnTo>
                    <a:pt x="14" y="96"/>
                  </a:lnTo>
                  <a:lnTo>
                    <a:pt x="12" y="96"/>
                  </a:lnTo>
                  <a:lnTo>
                    <a:pt x="7" y="90"/>
                  </a:lnTo>
                  <a:lnTo>
                    <a:pt x="0" y="83"/>
                  </a:lnTo>
                  <a:lnTo>
                    <a:pt x="0" y="0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60" y="0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37" y="0"/>
                  </a:lnTo>
                  <a:lnTo>
                    <a:pt x="138" y="0"/>
                  </a:lnTo>
                  <a:lnTo>
                    <a:pt x="207" y="0"/>
                  </a:lnTo>
                  <a:lnTo>
                    <a:pt x="267" y="0"/>
                  </a:lnTo>
                  <a:lnTo>
                    <a:pt x="371" y="0"/>
                  </a:lnTo>
                  <a:lnTo>
                    <a:pt x="403" y="0"/>
                  </a:lnTo>
                  <a:lnTo>
                    <a:pt x="417" y="0"/>
                  </a:lnTo>
                  <a:lnTo>
                    <a:pt x="419" y="0"/>
                  </a:lnTo>
                  <a:lnTo>
                    <a:pt x="430" y="0"/>
                  </a:lnTo>
                  <a:lnTo>
                    <a:pt x="594" y="0"/>
                  </a:lnTo>
                  <a:lnTo>
                    <a:pt x="642" y="0"/>
                  </a:lnTo>
                  <a:lnTo>
                    <a:pt x="743" y="0"/>
                  </a:lnTo>
                  <a:lnTo>
                    <a:pt x="762" y="0"/>
                  </a:lnTo>
                  <a:lnTo>
                    <a:pt x="821" y="0"/>
                  </a:lnTo>
                  <a:lnTo>
                    <a:pt x="828" y="0"/>
                  </a:lnTo>
                  <a:lnTo>
                    <a:pt x="828" y="10"/>
                  </a:lnTo>
                  <a:lnTo>
                    <a:pt x="830" y="62"/>
                  </a:lnTo>
                  <a:lnTo>
                    <a:pt x="830" y="72"/>
                  </a:lnTo>
                  <a:lnTo>
                    <a:pt x="830" y="92"/>
                  </a:lnTo>
                  <a:lnTo>
                    <a:pt x="830" y="106"/>
                  </a:lnTo>
                  <a:lnTo>
                    <a:pt x="830" y="135"/>
                  </a:lnTo>
                  <a:lnTo>
                    <a:pt x="830" y="150"/>
                  </a:lnTo>
                  <a:lnTo>
                    <a:pt x="830" y="184"/>
                  </a:lnTo>
                  <a:lnTo>
                    <a:pt x="830" y="222"/>
                  </a:lnTo>
                  <a:lnTo>
                    <a:pt x="830" y="247"/>
                  </a:lnTo>
                  <a:lnTo>
                    <a:pt x="830" y="253"/>
                  </a:lnTo>
                  <a:lnTo>
                    <a:pt x="830" y="258"/>
                  </a:lnTo>
                  <a:lnTo>
                    <a:pt x="830" y="285"/>
                  </a:lnTo>
                  <a:lnTo>
                    <a:pt x="831" y="301"/>
                  </a:lnTo>
                  <a:lnTo>
                    <a:pt x="831" y="302"/>
                  </a:lnTo>
                  <a:lnTo>
                    <a:pt x="831" y="308"/>
                  </a:lnTo>
                  <a:lnTo>
                    <a:pt x="831" y="315"/>
                  </a:lnTo>
                  <a:lnTo>
                    <a:pt x="831" y="319"/>
                  </a:lnTo>
                  <a:lnTo>
                    <a:pt x="831" y="329"/>
                  </a:lnTo>
                  <a:lnTo>
                    <a:pt x="831" y="330"/>
                  </a:lnTo>
                  <a:lnTo>
                    <a:pt x="828" y="330"/>
                  </a:lnTo>
                  <a:lnTo>
                    <a:pt x="825" y="330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sp>
          <p:nvSpPr>
            <p:cNvPr id="93" name="Freeform 165"/>
            <p:cNvSpPr>
              <a:spLocks/>
            </p:cNvSpPr>
            <p:nvPr/>
          </p:nvSpPr>
          <p:spPr bwMode="auto">
            <a:xfrm>
              <a:off x="3212858" y="2069358"/>
              <a:ext cx="741102" cy="1005574"/>
            </a:xfrm>
            <a:custGeom>
              <a:avLst/>
              <a:gdLst>
                <a:gd name="T0" fmla="*/ 14 w 426"/>
                <a:gd name="T1" fmla="*/ 574 h 578"/>
                <a:gd name="T2" fmla="*/ 23 w 426"/>
                <a:gd name="T3" fmla="*/ 399 h 578"/>
                <a:gd name="T4" fmla="*/ 16 w 426"/>
                <a:gd name="T5" fmla="*/ 390 h 578"/>
                <a:gd name="T6" fmla="*/ 4 w 426"/>
                <a:gd name="T7" fmla="*/ 390 h 578"/>
                <a:gd name="T8" fmla="*/ 0 w 426"/>
                <a:gd name="T9" fmla="*/ 380 h 578"/>
                <a:gd name="T10" fmla="*/ 13 w 426"/>
                <a:gd name="T11" fmla="*/ 352 h 578"/>
                <a:gd name="T12" fmla="*/ 18 w 426"/>
                <a:gd name="T13" fmla="*/ 348 h 578"/>
                <a:gd name="T14" fmla="*/ 27 w 426"/>
                <a:gd name="T15" fmla="*/ 336 h 578"/>
                <a:gd name="T16" fmla="*/ 44 w 426"/>
                <a:gd name="T17" fmla="*/ 295 h 578"/>
                <a:gd name="T18" fmla="*/ 53 w 426"/>
                <a:gd name="T19" fmla="*/ 278 h 578"/>
                <a:gd name="T20" fmla="*/ 37 w 426"/>
                <a:gd name="T21" fmla="*/ 261 h 578"/>
                <a:gd name="T22" fmla="*/ 32 w 426"/>
                <a:gd name="T23" fmla="*/ 261 h 578"/>
                <a:gd name="T24" fmla="*/ 20 w 426"/>
                <a:gd name="T25" fmla="*/ 237 h 578"/>
                <a:gd name="T26" fmla="*/ 20 w 426"/>
                <a:gd name="T27" fmla="*/ 226 h 578"/>
                <a:gd name="T28" fmla="*/ 13 w 426"/>
                <a:gd name="T29" fmla="*/ 153 h 578"/>
                <a:gd name="T30" fmla="*/ 13 w 426"/>
                <a:gd name="T31" fmla="*/ 2 h 578"/>
                <a:gd name="T32" fmla="*/ 82 w 426"/>
                <a:gd name="T33" fmla="*/ 83 h 578"/>
                <a:gd name="T34" fmla="*/ 97 w 426"/>
                <a:gd name="T35" fmla="*/ 100 h 578"/>
                <a:gd name="T36" fmla="*/ 101 w 426"/>
                <a:gd name="T37" fmla="*/ 106 h 578"/>
                <a:gd name="T38" fmla="*/ 110 w 426"/>
                <a:gd name="T39" fmla="*/ 125 h 578"/>
                <a:gd name="T40" fmla="*/ 131 w 426"/>
                <a:gd name="T41" fmla="*/ 143 h 578"/>
                <a:gd name="T42" fmla="*/ 154 w 426"/>
                <a:gd name="T43" fmla="*/ 167 h 578"/>
                <a:gd name="T44" fmla="*/ 159 w 426"/>
                <a:gd name="T45" fmla="*/ 176 h 578"/>
                <a:gd name="T46" fmla="*/ 178 w 426"/>
                <a:gd name="T47" fmla="*/ 191 h 578"/>
                <a:gd name="T48" fmla="*/ 182 w 426"/>
                <a:gd name="T49" fmla="*/ 194 h 578"/>
                <a:gd name="T50" fmla="*/ 191 w 426"/>
                <a:gd name="T51" fmla="*/ 194 h 578"/>
                <a:gd name="T52" fmla="*/ 198 w 426"/>
                <a:gd name="T53" fmla="*/ 191 h 578"/>
                <a:gd name="T54" fmla="*/ 201 w 426"/>
                <a:gd name="T55" fmla="*/ 193 h 578"/>
                <a:gd name="T56" fmla="*/ 191 w 426"/>
                <a:gd name="T57" fmla="*/ 226 h 578"/>
                <a:gd name="T58" fmla="*/ 191 w 426"/>
                <a:gd name="T59" fmla="*/ 249 h 578"/>
                <a:gd name="T60" fmla="*/ 197 w 426"/>
                <a:gd name="T61" fmla="*/ 257 h 578"/>
                <a:gd name="T62" fmla="*/ 192 w 426"/>
                <a:gd name="T63" fmla="*/ 260 h 578"/>
                <a:gd name="T64" fmla="*/ 185 w 426"/>
                <a:gd name="T65" fmla="*/ 265 h 578"/>
                <a:gd name="T66" fmla="*/ 202 w 426"/>
                <a:gd name="T67" fmla="*/ 291 h 578"/>
                <a:gd name="T68" fmla="*/ 222 w 426"/>
                <a:gd name="T69" fmla="*/ 274 h 578"/>
                <a:gd name="T70" fmla="*/ 227 w 426"/>
                <a:gd name="T71" fmla="*/ 274 h 578"/>
                <a:gd name="T72" fmla="*/ 237 w 426"/>
                <a:gd name="T73" fmla="*/ 281 h 578"/>
                <a:gd name="T74" fmla="*/ 253 w 426"/>
                <a:gd name="T75" fmla="*/ 317 h 578"/>
                <a:gd name="T76" fmla="*/ 261 w 426"/>
                <a:gd name="T77" fmla="*/ 329 h 578"/>
                <a:gd name="T78" fmla="*/ 260 w 426"/>
                <a:gd name="T79" fmla="*/ 334 h 578"/>
                <a:gd name="T80" fmla="*/ 262 w 426"/>
                <a:gd name="T81" fmla="*/ 343 h 578"/>
                <a:gd name="T82" fmla="*/ 272 w 426"/>
                <a:gd name="T83" fmla="*/ 347 h 578"/>
                <a:gd name="T84" fmla="*/ 278 w 426"/>
                <a:gd name="T85" fmla="*/ 345 h 578"/>
                <a:gd name="T86" fmla="*/ 282 w 426"/>
                <a:gd name="T87" fmla="*/ 348 h 578"/>
                <a:gd name="T88" fmla="*/ 289 w 426"/>
                <a:gd name="T89" fmla="*/ 361 h 578"/>
                <a:gd name="T90" fmla="*/ 303 w 426"/>
                <a:gd name="T91" fmla="*/ 378 h 578"/>
                <a:gd name="T92" fmla="*/ 309 w 426"/>
                <a:gd name="T93" fmla="*/ 372 h 578"/>
                <a:gd name="T94" fmla="*/ 330 w 426"/>
                <a:gd name="T95" fmla="*/ 373 h 578"/>
                <a:gd name="T96" fmla="*/ 344 w 426"/>
                <a:gd name="T97" fmla="*/ 365 h 578"/>
                <a:gd name="T98" fmla="*/ 355 w 426"/>
                <a:gd name="T99" fmla="*/ 368 h 578"/>
                <a:gd name="T100" fmla="*/ 369 w 426"/>
                <a:gd name="T101" fmla="*/ 366 h 578"/>
                <a:gd name="T102" fmla="*/ 373 w 426"/>
                <a:gd name="T103" fmla="*/ 368 h 578"/>
                <a:gd name="T104" fmla="*/ 387 w 426"/>
                <a:gd name="T105" fmla="*/ 366 h 578"/>
                <a:gd name="T106" fmla="*/ 394 w 426"/>
                <a:gd name="T107" fmla="*/ 362 h 578"/>
                <a:gd name="T108" fmla="*/ 400 w 426"/>
                <a:gd name="T109" fmla="*/ 352 h 578"/>
                <a:gd name="T110" fmla="*/ 408 w 426"/>
                <a:gd name="T111" fmla="*/ 354 h 578"/>
                <a:gd name="T112" fmla="*/ 415 w 426"/>
                <a:gd name="T113" fmla="*/ 362 h 578"/>
                <a:gd name="T114" fmla="*/ 426 w 426"/>
                <a:gd name="T115" fmla="*/ 372 h 578"/>
                <a:gd name="T116" fmla="*/ 426 w 426"/>
                <a:gd name="T117" fmla="*/ 441 h 578"/>
                <a:gd name="T118" fmla="*/ 220 w 426"/>
                <a:gd name="T119" fmla="*/ 578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578">
                  <a:moveTo>
                    <a:pt x="220" y="578"/>
                  </a:moveTo>
                  <a:lnTo>
                    <a:pt x="159" y="578"/>
                  </a:lnTo>
                  <a:lnTo>
                    <a:pt x="146" y="578"/>
                  </a:lnTo>
                  <a:lnTo>
                    <a:pt x="14" y="577"/>
                  </a:lnTo>
                  <a:lnTo>
                    <a:pt x="14" y="574"/>
                  </a:lnTo>
                  <a:lnTo>
                    <a:pt x="14" y="521"/>
                  </a:lnTo>
                  <a:lnTo>
                    <a:pt x="14" y="430"/>
                  </a:lnTo>
                  <a:lnTo>
                    <a:pt x="23" y="403"/>
                  </a:lnTo>
                  <a:lnTo>
                    <a:pt x="23" y="399"/>
                  </a:lnTo>
                  <a:lnTo>
                    <a:pt x="23" y="399"/>
                  </a:lnTo>
                  <a:lnTo>
                    <a:pt x="23" y="397"/>
                  </a:lnTo>
                  <a:lnTo>
                    <a:pt x="23" y="397"/>
                  </a:lnTo>
                  <a:lnTo>
                    <a:pt x="17" y="392"/>
                  </a:lnTo>
                  <a:lnTo>
                    <a:pt x="17" y="390"/>
                  </a:lnTo>
                  <a:lnTo>
                    <a:pt x="16" y="390"/>
                  </a:lnTo>
                  <a:lnTo>
                    <a:pt x="10" y="390"/>
                  </a:lnTo>
                  <a:lnTo>
                    <a:pt x="7" y="390"/>
                  </a:lnTo>
                  <a:lnTo>
                    <a:pt x="6" y="390"/>
                  </a:lnTo>
                  <a:lnTo>
                    <a:pt x="6" y="390"/>
                  </a:lnTo>
                  <a:lnTo>
                    <a:pt x="4" y="390"/>
                  </a:lnTo>
                  <a:lnTo>
                    <a:pt x="3" y="389"/>
                  </a:lnTo>
                  <a:lnTo>
                    <a:pt x="3" y="389"/>
                  </a:lnTo>
                  <a:lnTo>
                    <a:pt x="2" y="387"/>
                  </a:lnTo>
                  <a:lnTo>
                    <a:pt x="2" y="387"/>
                  </a:lnTo>
                  <a:lnTo>
                    <a:pt x="0" y="380"/>
                  </a:lnTo>
                  <a:lnTo>
                    <a:pt x="0" y="379"/>
                  </a:lnTo>
                  <a:lnTo>
                    <a:pt x="0" y="373"/>
                  </a:lnTo>
                  <a:lnTo>
                    <a:pt x="2" y="373"/>
                  </a:lnTo>
                  <a:lnTo>
                    <a:pt x="7" y="362"/>
                  </a:lnTo>
                  <a:lnTo>
                    <a:pt x="13" y="352"/>
                  </a:lnTo>
                  <a:lnTo>
                    <a:pt x="14" y="351"/>
                  </a:lnTo>
                  <a:lnTo>
                    <a:pt x="14" y="351"/>
                  </a:lnTo>
                  <a:lnTo>
                    <a:pt x="14" y="350"/>
                  </a:lnTo>
                  <a:lnTo>
                    <a:pt x="18" y="348"/>
                  </a:lnTo>
                  <a:lnTo>
                    <a:pt x="18" y="348"/>
                  </a:lnTo>
                  <a:lnTo>
                    <a:pt x="20" y="348"/>
                  </a:lnTo>
                  <a:lnTo>
                    <a:pt x="21" y="347"/>
                  </a:lnTo>
                  <a:lnTo>
                    <a:pt x="23" y="344"/>
                  </a:lnTo>
                  <a:lnTo>
                    <a:pt x="27" y="337"/>
                  </a:lnTo>
                  <a:lnTo>
                    <a:pt x="27" y="336"/>
                  </a:lnTo>
                  <a:lnTo>
                    <a:pt x="27" y="331"/>
                  </a:lnTo>
                  <a:lnTo>
                    <a:pt x="27" y="331"/>
                  </a:lnTo>
                  <a:lnTo>
                    <a:pt x="30" y="324"/>
                  </a:lnTo>
                  <a:lnTo>
                    <a:pt x="41" y="299"/>
                  </a:lnTo>
                  <a:lnTo>
                    <a:pt x="44" y="295"/>
                  </a:lnTo>
                  <a:lnTo>
                    <a:pt x="52" y="284"/>
                  </a:lnTo>
                  <a:lnTo>
                    <a:pt x="52" y="282"/>
                  </a:lnTo>
                  <a:lnTo>
                    <a:pt x="53" y="279"/>
                  </a:lnTo>
                  <a:lnTo>
                    <a:pt x="53" y="279"/>
                  </a:lnTo>
                  <a:lnTo>
                    <a:pt x="53" y="278"/>
                  </a:lnTo>
                  <a:lnTo>
                    <a:pt x="49" y="270"/>
                  </a:lnTo>
                  <a:lnTo>
                    <a:pt x="48" y="268"/>
                  </a:lnTo>
                  <a:lnTo>
                    <a:pt x="46" y="267"/>
                  </a:lnTo>
                  <a:lnTo>
                    <a:pt x="46" y="267"/>
                  </a:lnTo>
                  <a:lnTo>
                    <a:pt x="37" y="261"/>
                  </a:lnTo>
                  <a:lnTo>
                    <a:pt x="37" y="261"/>
                  </a:lnTo>
                  <a:lnTo>
                    <a:pt x="35" y="261"/>
                  </a:lnTo>
                  <a:lnTo>
                    <a:pt x="35" y="261"/>
                  </a:lnTo>
                  <a:lnTo>
                    <a:pt x="34" y="261"/>
                  </a:lnTo>
                  <a:lnTo>
                    <a:pt x="32" y="261"/>
                  </a:lnTo>
                  <a:lnTo>
                    <a:pt x="32" y="261"/>
                  </a:lnTo>
                  <a:lnTo>
                    <a:pt x="27" y="256"/>
                  </a:lnTo>
                  <a:lnTo>
                    <a:pt x="27" y="254"/>
                  </a:lnTo>
                  <a:lnTo>
                    <a:pt x="24" y="247"/>
                  </a:lnTo>
                  <a:lnTo>
                    <a:pt x="20" y="237"/>
                  </a:lnTo>
                  <a:lnTo>
                    <a:pt x="21" y="236"/>
                  </a:lnTo>
                  <a:lnTo>
                    <a:pt x="21" y="235"/>
                  </a:lnTo>
                  <a:lnTo>
                    <a:pt x="21" y="233"/>
                  </a:lnTo>
                  <a:lnTo>
                    <a:pt x="21" y="233"/>
                  </a:lnTo>
                  <a:lnTo>
                    <a:pt x="20" y="226"/>
                  </a:lnTo>
                  <a:lnTo>
                    <a:pt x="17" y="222"/>
                  </a:lnTo>
                  <a:lnTo>
                    <a:pt x="16" y="221"/>
                  </a:lnTo>
                  <a:lnTo>
                    <a:pt x="14" y="214"/>
                  </a:lnTo>
                  <a:lnTo>
                    <a:pt x="13" y="198"/>
                  </a:lnTo>
                  <a:lnTo>
                    <a:pt x="13" y="153"/>
                  </a:lnTo>
                  <a:lnTo>
                    <a:pt x="13" y="152"/>
                  </a:lnTo>
                  <a:lnTo>
                    <a:pt x="13" y="107"/>
                  </a:lnTo>
                  <a:lnTo>
                    <a:pt x="13" y="90"/>
                  </a:lnTo>
                  <a:lnTo>
                    <a:pt x="13" y="89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94" y="96"/>
                  </a:lnTo>
                  <a:lnTo>
                    <a:pt x="96" y="96"/>
                  </a:lnTo>
                  <a:lnTo>
                    <a:pt x="96" y="97"/>
                  </a:lnTo>
                  <a:lnTo>
                    <a:pt x="96" y="99"/>
                  </a:lnTo>
                  <a:lnTo>
                    <a:pt x="97" y="100"/>
                  </a:lnTo>
                  <a:lnTo>
                    <a:pt x="97" y="100"/>
                  </a:lnTo>
                  <a:lnTo>
                    <a:pt x="97" y="101"/>
                  </a:lnTo>
                  <a:lnTo>
                    <a:pt x="97" y="101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10" y="125"/>
                  </a:lnTo>
                  <a:lnTo>
                    <a:pt x="112" y="132"/>
                  </a:lnTo>
                  <a:lnTo>
                    <a:pt x="117" y="136"/>
                  </a:lnTo>
                  <a:lnTo>
                    <a:pt x="125" y="141"/>
                  </a:lnTo>
                  <a:lnTo>
                    <a:pt x="131" y="143"/>
                  </a:lnTo>
                  <a:lnTo>
                    <a:pt x="131" y="143"/>
                  </a:lnTo>
                  <a:lnTo>
                    <a:pt x="131" y="143"/>
                  </a:lnTo>
                  <a:lnTo>
                    <a:pt x="132" y="143"/>
                  </a:lnTo>
                  <a:lnTo>
                    <a:pt x="132" y="145"/>
                  </a:lnTo>
                  <a:lnTo>
                    <a:pt x="140" y="153"/>
                  </a:lnTo>
                  <a:lnTo>
                    <a:pt x="154" y="167"/>
                  </a:lnTo>
                  <a:lnTo>
                    <a:pt x="154" y="167"/>
                  </a:lnTo>
                  <a:lnTo>
                    <a:pt x="157" y="170"/>
                  </a:lnTo>
                  <a:lnTo>
                    <a:pt x="159" y="173"/>
                  </a:lnTo>
                  <a:lnTo>
                    <a:pt x="159" y="174"/>
                  </a:lnTo>
                  <a:lnTo>
                    <a:pt x="159" y="176"/>
                  </a:lnTo>
                  <a:lnTo>
                    <a:pt x="159" y="176"/>
                  </a:lnTo>
                  <a:lnTo>
                    <a:pt x="160" y="177"/>
                  </a:lnTo>
                  <a:lnTo>
                    <a:pt x="160" y="179"/>
                  </a:lnTo>
                  <a:lnTo>
                    <a:pt x="160" y="179"/>
                  </a:lnTo>
                  <a:lnTo>
                    <a:pt x="178" y="191"/>
                  </a:lnTo>
                  <a:lnTo>
                    <a:pt x="178" y="193"/>
                  </a:lnTo>
                  <a:lnTo>
                    <a:pt x="180" y="193"/>
                  </a:lnTo>
                  <a:lnTo>
                    <a:pt x="181" y="194"/>
                  </a:lnTo>
                  <a:lnTo>
                    <a:pt x="181" y="194"/>
                  </a:lnTo>
                  <a:lnTo>
                    <a:pt x="182" y="194"/>
                  </a:lnTo>
                  <a:lnTo>
                    <a:pt x="182" y="194"/>
                  </a:lnTo>
                  <a:lnTo>
                    <a:pt x="184" y="194"/>
                  </a:lnTo>
                  <a:lnTo>
                    <a:pt x="190" y="194"/>
                  </a:lnTo>
                  <a:lnTo>
                    <a:pt x="191" y="194"/>
                  </a:lnTo>
                  <a:lnTo>
                    <a:pt x="191" y="194"/>
                  </a:lnTo>
                  <a:lnTo>
                    <a:pt x="192" y="193"/>
                  </a:lnTo>
                  <a:lnTo>
                    <a:pt x="194" y="193"/>
                  </a:lnTo>
                  <a:lnTo>
                    <a:pt x="194" y="193"/>
                  </a:lnTo>
                  <a:lnTo>
                    <a:pt x="197" y="193"/>
                  </a:lnTo>
                  <a:lnTo>
                    <a:pt x="198" y="191"/>
                  </a:lnTo>
                  <a:lnTo>
                    <a:pt x="198" y="191"/>
                  </a:lnTo>
                  <a:lnTo>
                    <a:pt x="199" y="191"/>
                  </a:lnTo>
                  <a:lnTo>
                    <a:pt x="199" y="191"/>
                  </a:lnTo>
                  <a:lnTo>
                    <a:pt x="199" y="193"/>
                  </a:lnTo>
                  <a:lnTo>
                    <a:pt x="201" y="193"/>
                  </a:lnTo>
                  <a:lnTo>
                    <a:pt x="201" y="193"/>
                  </a:lnTo>
                  <a:lnTo>
                    <a:pt x="201" y="195"/>
                  </a:lnTo>
                  <a:lnTo>
                    <a:pt x="201" y="197"/>
                  </a:lnTo>
                  <a:lnTo>
                    <a:pt x="195" y="216"/>
                  </a:lnTo>
                  <a:lnTo>
                    <a:pt x="191" y="226"/>
                  </a:lnTo>
                  <a:lnTo>
                    <a:pt x="190" y="243"/>
                  </a:lnTo>
                  <a:lnTo>
                    <a:pt x="190" y="247"/>
                  </a:lnTo>
                  <a:lnTo>
                    <a:pt x="190" y="247"/>
                  </a:lnTo>
                  <a:lnTo>
                    <a:pt x="191" y="247"/>
                  </a:lnTo>
                  <a:lnTo>
                    <a:pt x="191" y="249"/>
                  </a:lnTo>
                  <a:lnTo>
                    <a:pt x="192" y="249"/>
                  </a:lnTo>
                  <a:lnTo>
                    <a:pt x="194" y="251"/>
                  </a:lnTo>
                  <a:lnTo>
                    <a:pt x="197" y="256"/>
                  </a:lnTo>
                  <a:lnTo>
                    <a:pt x="197" y="257"/>
                  </a:lnTo>
                  <a:lnTo>
                    <a:pt x="197" y="257"/>
                  </a:lnTo>
                  <a:lnTo>
                    <a:pt x="195" y="257"/>
                  </a:lnTo>
                  <a:lnTo>
                    <a:pt x="194" y="260"/>
                  </a:lnTo>
                  <a:lnTo>
                    <a:pt x="192" y="260"/>
                  </a:lnTo>
                  <a:lnTo>
                    <a:pt x="192" y="260"/>
                  </a:lnTo>
                  <a:lnTo>
                    <a:pt x="192" y="260"/>
                  </a:lnTo>
                  <a:lnTo>
                    <a:pt x="191" y="260"/>
                  </a:lnTo>
                  <a:lnTo>
                    <a:pt x="190" y="260"/>
                  </a:lnTo>
                  <a:lnTo>
                    <a:pt x="190" y="260"/>
                  </a:lnTo>
                  <a:lnTo>
                    <a:pt x="188" y="260"/>
                  </a:lnTo>
                  <a:lnTo>
                    <a:pt x="185" y="265"/>
                  </a:lnTo>
                  <a:lnTo>
                    <a:pt x="184" y="265"/>
                  </a:lnTo>
                  <a:lnTo>
                    <a:pt x="188" y="284"/>
                  </a:lnTo>
                  <a:lnTo>
                    <a:pt x="198" y="288"/>
                  </a:lnTo>
                  <a:lnTo>
                    <a:pt x="201" y="291"/>
                  </a:lnTo>
                  <a:lnTo>
                    <a:pt x="202" y="291"/>
                  </a:lnTo>
                  <a:lnTo>
                    <a:pt x="202" y="291"/>
                  </a:lnTo>
                  <a:lnTo>
                    <a:pt x="205" y="289"/>
                  </a:lnTo>
                  <a:lnTo>
                    <a:pt x="215" y="282"/>
                  </a:lnTo>
                  <a:lnTo>
                    <a:pt x="223" y="274"/>
                  </a:lnTo>
                  <a:lnTo>
                    <a:pt x="222" y="274"/>
                  </a:lnTo>
                  <a:lnTo>
                    <a:pt x="223" y="272"/>
                  </a:lnTo>
                  <a:lnTo>
                    <a:pt x="223" y="272"/>
                  </a:lnTo>
                  <a:lnTo>
                    <a:pt x="223" y="272"/>
                  </a:lnTo>
                  <a:lnTo>
                    <a:pt x="225" y="272"/>
                  </a:lnTo>
                  <a:lnTo>
                    <a:pt x="227" y="274"/>
                  </a:lnTo>
                  <a:lnTo>
                    <a:pt x="229" y="274"/>
                  </a:lnTo>
                  <a:lnTo>
                    <a:pt x="237" y="279"/>
                  </a:lnTo>
                  <a:lnTo>
                    <a:pt x="237" y="281"/>
                  </a:lnTo>
                  <a:lnTo>
                    <a:pt x="237" y="281"/>
                  </a:lnTo>
                  <a:lnTo>
                    <a:pt x="237" y="281"/>
                  </a:lnTo>
                  <a:lnTo>
                    <a:pt x="240" y="292"/>
                  </a:lnTo>
                  <a:lnTo>
                    <a:pt x="241" y="305"/>
                  </a:lnTo>
                  <a:lnTo>
                    <a:pt x="246" y="309"/>
                  </a:lnTo>
                  <a:lnTo>
                    <a:pt x="246" y="309"/>
                  </a:lnTo>
                  <a:lnTo>
                    <a:pt x="253" y="317"/>
                  </a:lnTo>
                  <a:lnTo>
                    <a:pt x="257" y="322"/>
                  </a:lnTo>
                  <a:lnTo>
                    <a:pt x="260" y="326"/>
                  </a:lnTo>
                  <a:lnTo>
                    <a:pt x="261" y="326"/>
                  </a:lnTo>
                  <a:lnTo>
                    <a:pt x="261" y="329"/>
                  </a:lnTo>
                  <a:lnTo>
                    <a:pt x="261" y="329"/>
                  </a:lnTo>
                  <a:lnTo>
                    <a:pt x="262" y="330"/>
                  </a:lnTo>
                  <a:lnTo>
                    <a:pt x="261" y="333"/>
                  </a:lnTo>
                  <a:lnTo>
                    <a:pt x="261" y="334"/>
                  </a:lnTo>
                  <a:lnTo>
                    <a:pt x="261" y="334"/>
                  </a:lnTo>
                  <a:lnTo>
                    <a:pt x="260" y="334"/>
                  </a:lnTo>
                  <a:lnTo>
                    <a:pt x="258" y="334"/>
                  </a:lnTo>
                  <a:lnTo>
                    <a:pt x="258" y="336"/>
                  </a:lnTo>
                  <a:lnTo>
                    <a:pt x="258" y="336"/>
                  </a:lnTo>
                  <a:lnTo>
                    <a:pt x="261" y="341"/>
                  </a:lnTo>
                  <a:lnTo>
                    <a:pt x="262" y="343"/>
                  </a:lnTo>
                  <a:lnTo>
                    <a:pt x="268" y="347"/>
                  </a:lnTo>
                  <a:lnTo>
                    <a:pt x="269" y="347"/>
                  </a:lnTo>
                  <a:lnTo>
                    <a:pt x="271" y="347"/>
                  </a:lnTo>
                  <a:lnTo>
                    <a:pt x="271" y="347"/>
                  </a:lnTo>
                  <a:lnTo>
                    <a:pt x="272" y="347"/>
                  </a:lnTo>
                  <a:lnTo>
                    <a:pt x="272" y="347"/>
                  </a:lnTo>
                  <a:lnTo>
                    <a:pt x="274" y="345"/>
                  </a:lnTo>
                  <a:lnTo>
                    <a:pt x="274" y="345"/>
                  </a:lnTo>
                  <a:lnTo>
                    <a:pt x="276" y="345"/>
                  </a:lnTo>
                  <a:lnTo>
                    <a:pt x="278" y="345"/>
                  </a:lnTo>
                  <a:lnTo>
                    <a:pt x="278" y="345"/>
                  </a:lnTo>
                  <a:lnTo>
                    <a:pt x="279" y="347"/>
                  </a:lnTo>
                  <a:lnTo>
                    <a:pt x="281" y="347"/>
                  </a:lnTo>
                  <a:lnTo>
                    <a:pt x="281" y="348"/>
                  </a:lnTo>
                  <a:lnTo>
                    <a:pt x="282" y="348"/>
                  </a:lnTo>
                  <a:lnTo>
                    <a:pt x="285" y="351"/>
                  </a:lnTo>
                  <a:lnTo>
                    <a:pt x="285" y="352"/>
                  </a:lnTo>
                  <a:lnTo>
                    <a:pt x="289" y="359"/>
                  </a:lnTo>
                  <a:lnTo>
                    <a:pt x="289" y="359"/>
                  </a:lnTo>
                  <a:lnTo>
                    <a:pt x="289" y="361"/>
                  </a:lnTo>
                  <a:lnTo>
                    <a:pt x="290" y="372"/>
                  </a:lnTo>
                  <a:lnTo>
                    <a:pt x="292" y="375"/>
                  </a:lnTo>
                  <a:lnTo>
                    <a:pt x="297" y="378"/>
                  </a:lnTo>
                  <a:lnTo>
                    <a:pt x="302" y="379"/>
                  </a:lnTo>
                  <a:lnTo>
                    <a:pt x="303" y="378"/>
                  </a:lnTo>
                  <a:lnTo>
                    <a:pt x="303" y="378"/>
                  </a:lnTo>
                  <a:lnTo>
                    <a:pt x="303" y="378"/>
                  </a:lnTo>
                  <a:lnTo>
                    <a:pt x="304" y="376"/>
                  </a:lnTo>
                  <a:lnTo>
                    <a:pt x="304" y="376"/>
                  </a:lnTo>
                  <a:lnTo>
                    <a:pt x="309" y="372"/>
                  </a:lnTo>
                  <a:lnTo>
                    <a:pt x="309" y="372"/>
                  </a:lnTo>
                  <a:lnTo>
                    <a:pt x="313" y="371"/>
                  </a:lnTo>
                  <a:lnTo>
                    <a:pt x="313" y="371"/>
                  </a:lnTo>
                  <a:lnTo>
                    <a:pt x="314" y="371"/>
                  </a:lnTo>
                  <a:lnTo>
                    <a:pt x="330" y="373"/>
                  </a:lnTo>
                  <a:lnTo>
                    <a:pt x="338" y="368"/>
                  </a:lnTo>
                  <a:lnTo>
                    <a:pt x="338" y="368"/>
                  </a:lnTo>
                  <a:lnTo>
                    <a:pt x="340" y="368"/>
                  </a:lnTo>
                  <a:lnTo>
                    <a:pt x="344" y="365"/>
                  </a:lnTo>
                  <a:lnTo>
                    <a:pt x="344" y="365"/>
                  </a:lnTo>
                  <a:lnTo>
                    <a:pt x="345" y="365"/>
                  </a:lnTo>
                  <a:lnTo>
                    <a:pt x="351" y="366"/>
                  </a:lnTo>
                  <a:lnTo>
                    <a:pt x="354" y="368"/>
                  </a:lnTo>
                  <a:lnTo>
                    <a:pt x="355" y="368"/>
                  </a:lnTo>
                  <a:lnTo>
                    <a:pt x="355" y="368"/>
                  </a:lnTo>
                  <a:lnTo>
                    <a:pt x="361" y="368"/>
                  </a:lnTo>
                  <a:lnTo>
                    <a:pt x="366" y="366"/>
                  </a:lnTo>
                  <a:lnTo>
                    <a:pt x="366" y="366"/>
                  </a:lnTo>
                  <a:lnTo>
                    <a:pt x="366" y="366"/>
                  </a:lnTo>
                  <a:lnTo>
                    <a:pt x="369" y="366"/>
                  </a:lnTo>
                  <a:lnTo>
                    <a:pt x="370" y="366"/>
                  </a:lnTo>
                  <a:lnTo>
                    <a:pt x="370" y="366"/>
                  </a:lnTo>
                  <a:lnTo>
                    <a:pt x="370" y="366"/>
                  </a:lnTo>
                  <a:lnTo>
                    <a:pt x="372" y="368"/>
                  </a:lnTo>
                  <a:lnTo>
                    <a:pt x="373" y="368"/>
                  </a:lnTo>
                  <a:lnTo>
                    <a:pt x="373" y="369"/>
                  </a:lnTo>
                  <a:lnTo>
                    <a:pt x="373" y="369"/>
                  </a:lnTo>
                  <a:lnTo>
                    <a:pt x="375" y="369"/>
                  </a:lnTo>
                  <a:lnTo>
                    <a:pt x="377" y="368"/>
                  </a:lnTo>
                  <a:lnTo>
                    <a:pt x="387" y="366"/>
                  </a:lnTo>
                  <a:lnTo>
                    <a:pt x="394" y="366"/>
                  </a:lnTo>
                  <a:lnTo>
                    <a:pt x="396" y="365"/>
                  </a:lnTo>
                  <a:lnTo>
                    <a:pt x="394" y="364"/>
                  </a:lnTo>
                  <a:lnTo>
                    <a:pt x="394" y="362"/>
                  </a:lnTo>
                  <a:lnTo>
                    <a:pt x="394" y="362"/>
                  </a:lnTo>
                  <a:lnTo>
                    <a:pt x="396" y="359"/>
                  </a:lnTo>
                  <a:lnTo>
                    <a:pt x="397" y="354"/>
                  </a:lnTo>
                  <a:lnTo>
                    <a:pt x="398" y="354"/>
                  </a:lnTo>
                  <a:lnTo>
                    <a:pt x="398" y="352"/>
                  </a:lnTo>
                  <a:lnTo>
                    <a:pt x="400" y="352"/>
                  </a:lnTo>
                  <a:lnTo>
                    <a:pt x="404" y="350"/>
                  </a:lnTo>
                  <a:lnTo>
                    <a:pt x="404" y="350"/>
                  </a:lnTo>
                  <a:lnTo>
                    <a:pt x="404" y="350"/>
                  </a:lnTo>
                  <a:lnTo>
                    <a:pt x="405" y="350"/>
                  </a:lnTo>
                  <a:lnTo>
                    <a:pt x="408" y="354"/>
                  </a:lnTo>
                  <a:lnTo>
                    <a:pt x="414" y="359"/>
                  </a:lnTo>
                  <a:lnTo>
                    <a:pt x="415" y="359"/>
                  </a:lnTo>
                  <a:lnTo>
                    <a:pt x="415" y="361"/>
                  </a:lnTo>
                  <a:lnTo>
                    <a:pt x="415" y="361"/>
                  </a:lnTo>
                  <a:lnTo>
                    <a:pt x="415" y="362"/>
                  </a:lnTo>
                  <a:lnTo>
                    <a:pt x="415" y="364"/>
                  </a:lnTo>
                  <a:lnTo>
                    <a:pt x="415" y="364"/>
                  </a:lnTo>
                  <a:lnTo>
                    <a:pt x="422" y="371"/>
                  </a:lnTo>
                  <a:lnTo>
                    <a:pt x="425" y="372"/>
                  </a:lnTo>
                  <a:lnTo>
                    <a:pt x="426" y="372"/>
                  </a:lnTo>
                  <a:lnTo>
                    <a:pt x="426" y="372"/>
                  </a:lnTo>
                  <a:lnTo>
                    <a:pt x="426" y="375"/>
                  </a:lnTo>
                  <a:lnTo>
                    <a:pt x="426" y="389"/>
                  </a:lnTo>
                  <a:lnTo>
                    <a:pt x="426" y="414"/>
                  </a:lnTo>
                  <a:lnTo>
                    <a:pt x="426" y="441"/>
                  </a:lnTo>
                  <a:lnTo>
                    <a:pt x="426" y="455"/>
                  </a:lnTo>
                  <a:lnTo>
                    <a:pt x="426" y="497"/>
                  </a:lnTo>
                  <a:lnTo>
                    <a:pt x="426" y="533"/>
                  </a:lnTo>
                  <a:lnTo>
                    <a:pt x="426" y="578"/>
                  </a:lnTo>
                  <a:lnTo>
                    <a:pt x="220" y="578"/>
                  </a:lnTo>
                  <a:close/>
                </a:path>
              </a:pathLst>
            </a:custGeom>
            <a:solidFill>
              <a:schemeClr val="bg2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105000"/>
                </a:lnSpc>
                <a:buClr>
                  <a:schemeClr val="tx2"/>
                </a:buClr>
                <a:buSzPct val="120000"/>
                <a:defRPr/>
              </a:pPr>
              <a:endParaRPr lang="en-US" sz="1333" dirty="0"/>
            </a:p>
          </p:txBody>
        </p:sp>
        <p:grpSp>
          <p:nvGrpSpPr>
            <p:cNvPr id="94" name="Group 71"/>
            <p:cNvGrpSpPr/>
            <p:nvPr/>
          </p:nvGrpSpPr>
          <p:grpSpPr bwMode="auto">
            <a:xfrm>
              <a:off x="2346499" y="2002192"/>
              <a:ext cx="6535968" cy="2726185"/>
              <a:chOff x="1790700" y="1148557"/>
              <a:chExt cx="5964237" cy="2487613"/>
            </a:xfrm>
            <a:solidFill>
              <a:schemeClr val="bg2"/>
            </a:solidFill>
            <a:effectLst/>
          </p:grpSpPr>
          <p:grpSp>
            <p:nvGrpSpPr>
              <p:cNvPr id="98" name="Group 72"/>
              <p:cNvGrpSpPr/>
              <p:nvPr/>
            </p:nvGrpSpPr>
            <p:grpSpPr>
              <a:xfrm>
                <a:off x="6035675" y="2820195"/>
                <a:ext cx="1085850" cy="815975"/>
                <a:chOff x="6035675" y="2820195"/>
                <a:chExt cx="1085850" cy="815975"/>
              </a:xfrm>
              <a:grpFill/>
            </p:grpSpPr>
            <p:sp>
              <p:nvSpPr>
                <p:cNvPr id="119" name="Freeform 42"/>
                <p:cNvSpPr>
                  <a:spLocks/>
                </p:cNvSpPr>
                <p:nvPr/>
              </p:nvSpPr>
              <p:spPr bwMode="auto">
                <a:xfrm>
                  <a:off x="6176962" y="2820195"/>
                  <a:ext cx="944563" cy="355600"/>
                </a:xfrm>
                <a:custGeom>
                  <a:avLst/>
                  <a:gdLst>
                    <a:gd name="T0" fmla="*/ 571 w 595"/>
                    <a:gd name="T1" fmla="*/ 50 h 224"/>
                    <a:gd name="T2" fmla="*/ 571 w 595"/>
                    <a:gd name="T3" fmla="*/ 67 h 224"/>
                    <a:gd name="T4" fmla="*/ 567 w 595"/>
                    <a:gd name="T5" fmla="*/ 74 h 224"/>
                    <a:gd name="T6" fmla="*/ 574 w 595"/>
                    <a:gd name="T7" fmla="*/ 78 h 224"/>
                    <a:gd name="T8" fmla="*/ 578 w 595"/>
                    <a:gd name="T9" fmla="*/ 57 h 224"/>
                    <a:gd name="T10" fmla="*/ 595 w 595"/>
                    <a:gd name="T11" fmla="*/ 66 h 224"/>
                    <a:gd name="T12" fmla="*/ 585 w 595"/>
                    <a:gd name="T13" fmla="*/ 84 h 224"/>
                    <a:gd name="T14" fmla="*/ 543 w 595"/>
                    <a:gd name="T15" fmla="*/ 101 h 224"/>
                    <a:gd name="T16" fmla="*/ 536 w 595"/>
                    <a:gd name="T17" fmla="*/ 87 h 224"/>
                    <a:gd name="T18" fmla="*/ 511 w 595"/>
                    <a:gd name="T19" fmla="*/ 94 h 224"/>
                    <a:gd name="T20" fmla="*/ 542 w 595"/>
                    <a:gd name="T21" fmla="*/ 106 h 224"/>
                    <a:gd name="T22" fmla="*/ 529 w 595"/>
                    <a:gd name="T23" fmla="*/ 119 h 224"/>
                    <a:gd name="T24" fmla="*/ 536 w 595"/>
                    <a:gd name="T25" fmla="*/ 117 h 224"/>
                    <a:gd name="T26" fmla="*/ 526 w 595"/>
                    <a:gd name="T27" fmla="*/ 131 h 224"/>
                    <a:gd name="T28" fmla="*/ 502 w 595"/>
                    <a:gd name="T29" fmla="*/ 120 h 224"/>
                    <a:gd name="T30" fmla="*/ 516 w 595"/>
                    <a:gd name="T31" fmla="*/ 137 h 224"/>
                    <a:gd name="T32" fmla="*/ 532 w 595"/>
                    <a:gd name="T33" fmla="*/ 133 h 224"/>
                    <a:gd name="T34" fmla="*/ 546 w 595"/>
                    <a:gd name="T35" fmla="*/ 133 h 224"/>
                    <a:gd name="T36" fmla="*/ 543 w 595"/>
                    <a:gd name="T37" fmla="*/ 137 h 224"/>
                    <a:gd name="T38" fmla="*/ 551 w 595"/>
                    <a:gd name="T39" fmla="*/ 130 h 224"/>
                    <a:gd name="T40" fmla="*/ 549 w 595"/>
                    <a:gd name="T41" fmla="*/ 143 h 224"/>
                    <a:gd name="T42" fmla="*/ 530 w 595"/>
                    <a:gd name="T43" fmla="*/ 155 h 224"/>
                    <a:gd name="T44" fmla="*/ 523 w 595"/>
                    <a:gd name="T45" fmla="*/ 151 h 224"/>
                    <a:gd name="T46" fmla="*/ 484 w 595"/>
                    <a:gd name="T47" fmla="*/ 167 h 224"/>
                    <a:gd name="T48" fmla="*/ 478 w 595"/>
                    <a:gd name="T49" fmla="*/ 154 h 224"/>
                    <a:gd name="T50" fmla="*/ 480 w 595"/>
                    <a:gd name="T51" fmla="*/ 172 h 224"/>
                    <a:gd name="T52" fmla="*/ 457 w 595"/>
                    <a:gd name="T53" fmla="*/ 186 h 224"/>
                    <a:gd name="T54" fmla="*/ 445 w 595"/>
                    <a:gd name="T55" fmla="*/ 211 h 224"/>
                    <a:gd name="T56" fmla="*/ 442 w 595"/>
                    <a:gd name="T57" fmla="*/ 204 h 224"/>
                    <a:gd name="T58" fmla="*/ 441 w 595"/>
                    <a:gd name="T59" fmla="*/ 216 h 224"/>
                    <a:gd name="T60" fmla="*/ 421 w 595"/>
                    <a:gd name="T61" fmla="*/ 221 h 224"/>
                    <a:gd name="T62" fmla="*/ 354 w 595"/>
                    <a:gd name="T63" fmla="*/ 179 h 224"/>
                    <a:gd name="T64" fmla="*/ 244 w 595"/>
                    <a:gd name="T65" fmla="*/ 147 h 224"/>
                    <a:gd name="T66" fmla="*/ 173 w 595"/>
                    <a:gd name="T67" fmla="*/ 116 h 224"/>
                    <a:gd name="T68" fmla="*/ 84 w 595"/>
                    <a:gd name="T69" fmla="*/ 131 h 224"/>
                    <a:gd name="T70" fmla="*/ 3 w 595"/>
                    <a:gd name="T71" fmla="*/ 115 h 224"/>
                    <a:gd name="T72" fmla="*/ 10 w 595"/>
                    <a:gd name="T73" fmla="*/ 112 h 224"/>
                    <a:gd name="T74" fmla="*/ 23 w 595"/>
                    <a:gd name="T75" fmla="*/ 96 h 224"/>
                    <a:gd name="T76" fmla="*/ 58 w 595"/>
                    <a:gd name="T77" fmla="*/ 85 h 224"/>
                    <a:gd name="T78" fmla="*/ 98 w 595"/>
                    <a:gd name="T79" fmla="*/ 59 h 224"/>
                    <a:gd name="T80" fmla="*/ 121 w 595"/>
                    <a:gd name="T81" fmla="*/ 47 h 224"/>
                    <a:gd name="T82" fmla="*/ 127 w 595"/>
                    <a:gd name="T83" fmla="*/ 50 h 224"/>
                    <a:gd name="T84" fmla="*/ 146 w 595"/>
                    <a:gd name="T85" fmla="*/ 36 h 224"/>
                    <a:gd name="T86" fmla="*/ 155 w 595"/>
                    <a:gd name="T87" fmla="*/ 42 h 224"/>
                    <a:gd name="T88" fmla="*/ 181 w 595"/>
                    <a:gd name="T89" fmla="*/ 9 h 224"/>
                    <a:gd name="T90" fmla="*/ 204 w 595"/>
                    <a:gd name="T91" fmla="*/ 2 h 224"/>
                    <a:gd name="T92" fmla="*/ 491 w 595"/>
                    <a:gd name="T93" fmla="*/ 4 h 224"/>
                    <a:gd name="T94" fmla="*/ 591 w 595"/>
                    <a:gd name="T95" fmla="*/ 43 h 224"/>
                    <a:gd name="T96" fmla="*/ 579 w 595"/>
                    <a:gd name="T97" fmla="*/ 26 h 224"/>
                    <a:gd name="T98" fmla="*/ 578 w 595"/>
                    <a:gd name="T99" fmla="*/ 33 h 224"/>
                    <a:gd name="T100" fmla="*/ 572 w 595"/>
                    <a:gd name="T101" fmla="*/ 32 h 224"/>
                    <a:gd name="T102" fmla="*/ 560 w 595"/>
                    <a:gd name="T103" fmla="*/ 26 h 224"/>
                    <a:gd name="T104" fmla="*/ 561 w 595"/>
                    <a:gd name="T105" fmla="*/ 42 h 224"/>
                    <a:gd name="T106" fmla="*/ 539 w 595"/>
                    <a:gd name="T107" fmla="*/ 49 h 224"/>
                    <a:gd name="T108" fmla="*/ 525 w 595"/>
                    <a:gd name="T109" fmla="*/ 36 h 224"/>
                    <a:gd name="T110" fmla="*/ 523 w 595"/>
                    <a:gd name="T111" fmla="*/ 36 h 224"/>
                    <a:gd name="T112" fmla="*/ 539 w 595"/>
                    <a:gd name="T113" fmla="*/ 54 h 224"/>
                    <a:gd name="T114" fmla="*/ 549 w 595"/>
                    <a:gd name="T115" fmla="*/ 53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595" h="224">
                      <a:moveTo>
                        <a:pt x="554" y="54"/>
                      </a:moveTo>
                      <a:lnTo>
                        <a:pt x="554" y="54"/>
                      </a:lnTo>
                      <a:lnTo>
                        <a:pt x="554" y="54"/>
                      </a:lnTo>
                      <a:lnTo>
                        <a:pt x="554" y="53"/>
                      </a:lnTo>
                      <a:lnTo>
                        <a:pt x="554" y="53"/>
                      </a:lnTo>
                      <a:lnTo>
                        <a:pt x="554" y="53"/>
                      </a:lnTo>
                      <a:lnTo>
                        <a:pt x="556" y="53"/>
                      </a:lnTo>
                      <a:lnTo>
                        <a:pt x="563" y="50"/>
                      </a:lnTo>
                      <a:lnTo>
                        <a:pt x="564" y="50"/>
                      </a:lnTo>
                      <a:lnTo>
                        <a:pt x="570" y="50"/>
                      </a:lnTo>
                      <a:lnTo>
                        <a:pt x="571" y="50"/>
                      </a:lnTo>
                      <a:lnTo>
                        <a:pt x="571" y="50"/>
                      </a:lnTo>
                      <a:lnTo>
                        <a:pt x="572" y="52"/>
                      </a:lnTo>
                      <a:lnTo>
                        <a:pt x="572" y="52"/>
                      </a:lnTo>
                      <a:lnTo>
                        <a:pt x="574" y="53"/>
                      </a:lnTo>
                      <a:lnTo>
                        <a:pt x="574" y="53"/>
                      </a:lnTo>
                      <a:lnTo>
                        <a:pt x="574" y="56"/>
                      </a:lnTo>
                      <a:lnTo>
                        <a:pt x="574" y="56"/>
                      </a:lnTo>
                      <a:lnTo>
                        <a:pt x="571" y="60"/>
                      </a:lnTo>
                      <a:lnTo>
                        <a:pt x="571" y="60"/>
                      </a:lnTo>
                      <a:lnTo>
                        <a:pt x="571" y="63"/>
                      </a:lnTo>
                      <a:lnTo>
                        <a:pt x="571" y="67"/>
                      </a:lnTo>
                      <a:lnTo>
                        <a:pt x="572" y="70"/>
                      </a:lnTo>
                      <a:lnTo>
                        <a:pt x="572" y="75"/>
                      </a:lnTo>
                      <a:lnTo>
                        <a:pt x="572" y="75"/>
                      </a:lnTo>
                      <a:lnTo>
                        <a:pt x="572" y="75"/>
                      </a:lnTo>
                      <a:lnTo>
                        <a:pt x="572" y="75"/>
                      </a:lnTo>
                      <a:lnTo>
                        <a:pt x="572" y="75"/>
                      </a:lnTo>
                      <a:lnTo>
                        <a:pt x="568" y="75"/>
                      </a:lnTo>
                      <a:lnTo>
                        <a:pt x="568" y="75"/>
                      </a:lnTo>
                      <a:lnTo>
                        <a:pt x="567" y="75"/>
                      </a:lnTo>
                      <a:lnTo>
                        <a:pt x="567" y="74"/>
                      </a:lnTo>
                      <a:lnTo>
                        <a:pt x="567" y="74"/>
                      </a:lnTo>
                      <a:lnTo>
                        <a:pt x="565" y="74"/>
                      </a:lnTo>
                      <a:lnTo>
                        <a:pt x="565" y="74"/>
                      </a:lnTo>
                      <a:lnTo>
                        <a:pt x="565" y="74"/>
                      </a:lnTo>
                      <a:lnTo>
                        <a:pt x="565" y="75"/>
                      </a:lnTo>
                      <a:lnTo>
                        <a:pt x="565" y="75"/>
                      </a:lnTo>
                      <a:lnTo>
                        <a:pt x="565" y="75"/>
                      </a:lnTo>
                      <a:lnTo>
                        <a:pt x="568" y="77"/>
                      </a:lnTo>
                      <a:lnTo>
                        <a:pt x="568" y="78"/>
                      </a:lnTo>
                      <a:lnTo>
                        <a:pt x="572" y="78"/>
                      </a:lnTo>
                      <a:lnTo>
                        <a:pt x="574" y="78"/>
                      </a:lnTo>
                      <a:lnTo>
                        <a:pt x="574" y="78"/>
                      </a:lnTo>
                      <a:lnTo>
                        <a:pt x="575" y="74"/>
                      </a:lnTo>
                      <a:lnTo>
                        <a:pt x="575" y="73"/>
                      </a:lnTo>
                      <a:lnTo>
                        <a:pt x="577" y="68"/>
                      </a:lnTo>
                      <a:lnTo>
                        <a:pt x="577" y="67"/>
                      </a:lnTo>
                      <a:lnTo>
                        <a:pt x="577" y="67"/>
                      </a:lnTo>
                      <a:lnTo>
                        <a:pt x="575" y="66"/>
                      </a:lnTo>
                      <a:lnTo>
                        <a:pt x="575" y="64"/>
                      </a:lnTo>
                      <a:lnTo>
                        <a:pt x="577" y="60"/>
                      </a:lnTo>
                      <a:lnTo>
                        <a:pt x="577" y="59"/>
                      </a:lnTo>
                      <a:lnTo>
                        <a:pt x="577" y="59"/>
                      </a:lnTo>
                      <a:lnTo>
                        <a:pt x="578" y="57"/>
                      </a:lnTo>
                      <a:lnTo>
                        <a:pt x="579" y="56"/>
                      </a:lnTo>
                      <a:lnTo>
                        <a:pt x="585" y="52"/>
                      </a:lnTo>
                      <a:lnTo>
                        <a:pt x="586" y="52"/>
                      </a:lnTo>
                      <a:lnTo>
                        <a:pt x="586" y="52"/>
                      </a:lnTo>
                      <a:lnTo>
                        <a:pt x="588" y="53"/>
                      </a:lnTo>
                      <a:lnTo>
                        <a:pt x="591" y="56"/>
                      </a:lnTo>
                      <a:lnTo>
                        <a:pt x="592" y="60"/>
                      </a:lnTo>
                      <a:lnTo>
                        <a:pt x="592" y="60"/>
                      </a:lnTo>
                      <a:lnTo>
                        <a:pt x="595" y="64"/>
                      </a:lnTo>
                      <a:lnTo>
                        <a:pt x="595" y="64"/>
                      </a:lnTo>
                      <a:lnTo>
                        <a:pt x="595" y="66"/>
                      </a:lnTo>
                      <a:lnTo>
                        <a:pt x="595" y="74"/>
                      </a:lnTo>
                      <a:lnTo>
                        <a:pt x="595" y="75"/>
                      </a:lnTo>
                      <a:lnTo>
                        <a:pt x="593" y="80"/>
                      </a:lnTo>
                      <a:lnTo>
                        <a:pt x="593" y="81"/>
                      </a:lnTo>
                      <a:lnTo>
                        <a:pt x="593" y="81"/>
                      </a:lnTo>
                      <a:lnTo>
                        <a:pt x="591" y="85"/>
                      </a:lnTo>
                      <a:lnTo>
                        <a:pt x="591" y="85"/>
                      </a:lnTo>
                      <a:lnTo>
                        <a:pt x="589" y="85"/>
                      </a:lnTo>
                      <a:lnTo>
                        <a:pt x="588" y="85"/>
                      </a:lnTo>
                      <a:lnTo>
                        <a:pt x="586" y="85"/>
                      </a:lnTo>
                      <a:lnTo>
                        <a:pt x="585" y="84"/>
                      </a:lnTo>
                      <a:lnTo>
                        <a:pt x="582" y="84"/>
                      </a:lnTo>
                      <a:lnTo>
                        <a:pt x="577" y="89"/>
                      </a:lnTo>
                      <a:lnTo>
                        <a:pt x="577" y="89"/>
                      </a:lnTo>
                      <a:lnTo>
                        <a:pt x="577" y="89"/>
                      </a:lnTo>
                      <a:lnTo>
                        <a:pt x="575" y="94"/>
                      </a:lnTo>
                      <a:lnTo>
                        <a:pt x="572" y="96"/>
                      </a:lnTo>
                      <a:lnTo>
                        <a:pt x="567" y="102"/>
                      </a:lnTo>
                      <a:lnTo>
                        <a:pt x="565" y="102"/>
                      </a:lnTo>
                      <a:lnTo>
                        <a:pt x="565" y="105"/>
                      </a:lnTo>
                      <a:lnTo>
                        <a:pt x="543" y="101"/>
                      </a:lnTo>
                      <a:lnTo>
                        <a:pt x="543" y="101"/>
                      </a:lnTo>
                      <a:lnTo>
                        <a:pt x="542" y="101"/>
                      </a:lnTo>
                      <a:lnTo>
                        <a:pt x="540" y="101"/>
                      </a:lnTo>
                      <a:lnTo>
                        <a:pt x="539" y="99"/>
                      </a:lnTo>
                      <a:lnTo>
                        <a:pt x="536" y="92"/>
                      </a:lnTo>
                      <a:lnTo>
                        <a:pt x="536" y="92"/>
                      </a:lnTo>
                      <a:lnTo>
                        <a:pt x="536" y="92"/>
                      </a:lnTo>
                      <a:lnTo>
                        <a:pt x="536" y="89"/>
                      </a:lnTo>
                      <a:lnTo>
                        <a:pt x="536" y="89"/>
                      </a:lnTo>
                      <a:lnTo>
                        <a:pt x="537" y="89"/>
                      </a:lnTo>
                      <a:lnTo>
                        <a:pt x="540" y="88"/>
                      </a:lnTo>
                      <a:lnTo>
                        <a:pt x="536" y="87"/>
                      </a:lnTo>
                      <a:lnTo>
                        <a:pt x="535" y="87"/>
                      </a:lnTo>
                      <a:lnTo>
                        <a:pt x="535" y="87"/>
                      </a:lnTo>
                      <a:lnTo>
                        <a:pt x="533" y="88"/>
                      </a:lnTo>
                      <a:lnTo>
                        <a:pt x="533" y="88"/>
                      </a:lnTo>
                      <a:lnTo>
                        <a:pt x="532" y="89"/>
                      </a:lnTo>
                      <a:lnTo>
                        <a:pt x="533" y="94"/>
                      </a:lnTo>
                      <a:lnTo>
                        <a:pt x="533" y="96"/>
                      </a:lnTo>
                      <a:lnTo>
                        <a:pt x="530" y="98"/>
                      </a:lnTo>
                      <a:lnTo>
                        <a:pt x="512" y="94"/>
                      </a:lnTo>
                      <a:lnTo>
                        <a:pt x="512" y="94"/>
                      </a:lnTo>
                      <a:lnTo>
                        <a:pt x="511" y="94"/>
                      </a:lnTo>
                      <a:lnTo>
                        <a:pt x="511" y="92"/>
                      </a:lnTo>
                      <a:lnTo>
                        <a:pt x="511" y="92"/>
                      </a:lnTo>
                      <a:lnTo>
                        <a:pt x="509" y="92"/>
                      </a:lnTo>
                      <a:lnTo>
                        <a:pt x="502" y="88"/>
                      </a:lnTo>
                      <a:lnTo>
                        <a:pt x="502" y="89"/>
                      </a:lnTo>
                      <a:lnTo>
                        <a:pt x="504" y="91"/>
                      </a:lnTo>
                      <a:lnTo>
                        <a:pt x="505" y="92"/>
                      </a:lnTo>
                      <a:lnTo>
                        <a:pt x="518" y="99"/>
                      </a:lnTo>
                      <a:lnTo>
                        <a:pt x="539" y="106"/>
                      </a:lnTo>
                      <a:lnTo>
                        <a:pt x="540" y="106"/>
                      </a:lnTo>
                      <a:lnTo>
                        <a:pt x="542" y="106"/>
                      </a:lnTo>
                      <a:lnTo>
                        <a:pt x="543" y="109"/>
                      </a:lnTo>
                      <a:lnTo>
                        <a:pt x="542" y="113"/>
                      </a:lnTo>
                      <a:lnTo>
                        <a:pt x="542" y="113"/>
                      </a:lnTo>
                      <a:lnTo>
                        <a:pt x="542" y="113"/>
                      </a:lnTo>
                      <a:lnTo>
                        <a:pt x="542" y="113"/>
                      </a:lnTo>
                      <a:lnTo>
                        <a:pt x="536" y="113"/>
                      </a:lnTo>
                      <a:lnTo>
                        <a:pt x="529" y="117"/>
                      </a:lnTo>
                      <a:lnTo>
                        <a:pt x="529" y="117"/>
                      </a:lnTo>
                      <a:lnTo>
                        <a:pt x="529" y="117"/>
                      </a:lnTo>
                      <a:lnTo>
                        <a:pt x="529" y="119"/>
                      </a:lnTo>
                      <a:lnTo>
                        <a:pt x="529" y="119"/>
                      </a:lnTo>
                      <a:lnTo>
                        <a:pt x="535" y="120"/>
                      </a:lnTo>
                      <a:lnTo>
                        <a:pt x="535" y="120"/>
                      </a:lnTo>
                      <a:lnTo>
                        <a:pt x="536" y="120"/>
                      </a:lnTo>
                      <a:lnTo>
                        <a:pt x="536" y="119"/>
                      </a:lnTo>
                      <a:lnTo>
                        <a:pt x="536" y="119"/>
                      </a:lnTo>
                      <a:lnTo>
                        <a:pt x="535" y="119"/>
                      </a:lnTo>
                      <a:lnTo>
                        <a:pt x="535" y="119"/>
                      </a:lnTo>
                      <a:lnTo>
                        <a:pt x="535" y="117"/>
                      </a:lnTo>
                      <a:lnTo>
                        <a:pt x="535" y="117"/>
                      </a:lnTo>
                      <a:lnTo>
                        <a:pt x="536" y="117"/>
                      </a:lnTo>
                      <a:lnTo>
                        <a:pt x="536" y="117"/>
                      </a:lnTo>
                      <a:lnTo>
                        <a:pt x="536" y="119"/>
                      </a:lnTo>
                      <a:lnTo>
                        <a:pt x="537" y="119"/>
                      </a:lnTo>
                      <a:lnTo>
                        <a:pt x="537" y="119"/>
                      </a:lnTo>
                      <a:lnTo>
                        <a:pt x="537" y="120"/>
                      </a:lnTo>
                      <a:lnTo>
                        <a:pt x="537" y="122"/>
                      </a:lnTo>
                      <a:lnTo>
                        <a:pt x="536" y="122"/>
                      </a:lnTo>
                      <a:lnTo>
                        <a:pt x="536" y="123"/>
                      </a:lnTo>
                      <a:lnTo>
                        <a:pt x="535" y="126"/>
                      </a:lnTo>
                      <a:lnTo>
                        <a:pt x="533" y="126"/>
                      </a:lnTo>
                      <a:lnTo>
                        <a:pt x="530" y="129"/>
                      </a:lnTo>
                      <a:lnTo>
                        <a:pt x="526" y="131"/>
                      </a:lnTo>
                      <a:lnTo>
                        <a:pt x="525" y="131"/>
                      </a:lnTo>
                      <a:lnTo>
                        <a:pt x="523" y="133"/>
                      </a:lnTo>
                      <a:lnTo>
                        <a:pt x="521" y="133"/>
                      </a:lnTo>
                      <a:lnTo>
                        <a:pt x="521" y="133"/>
                      </a:lnTo>
                      <a:lnTo>
                        <a:pt x="519" y="133"/>
                      </a:lnTo>
                      <a:lnTo>
                        <a:pt x="519" y="133"/>
                      </a:lnTo>
                      <a:lnTo>
                        <a:pt x="518" y="133"/>
                      </a:lnTo>
                      <a:lnTo>
                        <a:pt x="515" y="131"/>
                      </a:lnTo>
                      <a:lnTo>
                        <a:pt x="508" y="126"/>
                      </a:lnTo>
                      <a:lnTo>
                        <a:pt x="502" y="120"/>
                      </a:lnTo>
                      <a:lnTo>
                        <a:pt x="502" y="120"/>
                      </a:lnTo>
                      <a:lnTo>
                        <a:pt x="502" y="119"/>
                      </a:lnTo>
                      <a:lnTo>
                        <a:pt x="501" y="119"/>
                      </a:lnTo>
                      <a:lnTo>
                        <a:pt x="501" y="119"/>
                      </a:lnTo>
                      <a:lnTo>
                        <a:pt x="501" y="119"/>
                      </a:lnTo>
                      <a:lnTo>
                        <a:pt x="501" y="120"/>
                      </a:lnTo>
                      <a:lnTo>
                        <a:pt x="509" y="131"/>
                      </a:lnTo>
                      <a:lnTo>
                        <a:pt x="511" y="134"/>
                      </a:lnTo>
                      <a:lnTo>
                        <a:pt x="511" y="134"/>
                      </a:lnTo>
                      <a:lnTo>
                        <a:pt x="512" y="134"/>
                      </a:lnTo>
                      <a:lnTo>
                        <a:pt x="514" y="136"/>
                      </a:lnTo>
                      <a:lnTo>
                        <a:pt x="516" y="137"/>
                      </a:lnTo>
                      <a:lnTo>
                        <a:pt x="518" y="137"/>
                      </a:lnTo>
                      <a:lnTo>
                        <a:pt x="519" y="137"/>
                      </a:lnTo>
                      <a:lnTo>
                        <a:pt x="519" y="137"/>
                      </a:lnTo>
                      <a:lnTo>
                        <a:pt x="522" y="138"/>
                      </a:lnTo>
                      <a:lnTo>
                        <a:pt x="523" y="140"/>
                      </a:lnTo>
                      <a:lnTo>
                        <a:pt x="525" y="138"/>
                      </a:lnTo>
                      <a:lnTo>
                        <a:pt x="525" y="138"/>
                      </a:lnTo>
                      <a:lnTo>
                        <a:pt x="528" y="136"/>
                      </a:lnTo>
                      <a:lnTo>
                        <a:pt x="530" y="134"/>
                      </a:lnTo>
                      <a:lnTo>
                        <a:pt x="532" y="133"/>
                      </a:lnTo>
                      <a:lnTo>
                        <a:pt x="532" y="133"/>
                      </a:lnTo>
                      <a:lnTo>
                        <a:pt x="539" y="131"/>
                      </a:lnTo>
                      <a:lnTo>
                        <a:pt x="542" y="131"/>
                      </a:lnTo>
                      <a:lnTo>
                        <a:pt x="543" y="127"/>
                      </a:lnTo>
                      <a:lnTo>
                        <a:pt x="543" y="126"/>
                      </a:lnTo>
                      <a:lnTo>
                        <a:pt x="543" y="126"/>
                      </a:lnTo>
                      <a:lnTo>
                        <a:pt x="544" y="126"/>
                      </a:lnTo>
                      <a:lnTo>
                        <a:pt x="544" y="126"/>
                      </a:lnTo>
                      <a:lnTo>
                        <a:pt x="544" y="127"/>
                      </a:lnTo>
                      <a:lnTo>
                        <a:pt x="546" y="129"/>
                      </a:lnTo>
                      <a:lnTo>
                        <a:pt x="546" y="129"/>
                      </a:lnTo>
                      <a:lnTo>
                        <a:pt x="546" y="133"/>
                      </a:lnTo>
                      <a:lnTo>
                        <a:pt x="546" y="133"/>
                      </a:lnTo>
                      <a:lnTo>
                        <a:pt x="546" y="133"/>
                      </a:lnTo>
                      <a:lnTo>
                        <a:pt x="546" y="133"/>
                      </a:lnTo>
                      <a:lnTo>
                        <a:pt x="546" y="133"/>
                      </a:lnTo>
                      <a:lnTo>
                        <a:pt x="544" y="134"/>
                      </a:lnTo>
                      <a:lnTo>
                        <a:pt x="543" y="134"/>
                      </a:lnTo>
                      <a:lnTo>
                        <a:pt x="543" y="136"/>
                      </a:lnTo>
                      <a:lnTo>
                        <a:pt x="543" y="136"/>
                      </a:lnTo>
                      <a:lnTo>
                        <a:pt x="543" y="136"/>
                      </a:lnTo>
                      <a:lnTo>
                        <a:pt x="543" y="137"/>
                      </a:lnTo>
                      <a:lnTo>
                        <a:pt x="543" y="137"/>
                      </a:lnTo>
                      <a:lnTo>
                        <a:pt x="544" y="137"/>
                      </a:lnTo>
                      <a:lnTo>
                        <a:pt x="544" y="137"/>
                      </a:lnTo>
                      <a:lnTo>
                        <a:pt x="547" y="137"/>
                      </a:lnTo>
                      <a:lnTo>
                        <a:pt x="553" y="134"/>
                      </a:lnTo>
                      <a:lnTo>
                        <a:pt x="553" y="134"/>
                      </a:lnTo>
                      <a:lnTo>
                        <a:pt x="553" y="134"/>
                      </a:lnTo>
                      <a:lnTo>
                        <a:pt x="553" y="133"/>
                      </a:lnTo>
                      <a:lnTo>
                        <a:pt x="553" y="133"/>
                      </a:lnTo>
                      <a:lnTo>
                        <a:pt x="551" y="131"/>
                      </a:lnTo>
                      <a:lnTo>
                        <a:pt x="551" y="130"/>
                      </a:lnTo>
                      <a:lnTo>
                        <a:pt x="551" y="130"/>
                      </a:lnTo>
                      <a:lnTo>
                        <a:pt x="553" y="130"/>
                      </a:lnTo>
                      <a:lnTo>
                        <a:pt x="554" y="130"/>
                      </a:lnTo>
                      <a:lnTo>
                        <a:pt x="554" y="131"/>
                      </a:lnTo>
                      <a:lnTo>
                        <a:pt x="557" y="134"/>
                      </a:lnTo>
                      <a:lnTo>
                        <a:pt x="557" y="136"/>
                      </a:lnTo>
                      <a:lnTo>
                        <a:pt x="556" y="137"/>
                      </a:lnTo>
                      <a:lnTo>
                        <a:pt x="553" y="141"/>
                      </a:lnTo>
                      <a:lnTo>
                        <a:pt x="551" y="141"/>
                      </a:lnTo>
                      <a:lnTo>
                        <a:pt x="551" y="141"/>
                      </a:lnTo>
                      <a:lnTo>
                        <a:pt x="550" y="143"/>
                      </a:lnTo>
                      <a:lnTo>
                        <a:pt x="549" y="143"/>
                      </a:lnTo>
                      <a:lnTo>
                        <a:pt x="549" y="143"/>
                      </a:lnTo>
                      <a:lnTo>
                        <a:pt x="547" y="144"/>
                      </a:lnTo>
                      <a:lnTo>
                        <a:pt x="542" y="150"/>
                      </a:lnTo>
                      <a:lnTo>
                        <a:pt x="542" y="152"/>
                      </a:lnTo>
                      <a:lnTo>
                        <a:pt x="540" y="154"/>
                      </a:lnTo>
                      <a:lnTo>
                        <a:pt x="540" y="154"/>
                      </a:lnTo>
                      <a:lnTo>
                        <a:pt x="532" y="155"/>
                      </a:lnTo>
                      <a:lnTo>
                        <a:pt x="532" y="155"/>
                      </a:lnTo>
                      <a:lnTo>
                        <a:pt x="530" y="155"/>
                      </a:lnTo>
                      <a:lnTo>
                        <a:pt x="530" y="155"/>
                      </a:lnTo>
                      <a:lnTo>
                        <a:pt x="530" y="155"/>
                      </a:lnTo>
                      <a:lnTo>
                        <a:pt x="530" y="155"/>
                      </a:lnTo>
                      <a:lnTo>
                        <a:pt x="530" y="152"/>
                      </a:lnTo>
                      <a:lnTo>
                        <a:pt x="530" y="152"/>
                      </a:lnTo>
                      <a:lnTo>
                        <a:pt x="530" y="151"/>
                      </a:lnTo>
                      <a:lnTo>
                        <a:pt x="529" y="151"/>
                      </a:lnTo>
                      <a:lnTo>
                        <a:pt x="529" y="148"/>
                      </a:lnTo>
                      <a:lnTo>
                        <a:pt x="529" y="148"/>
                      </a:lnTo>
                      <a:lnTo>
                        <a:pt x="528" y="148"/>
                      </a:lnTo>
                      <a:lnTo>
                        <a:pt x="528" y="148"/>
                      </a:lnTo>
                      <a:lnTo>
                        <a:pt x="523" y="150"/>
                      </a:lnTo>
                      <a:lnTo>
                        <a:pt x="523" y="151"/>
                      </a:lnTo>
                      <a:lnTo>
                        <a:pt x="522" y="151"/>
                      </a:lnTo>
                      <a:lnTo>
                        <a:pt x="501" y="158"/>
                      </a:lnTo>
                      <a:lnTo>
                        <a:pt x="500" y="158"/>
                      </a:lnTo>
                      <a:lnTo>
                        <a:pt x="500" y="158"/>
                      </a:lnTo>
                      <a:lnTo>
                        <a:pt x="500" y="158"/>
                      </a:lnTo>
                      <a:lnTo>
                        <a:pt x="498" y="157"/>
                      </a:lnTo>
                      <a:lnTo>
                        <a:pt x="494" y="161"/>
                      </a:lnTo>
                      <a:lnTo>
                        <a:pt x="487" y="167"/>
                      </a:lnTo>
                      <a:lnTo>
                        <a:pt x="485" y="168"/>
                      </a:lnTo>
                      <a:lnTo>
                        <a:pt x="484" y="168"/>
                      </a:lnTo>
                      <a:lnTo>
                        <a:pt x="484" y="167"/>
                      </a:lnTo>
                      <a:lnTo>
                        <a:pt x="484" y="167"/>
                      </a:lnTo>
                      <a:lnTo>
                        <a:pt x="483" y="167"/>
                      </a:lnTo>
                      <a:lnTo>
                        <a:pt x="483" y="167"/>
                      </a:lnTo>
                      <a:lnTo>
                        <a:pt x="481" y="165"/>
                      </a:lnTo>
                      <a:lnTo>
                        <a:pt x="483" y="165"/>
                      </a:lnTo>
                      <a:lnTo>
                        <a:pt x="483" y="165"/>
                      </a:lnTo>
                      <a:lnTo>
                        <a:pt x="483" y="162"/>
                      </a:lnTo>
                      <a:lnTo>
                        <a:pt x="484" y="162"/>
                      </a:lnTo>
                      <a:lnTo>
                        <a:pt x="480" y="154"/>
                      </a:lnTo>
                      <a:lnTo>
                        <a:pt x="480" y="154"/>
                      </a:lnTo>
                      <a:lnTo>
                        <a:pt x="478" y="154"/>
                      </a:lnTo>
                      <a:lnTo>
                        <a:pt x="477" y="154"/>
                      </a:lnTo>
                      <a:lnTo>
                        <a:pt x="477" y="155"/>
                      </a:lnTo>
                      <a:lnTo>
                        <a:pt x="478" y="158"/>
                      </a:lnTo>
                      <a:lnTo>
                        <a:pt x="480" y="164"/>
                      </a:lnTo>
                      <a:lnTo>
                        <a:pt x="480" y="168"/>
                      </a:lnTo>
                      <a:lnTo>
                        <a:pt x="480" y="168"/>
                      </a:lnTo>
                      <a:lnTo>
                        <a:pt x="480" y="168"/>
                      </a:lnTo>
                      <a:lnTo>
                        <a:pt x="480" y="172"/>
                      </a:lnTo>
                      <a:lnTo>
                        <a:pt x="480" y="172"/>
                      </a:lnTo>
                      <a:lnTo>
                        <a:pt x="480" y="172"/>
                      </a:lnTo>
                      <a:lnTo>
                        <a:pt x="480" y="172"/>
                      </a:lnTo>
                      <a:lnTo>
                        <a:pt x="478" y="172"/>
                      </a:lnTo>
                      <a:lnTo>
                        <a:pt x="477" y="172"/>
                      </a:lnTo>
                      <a:lnTo>
                        <a:pt x="476" y="172"/>
                      </a:lnTo>
                      <a:lnTo>
                        <a:pt x="474" y="174"/>
                      </a:lnTo>
                      <a:lnTo>
                        <a:pt x="467" y="178"/>
                      </a:lnTo>
                      <a:lnTo>
                        <a:pt x="464" y="181"/>
                      </a:lnTo>
                      <a:lnTo>
                        <a:pt x="463" y="181"/>
                      </a:lnTo>
                      <a:lnTo>
                        <a:pt x="462" y="182"/>
                      </a:lnTo>
                      <a:lnTo>
                        <a:pt x="460" y="183"/>
                      </a:lnTo>
                      <a:lnTo>
                        <a:pt x="459" y="185"/>
                      </a:lnTo>
                      <a:lnTo>
                        <a:pt x="457" y="186"/>
                      </a:lnTo>
                      <a:lnTo>
                        <a:pt x="455" y="190"/>
                      </a:lnTo>
                      <a:lnTo>
                        <a:pt x="453" y="192"/>
                      </a:lnTo>
                      <a:lnTo>
                        <a:pt x="449" y="199"/>
                      </a:lnTo>
                      <a:lnTo>
                        <a:pt x="448" y="202"/>
                      </a:lnTo>
                      <a:lnTo>
                        <a:pt x="446" y="203"/>
                      </a:lnTo>
                      <a:lnTo>
                        <a:pt x="446" y="203"/>
                      </a:lnTo>
                      <a:lnTo>
                        <a:pt x="445" y="209"/>
                      </a:lnTo>
                      <a:lnTo>
                        <a:pt x="445" y="209"/>
                      </a:lnTo>
                      <a:lnTo>
                        <a:pt x="445" y="210"/>
                      </a:lnTo>
                      <a:lnTo>
                        <a:pt x="446" y="210"/>
                      </a:lnTo>
                      <a:lnTo>
                        <a:pt x="445" y="211"/>
                      </a:lnTo>
                      <a:lnTo>
                        <a:pt x="443" y="218"/>
                      </a:lnTo>
                      <a:lnTo>
                        <a:pt x="442" y="220"/>
                      </a:lnTo>
                      <a:lnTo>
                        <a:pt x="442" y="220"/>
                      </a:lnTo>
                      <a:lnTo>
                        <a:pt x="442" y="220"/>
                      </a:lnTo>
                      <a:lnTo>
                        <a:pt x="442" y="220"/>
                      </a:lnTo>
                      <a:lnTo>
                        <a:pt x="442" y="216"/>
                      </a:lnTo>
                      <a:lnTo>
                        <a:pt x="442" y="213"/>
                      </a:lnTo>
                      <a:lnTo>
                        <a:pt x="443" y="213"/>
                      </a:lnTo>
                      <a:lnTo>
                        <a:pt x="442" y="206"/>
                      </a:lnTo>
                      <a:lnTo>
                        <a:pt x="442" y="204"/>
                      </a:lnTo>
                      <a:lnTo>
                        <a:pt x="442" y="204"/>
                      </a:lnTo>
                      <a:lnTo>
                        <a:pt x="441" y="202"/>
                      </a:lnTo>
                      <a:lnTo>
                        <a:pt x="439" y="202"/>
                      </a:lnTo>
                      <a:lnTo>
                        <a:pt x="441" y="203"/>
                      </a:lnTo>
                      <a:lnTo>
                        <a:pt x="441" y="204"/>
                      </a:lnTo>
                      <a:lnTo>
                        <a:pt x="441" y="207"/>
                      </a:lnTo>
                      <a:lnTo>
                        <a:pt x="441" y="209"/>
                      </a:lnTo>
                      <a:lnTo>
                        <a:pt x="441" y="211"/>
                      </a:lnTo>
                      <a:lnTo>
                        <a:pt x="441" y="213"/>
                      </a:lnTo>
                      <a:lnTo>
                        <a:pt x="441" y="214"/>
                      </a:lnTo>
                      <a:lnTo>
                        <a:pt x="441" y="216"/>
                      </a:lnTo>
                      <a:lnTo>
                        <a:pt x="441" y="216"/>
                      </a:lnTo>
                      <a:lnTo>
                        <a:pt x="439" y="218"/>
                      </a:lnTo>
                      <a:lnTo>
                        <a:pt x="439" y="220"/>
                      </a:lnTo>
                      <a:lnTo>
                        <a:pt x="436" y="223"/>
                      </a:lnTo>
                      <a:lnTo>
                        <a:pt x="436" y="224"/>
                      </a:lnTo>
                      <a:lnTo>
                        <a:pt x="435" y="224"/>
                      </a:lnTo>
                      <a:lnTo>
                        <a:pt x="435" y="224"/>
                      </a:lnTo>
                      <a:lnTo>
                        <a:pt x="432" y="223"/>
                      </a:lnTo>
                      <a:lnTo>
                        <a:pt x="431" y="223"/>
                      </a:lnTo>
                      <a:lnTo>
                        <a:pt x="427" y="221"/>
                      </a:lnTo>
                      <a:lnTo>
                        <a:pt x="427" y="221"/>
                      </a:lnTo>
                      <a:lnTo>
                        <a:pt x="421" y="221"/>
                      </a:lnTo>
                      <a:lnTo>
                        <a:pt x="421" y="221"/>
                      </a:lnTo>
                      <a:lnTo>
                        <a:pt x="407" y="223"/>
                      </a:lnTo>
                      <a:lnTo>
                        <a:pt x="401" y="224"/>
                      </a:lnTo>
                      <a:lnTo>
                        <a:pt x="397" y="224"/>
                      </a:lnTo>
                      <a:lnTo>
                        <a:pt x="390" y="216"/>
                      </a:lnTo>
                      <a:lnTo>
                        <a:pt x="387" y="214"/>
                      </a:lnTo>
                      <a:lnTo>
                        <a:pt x="385" y="211"/>
                      </a:lnTo>
                      <a:lnTo>
                        <a:pt x="378" y="204"/>
                      </a:lnTo>
                      <a:lnTo>
                        <a:pt x="365" y="190"/>
                      </a:lnTo>
                      <a:lnTo>
                        <a:pt x="361" y="186"/>
                      </a:lnTo>
                      <a:lnTo>
                        <a:pt x="354" y="179"/>
                      </a:lnTo>
                      <a:lnTo>
                        <a:pt x="331" y="158"/>
                      </a:lnTo>
                      <a:lnTo>
                        <a:pt x="324" y="150"/>
                      </a:lnTo>
                      <a:lnTo>
                        <a:pt x="323" y="148"/>
                      </a:lnTo>
                      <a:lnTo>
                        <a:pt x="319" y="148"/>
                      </a:lnTo>
                      <a:lnTo>
                        <a:pt x="284" y="147"/>
                      </a:lnTo>
                      <a:lnTo>
                        <a:pt x="278" y="147"/>
                      </a:lnTo>
                      <a:lnTo>
                        <a:pt x="274" y="147"/>
                      </a:lnTo>
                      <a:lnTo>
                        <a:pt x="263" y="147"/>
                      </a:lnTo>
                      <a:lnTo>
                        <a:pt x="257" y="147"/>
                      </a:lnTo>
                      <a:lnTo>
                        <a:pt x="250" y="147"/>
                      </a:lnTo>
                      <a:lnTo>
                        <a:pt x="244" y="147"/>
                      </a:lnTo>
                      <a:lnTo>
                        <a:pt x="244" y="144"/>
                      </a:lnTo>
                      <a:lnTo>
                        <a:pt x="244" y="140"/>
                      </a:lnTo>
                      <a:lnTo>
                        <a:pt x="244" y="138"/>
                      </a:lnTo>
                      <a:lnTo>
                        <a:pt x="244" y="136"/>
                      </a:lnTo>
                      <a:lnTo>
                        <a:pt x="237" y="126"/>
                      </a:lnTo>
                      <a:lnTo>
                        <a:pt x="236" y="123"/>
                      </a:lnTo>
                      <a:lnTo>
                        <a:pt x="226" y="119"/>
                      </a:lnTo>
                      <a:lnTo>
                        <a:pt x="226" y="119"/>
                      </a:lnTo>
                      <a:lnTo>
                        <a:pt x="202" y="117"/>
                      </a:lnTo>
                      <a:lnTo>
                        <a:pt x="190" y="117"/>
                      </a:lnTo>
                      <a:lnTo>
                        <a:pt x="173" y="116"/>
                      </a:lnTo>
                      <a:lnTo>
                        <a:pt x="169" y="116"/>
                      </a:lnTo>
                      <a:lnTo>
                        <a:pt x="142" y="115"/>
                      </a:lnTo>
                      <a:lnTo>
                        <a:pt x="135" y="115"/>
                      </a:lnTo>
                      <a:lnTo>
                        <a:pt x="120" y="120"/>
                      </a:lnTo>
                      <a:lnTo>
                        <a:pt x="107" y="124"/>
                      </a:lnTo>
                      <a:lnTo>
                        <a:pt x="105" y="126"/>
                      </a:lnTo>
                      <a:lnTo>
                        <a:pt x="94" y="129"/>
                      </a:lnTo>
                      <a:lnTo>
                        <a:pt x="87" y="131"/>
                      </a:lnTo>
                      <a:lnTo>
                        <a:pt x="86" y="131"/>
                      </a:lnTo>
                      <a:lnTo>
                        <a:pt x="86" y="131"/>
                      </a:lnTo>
                      <a:lnTo>
                        <a:pt x="84" y="131"/>
                      </a:lnTo>
                      <a:lnTo>
                        <a:pt x="75" y="131"/>
                      </a:lnTo>
                      <a:lnTo>
                        <a:pt x="75" y="131"/>
                      </a:lnTo>
                      <a:lnTo>
                        <a:pt x="70" y="131"/>
                      </a:lnTo>
                      <a:lnTo>
                        <a:pt x="61" y="133"/>
                      </a:lnTo>
                      <a:lnTo>
                        <a:pt x="48" y="133"/>
                      </a:lnTo>
                      <a:lnTo>
                        <a:pt x="40" y="133"/>
                      </a:lnTo>
                      <a:lnTo>
                        <a:pt x="19" y="133"/>
                      </a:lnTo>
                      <a:lnTo>
                        <a:pt x="0" y="133"/>
                      </a:lnTo>
                      <a:lnTo>
                        <a:pt x="2" y="117"/>
                      </a:lnTo>
                      <a:lnTo>
                        <a:pt x="2" y="115"/>
                      </a:lnTo>
                      <a:lnTo>
                        <a:pt x="3" y="115"/>
                      </a:lnTo>
                      <a:lnTo>
                        <a:pt x="3" y="113"/>
                      </a:lnTo>
                      <a:lnTo>
                        <a:pt x="3" y="113"/>
                      </a:lnTo>
                      <a:lnTo>
                        <a:pt x="3" y="112"/>
                      </a:lnTo>
                      <a:lnTo>
                        <a:pt x="6" y="110"/>
                      </a:lnTo>
                      <a:lnTo>
                        <a:pt x="6" y="110"/>
                      </a:lnTo>
                      <a:lnTo>
                        <a:pt x="7" y="109"/>
                      </a:lnTo>
                      <a:lnTo>
                        <a:pt x="7" y="109"/>
                      </a:lnTo>
                      <a:lnTo>
                        <a:pt x="9" y="110"/>
                      </a:lnTo>
                      <a:lnTo>
                        <a:pt x="9" y="110"/>
                      </a:lnTo>
                      <a:lnTo>
                        <a:pt x="9" y="110"/>
                      </a:lnTo>
                      <a:lnTo>
                        <a:pt x="10" y="112"/>
                      </a:lnTo>
                      <a:lnTo>
                        <a:pt x="13" y="110"/>
                      </a:lnTo>
                      <a:lnTo>
                        <a:pt x="16" y="110"/>
                      </a:lnTo>
                      <a:lnTo>
                        <a:pt x="17" y="110"/>
                      </a:lnTo>
                      <a:lnTo>
                        <a:pt x="17" y="110"/>
                      </a:lnTo>
                      <a:lnTo>
                        <a:pt x="20" y="109"/>
                      </a:lnTo>
                      <a:lnTo>
                        <a:pt x="20" y="109"/>
                      </a:lnTo>
                      <a:lnTo>
                        <a:pt x="20" y="108"/>
                      </a:lnTo>
                      <a:lnTo>
                        <a:pt x="20" y="108"/>
                      </a:lnTo>
                      <a:lnTo>
                        <a:pt x="20" y="102"/>
                      </a:lnTo>
                      <a:lnTo>
                        <a:pt x="21" y="98"/>
                      </a:lnTo>
                      <a:lnTo>
                        <a:pt x="23" y="96"/>
                      </a:lnTo>
                      <a:lnTo>
                        <a:pt x="24" y="95"/>
                      </a:lnTo>
                      <a:lnTo>
                        <a:pt x="31" y="89"/>
                      </a:lnTo>
                      <a:lnTo>
                        <a:pt x="31" y="89"/>
                      </a:lnTo>
                      <a:lnTo>
                        <a:pt x="40" y="85"/>
                      </a:lnTo>
                      <a:lnTo>
                        <a:pt x="41" y="85"/>
                      </a:lnTo>
                      <a:lnTo>
                        <a:pt x="42" y="85"/>
                      </a:lnTo>
                      <a:lnTo>
                        <a:pt x="48" y="85"/>
                      </a:lnTo>
                      <a:lnTo>
                        <a:pt x="52" y="85"/>
                      </a:lnTo>
                      <a:lnTo>
                        <a:pt x="54" y="85"/>
                      </a:lnTo>
                      <a:lnTo>
                        <a:pt x="56" y="85"/>
                      </a:lnTo>
                      <a:lnTo>
                        <a:pt x="58" y="85"/>
                      </a:lnTo>
                      <a:lnTo>
                        <a:pt x="68" y="78"/>
                      </a:lnTo>
                      <a:lnTo>
                        <a:pt x="76" y="73"/>
                      </a:lnTo>
                      <a:lnTo>
                        <a:pt x="80" y="70"/>
                      </a:lnTo>
                      <a:lnTo>
                        <a:pt x="82" y="68"/>
                      </a:lnTo>
                      <a:lnTo>
                        <a:pt x="87" y="67"/>
                      </a:lnTo>
                      <a:lnTo>
                        <a:pt x="87" y="67"/>
                      </a:lnTo>
                      <a:lnTo>
                        <a:pt x="96" y="63"/>
                      </a:lnTo>
                      <a:lnTo>
                        <a:pt x="97" y="63"/>
                      </a:lnTo>
                      <a:lnTo>
                        <a:pt x="98" y="59"/>
                      </a:lnTo>
                      <a:lnTo>
                        <a:pt x="98" y="59"/>
                      </a:lnTo>
                      <a:lnTo>
                        <a:pt x="98" y="59"/>
                      </a:lnTo>
                      <a:lnTo>
                        <a:pt x="103" y="53"/>
                      </a:lnTo>
                      <a:lnTo>
                        <a:pt x="108" y="49"/>
                      </a:lnTo>
                      <a:lnTo>
                        <a:pt x="108" y="49"/>
                      </a:lnTo>
                      <a:lnTo>
                        <a:pt x="111" y="47"/>
                      </a:lnTo>
                      <a:lnTo>
                        <a:pt x="118" y="45"/>
                      </a:lnTo>
                      <a:lnTo>
                        <a:pt x="118" y="45"/>
                      </a:lnTo>
                      <a:lnTo>
                        <a:pt x="118" y="45"/>
                      </a:lnTo>
                      <a:lnTo>
                        <a:pt x="120" y="45"/>
                      </a:lnTo>
                      <a:lnTo>
                        <a:pt x="120" y="45"/>
                      </a:lnTo>
                      <a:lnTo>
                        <a:pt x="121" y="47"/>
                      </a:lnTo>
                      <a:lnTo>
                        <a:pt x="121" y="47"/>
                      </a:lnTo>
                      <a:lnTo>
                        <a:pt x="121" y="47"/>
                      </a:lnTo>
                      <a:lnTo>
                        <a:pt x="120" y="49"/>
                      </a:lnTo>
                      <a:lnTo>
                        <a:pt x="120" y="50"/>
                      </a:lnTo>
                      <a:lnTo>
                        <a:pt x="120" y="50"/>
                      </a:lnTo>
                      <a:lnTo>
                        <a:pt x="120" y="52"/>
                      </a:lnTo>
                      <a:lnTo>
                        <a:pt x="121" y="52"/>
                      </a:lnTo>
                      <a:lnTo>
                        <a:pt x="121" y="53"/>
                      </a:lnTo>
                      <a:lnTo>
                        <a:pt x="122" y="53"/>
                      </a:lnTo>
                      <a:lnTo>
                        <a:pt x="122" y="53"/>
                      </a:lnTo>
                      <a:lnTo>
                        <a:pt x="124" y="52"/>
                      </a:lnTo>
                      <a:lnTo>
                        <a:pt x="127" y="50"/>
                      </a:lnTo>
                      <a:lnTo>
                        <a:pt x="128" y="50"/>
                      </a:lnTo>
                      <a:lnTo>
                        <a:pt x="129" y="49"/>
                      </a:lnTo>
                      <a:lnTo>
                        <a:pt x="129" y="47"/>
                      </a:lnTo>
                      <a:lnTo>
                        <a:pt x="131" y="45"/>
                      </a:lnTo>
                      <a:lnTo>
                        <a:pt x="131" y="45"/>
                      </a:lnTo>
                      <a:lnTo>
                        <a:pt x="132" y="43"/>
                      </a:lnTo>
                      <a:lnTo>
                        <a:pt x="134" y="42"/>
                      </a:lnTo>
                      <a:lnTo>
                        <a:pt x="135" y="40"/>
                      </a:lnTo>
                      <a:lnTo>
                        <a:pt x="135" y="40"/>
                      </a:lnTo>
                      <a:lnTo>
                        <a:pt x="136" y="40"/>
                      </a:lnTo>
                      <a:lnTo>
                        <a:pt x="146" y="36"/>
                      </a:lnTo>
                      <a:lnTo>
                        <a:pt x="148" y="36"/>
                      </a:lnTo>
                      <a:lnTo>
                        <a:pt x="150" y="38"/>
                      </a:lnTo>
                      <a:lnTo>
                        <a:pt x="150" y="38"/>
                      </a:lnTo>
                      <a:lnTo>
                        <a:pt x="152" y="38"/>
                      </a:lnTo>
                      <a:lnTo>
                        <a:pt x="152" y="39"/>
                      </a:lnTo>
                      <a:lnTo>
                        <a:pt x="152" y="39"/>
                      </a:lnTo>
                      <a:lnTo>
                        <a:pt x="152" y="40"/>
                      </a:lnTo>
                      <a:lnTo>
                        <a:pt x="152" y="40"/>
                      </a:lnTo>
                      <a:lnTo>
                        <a:pt x="153" y="40"/>
                      </a:lnTo>
                      <a:lnTo>
                        <a:pt x="153" y="40"/>
                      </a:lnTo>
                      <a:lnTo>
                        <a:pt x="155" y="42"/>
                      </a:lnTo>
                      <a:lnTo>
                        <a:pt x="156" y="42"/>
                      </a:lnTo>
                      <a:lnTo>
                        <a:pt x="156" y="40"/>
                      </a:lnTo>
                      <a:lnTo>
                        <a:pt x="159" y="39"/>
                      </a:lnTo>
                      <a:lnTo>
                        <a:pt x="166" y="26"/>
                      </a:lnTo>
                      <a:lnTo>
                        <a:pt x="166" y="25"/>
                      </a:lnTo>
                      <a:lnTo>
                        <a:pt x="167" y="23"/>
                      </a:lnTo>
                      <a:lnTo>
                        <a:pt x="173" y="21"/>
                      </a:lnTo>
                      <a:lnTo>
                        <a:pt x="174" y="19"/>
                      </a:lnTo>
                      <a:lnTo>
                        <a:pt x="178" y="16"/>
                      </a:lnTo>
                      <a:lnTo>
                        <a:pt x="181" y="11"/>
                      </a:lnTo>
                      <a:lnTo>
                        <a:pt x="181" y="9"/>
                      </a:lnTo>
                      <a:lnTo>
                        <a:pt x="181" y="8"/>
                      </a:lnTo>
                      <a:lnTo>
                        <a:pt x="181" y="7"/>
                      </a:lnTo>
                      <a:lnTo>
                        <a:pt x="181" y="7"/>
                      </a:lnTo>
                      <a:lnTo>
                        <a:pt x="181" y="5"/>
                      </a:lnTo>
                      <a:lnTo>
                        <a:pt x="181" y="5"/>
                      </a:lnTo>
                      <a:lnTo>
                        <a:pt x="181" y="4"/>
                      </a:lnTo>
                      <a:lnTo>
                        <a:pt x="181" y="4"/>
                      </a:lnTo>
                      <a:lnTo>
                        <a:pt x="185" y="0"/>
                      </a:lnTo>
                      <a:lnTo>
                        <a:pt x="185" y="1"/>
                      </a:lnTo>
                      <a:lnTo>
                        <a:pt x="195" y="1"/>
                      </a:lnTo>
                      <a:lnTo>
                        <a:pt x="204" y="2"/>
                      </a:lnTo>
                      <a:lnTo>
                        <a:pt x="215" y="2"/>
                      </a:lnTo>
                      <a:lnTo>
                        <a:pt x="219" y="2"/>
                      </a:lnTo>
                      <a:lnTo>
                        <a:pt x="260" y="4"/>
                      </a:lnTo>
                      <a:lnTo>
                        <a:pt x="281" y="4"/>
                      </a:lnTo>
                      <a:lnTo>
                        <a:pt x="399" y="4"/>
                      </a:lnTo>
                      <a:lnTo>
                        <a:pt x="407" y="4"/>
                      </a:lnTo>
                      <a:lnTo>
                        <a:pt x="414" y="4"/>
                      </a:lnTo>
                      <a:lnTo>
                        <a:pt x="417" y="4"/>
                      </a:lnTo>
                      <a:lnTo>
                        <a:pt x="448" y="4"/>
                      </a:lnTo>
                      <a:lnTo>
                        <a:pt x="471" y="4"/>
                      </a:lnTo>
                      <a:lnTo>
                        <a:pt x="491" y="4"/>
                      </a:lnTo>
                      <a:lnTo>
                        <a:pt x="540" y="4"/>
                      </a:lnTo>
                      <a:lnTo>
                        <a:pt x="572" y="7"/>
                      </a:lnTo>
                      <a:lnTo>
                        <a:pt x="572" y="7"/>
                      </a:lnTo>
                      <a:lnTo>
                        <a:pt x="572" y="8"/>
                      </a:lnTo>
                      <a:lnTo>
                        <a:pt x="577" y="15"/>
                      </a:lnTo>
                      <a:lnTo>
                        <a:pt x="577" y="16"/>
                      </a:lnTo>
                      <a:lnTo>
                        <a:pt x="579" y="19"/>
                      </a:lnTo>
                      <a:lnTo>
                        <a:pt x="581" y="21"/>
                      </a:lnTo>
                      <a:lnTo>
                        <a:pt x="584" y="25"/>
                      </a:lnTo>
                      <a:lnTo>
                        <a:pt x="589" y="40"/>
                      </a:lnTo>
                      <a:lnTo>
                        <a:pt x="591" y="43"/>
                      </a:lnTo>
                      <a:lnTo>
                        <a:pt x="591" y="43"/>
                      </a:lnTo>
                      <a:lnTo>
                        <a:pt x="591" y="43"/>
                      </a:lnTo>
                      <a:lnTo>
                        <a:pt x="591" y="43"/>
                      </a:lnTo>
                      <a:lnTo>
                        <a:pt x="589" y="43"/>
                      </a:lnTo>
                      <a:lnTo>
                        <a:pt x="589" y="43"/>
                      </a:lnTo>
                      <a:lnTo>
                        <a:pt x="588" y="43"/>
                      </a:lnTo>
                      <a:lnTo>
                        <a:pt x="586" y="42"/>
                      </a:lnTo>
                      <a:lnTo>
                        <a:pt x="585" y="40"/>
                      </a:lnTo>
                      <a:lnTo>
                        <a:pt x="585" y="40"/>
                      </a:lnTo>
                      <a:lnTo>
                        <a:pt x="579" y="26"/>
                      </a:lnTo>
                      <a:lnTo>
                        <a:pt x="579" y="26"/>
                      </a:lnTo>
                      <a:lnTo>
                        <a:pt x="579" y="26"/>
                      </a:lnTo>
                      <a:lnTo>
                        <a:pt x="579" y="25"/>
                      </a:lnTo>
                      <a:lnTo>
                        <a:pt x="578" y="23"/>
                      </a:lnTo>
                      <a:lnTo>
                        <a:pt x="577" y="23"/>
                      </a:lnTo>
                      <a:lnTo>
                        <a:pt x="577" y="23"/>
                      </a:lnTo>
                      <a:lnTo>
                        <a:pt x="577" y="23"/>
                      </a:lnTo>
                      <a:lnTo>
                        <a:pt x="575" y="23"/>
                      </a:lnTo>
                      <a:lnTo>
                        <a:pt x="575" y="23"/>
                      </a:lnTo>
                      <a:lnTo>
                        <a:pt x="578" y="33"/>
                      </a:lnTo>
                      <a:lnTo>
                        <a:pt x="578" y="33"/>
                      </a:lnTo>
                      <a:lnTo>
                        <a:pt x="578" y="33"/>
                      </a:lnTo>
                      <a:lnTo>
                        <a:pt x="579" y="35"/>
                      </a:lnTo>
                      <a:lnTo>
                        <a:pt x="581" y="35"/>
                      </a:lnTo>
                      <a:lnTo>
                        <a:pt x="581" y="35"/>
                      </a:lnTo>
                      <a:lnTo>
                        <a:pt x="581" y="36"/>
                      </a:lnTo>
                      <a:lnTo>
                        <a:pt x="579" y="36"/>
                      </a:lnTo>
                      <a:lnTo>
                        <a:pt x="577" y="35"/>
                      </a:lnTo>
                      <a:lnTo>
                        <a:pt x="575" y="35"/>
                      </a:lnTo>
                      <a:lnTo>
                        <a:pt x="574" y="35"/>
                      </a:lnTo>
                      <a:lnTo>
                        <a:pt x="574" y="33"/>
                      </a:lnTo>
                      <a:lnTo>
                        <a:pt x="572" y="32"/>
                      </a:lnTo>
                      <a:lnTo>
                        <a:pt x="572" y="32"/>
                      </a:lnTo>
                      <a:lnTo>
                        <a:pt x="572" y="30"/>
                      </a:lnTo>
                      <a:lnTo>
                        <a:pt x="565" y="26"/>
                      </a:lnTo>
                      <a:lnTo>
                        <a:pt x="565" y="25"/>
                      </a:lnTo>
                      <a:lnTo>
                        <a:pt x="563" y="23"/>
                      </a:lnTo>
                      <a:lnTo>
                        <a:pt x="563" y="23"/>
                      </a:lnTo>
                      <a:lnTo>
                        <a:pt x="561" y="23"/>
                      </a:lnTo>
                      <a:lnTo>
                        <a:pt x="561" y="23"/>
                      </a:lnTo>
                      <a:lnTo>
                        <a:pt x="561" y="23"/>
                      </a:lnTo>
                      <a:lnTo>
                        <a:pt x="560" y="25"/>
                      </a:lnTo>
                      <a:lnTo>
                        <a:pt x="560" y="25"/>
                      </a:lnTo>
                      <a:lnTo>
                        <a:pt x="560" y="26"/>
                      </a:lnTo>
                      <a:lnTo>
                        <a:pt x="563" y="28"/>
                      </a:lnTo>
                      <a:lnTo>
                        <a:pt x="564" y="28"/>
                      </a:lnTo>
                      <a:lnTo>
                        <a:pt x="565" y="28"/>
                      </a:lnTo>
                      <a:lnTo>
                        <a:pt x="565" y="28"/>
                      </a:lnTo>
                      <a:lnTo>
                        <a:pt x="570" y="33"/>
                      </a:lnTo>
                      <a:lnTo>
                        <a:pt x="570" y="35"/>
                      </a:lnTo>
                      <a:lnTo>
                        <a:pt x="570" y="35"/>
                      </a:lnTo>
                      <a:lnTo>
                        <a:pt x="571" y="36"/>
                      </a:lnTo>
                      <a:lnTo>
                        <a:pt x="570" y="38"/>
                      </a:lnTo>
                      <a:lnTo>
                        <a:pt x="561" y="42"/>
                      </a:lnTo>
                      <a:lnTo>
                        <a:pt x="561" y="42"/>
                      </a:lnTo>
                      <a:lnTo>
                        <a:pt x="560" y="42"/>
                      </a:lnTo>
                      <a:lnTo>
                        <a:pt x="560" y="42"/>
                      </a:lnTo>
                      <a:lnTo>
                        <a:pt x="558" y="42"/>
                      </a:lnTo>
                      <a:lnTo>
                        <a:pt x="553" y="39"/>
                      </a:lnTo>
                      <a:lnTo>
                        <a:pt x="550" y="38"/>
                      </a:lnTo>
                      <a:lnTo>
                        <a:pt x="550" y="40"/>
                      </a:lnTo>
                      <a:lnTo>
                        <a:pt x="550" y="43"/>
                      </a:lnTo>
                      <a:lnTo>
                        <a:pt x="542" y="49"/>
                      </a:lnTo>
                      <a:lnTo>
                        <a:pt x="542" y="49"/>
                      </a:lnTo>
                      <a:lnTo>
                        <a:pt x="540" y="49"/>
                      </a:lnTo>
                      <a:lnTo>
                        <a:pt x="539" y="49"/>
                      </a:lnTo>
                      <a:lnTo>
                        <a:pt x="530" y="47"/>
                      </a:lnTo>
                      <a:lnTo>
                        <a:pt x="530" y="47"/>
                      </a:lnTo>
                      <a:lnTo>
                        <a:pt x="529" y="46"/>
                      </a:lnTo>
                      <a:lnTo>
                        <a:pt x="528" y="45"/>
                      </a:lnTo>
                      <a:lnTo>
                        <a:pt x="528" y="43"/>
                      </a:lnTo>
                      <a:lnTo>
                        <a:pt x="528" y="43"/>
                      </a:lnTo>
                      <a:lnTo>
                        <a:pt x="528" y="43"/>
                      </a:lnTo>
                      <a:lnTo>
                        <a:pt x="526" y="40"/>
                      </a:lnTo>
                      <a:lnTo>
                        <a:pt x="526" y="39"/>
                      </a:lnTo>
                      <a:lnTo>
                        <a:pt x="525" y="36"/>
                      </a:lnTo>
                      <a:lnTo>
                        <a:pt x="525" y="36"/>
                      </a:lnTo>
                      <a:lnTo>
                        <a:pt x="526" y="33"/>
                      </a:lnTo>
                      <a:lnTo>
                        <a:pt x="526" y="32"/>
                      </a:lnTo>
                      <a:lnTo>
                        <a:pt x="526" y="30"/>
                      </a:lnTo>
                      <a:lnTo>
                        <a:pt x="526" y="29"/>
                      </a:lnTo>
                      <a:lnTo>
                        <a:pt x="528" y="29"/>
                      </a:lnTo>
                      <a:lnTo>
                        <a:pt x="526" y="28"/>
                      </a:lnTo>
                      <a:lnTo>
                        <a:pt x="523" y="30"/>
                      </a:lnTo>
                      <a:lnTo>
                        <a:pt x="523" y="30"/>
                      </a:lnTo>
                      <a:lnTo>
                        <a:pt x="523" y="32"/>
                      </a:lnTo>
                      <a:lnTo>
                        <a:pt x="523" y="33"/>
                      </a:lnTo>
                      <a:lnTo>
                        <a:pt x="523" y="36"/>
                      </a:lnTo>
                      <a:lnTo>
                        <a:pt x="523" y="42"/>
                      </a:lnTo>
                      <a:lnTo>
                        <a:pt x="525" y="45"/>
                      </a:lnTo>
                      <a:lnTo>
                        <a:pt x="525" y="46"/>
                      </a:lnTo>
                      <a:lnTo>
                        <a:pt x="525" y="54"/>
                      </a:lnTo>
                      <a:lnTo>
                        <a:pt x="525" y="54"/>
                      </a:lnTo>
                      <a:lnTo>
                        <a:pt x="525" y="54"/>
                      </a:lnTo>
                      <a:lnTo>
                        <a:pt x="529" y="54"/>
                      </a:lnTo>
                      <a:lnTo>
                        <a:pt x="530" y="54"/>
                      </a:lnTo>
                      <a:lnTo>
                        <a:pt x="536" y="54"/>
                      </a:lnTo>
                      <a:lnTo>
                        <a:pt x="537" y="54"/>
                      </a:lnTo>
                      <a:lnTo>
                        <a:pt x="539" y="54"/>
                      </a:lnTo>
                      <a:lnTo>
                        <a:pt x="539" y="54"/>
                      </a:lnTo>
                      <a:lnTo>
                        <a:pt x="542" y="53"/>
                      </a:lnTo>
                      <a:lnTo>
                        <a:pt x="543" y="52"/>
                      </a:lnTo>
                      <a:lnTo>
                        <a:pt x="546" y="52"/>
                      </a:lnTo>
                      <a:lnTo>
                        <a:pt x="547" y="52"/>
                      </a:lnTo>
                      <a:lnTo>
                        <a:pt x="547" y="52"/>
                      </a:lnTo>
                      <a:lnTo>
                        <a:pt x="549" y="52"/>
                      </a:lnTo>
                      <a:lnTo>
                        <a:pt x="549" y="52"/>
                      </a:lnTo>
                      <a:lnTo>
                        <a:pt x="549" y="52"/>
                      </a:lnTo>
                      <a:lnTo>
                        <a:pt x="549" y="52"/>
                      </a:lnTo>
                      <a:lnTo>
                        <a:pt x="549" y="53"/>
                      </a:lnTo>
                      <a:lnTo>
                        <a:pt x="549" y="53"/>
                      </a:lnTo>
                      <a:lnTo>
                        <a:pt x="549" y="54"/>
                      </a:lnTo>
                      <a:lnTo>
                        <a:pt x="556" y="56"/>
                      </a:lnTo>
                      <a:lnTo>
                        <a:pt x="557" y="56"/>
                      </a:lnTo>
                      <a:lnTo>
                        <a:pt x="554" y="54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  <p:sp>
              <p:nvSpPr>
                <p:cNvPr id="120" name="Freeform 99"/>
                <p:cNvSpPr>
                  <a:spLocks/>
                </p:cNvSpPr>
                <p:nvPr/>
              </p:nvSpPr>
              <p:spPr bwMode="auto">
                <a:xfrm>
                  <a:off x="6035675" y="3028157"/>
                  <a:ext cx="525463" cy="608013"/>
                </a:xfrm>
                <a:custGeom>
                  <a:avLst/>
                  <a:gdLst>
                    <a:gd name="T0" fmla="*/ 108 w 331"/>
                    <a:gd name="T1" fmla="*/ 2 h 383"/>
                    <a:gd name="T2" fmla="*/ 173 w 331"/>
                    <a:gd name="T3" fmla="*/ 0 h 383"/>
                    <a:gd name="T4" fmla="*/ 172 w 331"/>
                    <a:gd name="T5" fmla="*/ 7 h 383"/>
                    <a:gd name="T6" fmla="*/ 157 w 331"/>
                    <a:gd name="T7" fmla="*/ 24 h 383"/>
                    <a:gd name="T8" fmla="*/ 178 w 331"/>
                    <a:gd name="T9" fmla="*/ 43 h 383"/>
                    <a:gd name="T10" fmla="*/ 187 w 331"/>
                    <a:gd name="T11" fmla="*/ 44 h 383"/>
                    <a:gd name="T12" fmla="*/ 196 w 331"/>
                    <a:gd name="T13" fmla="*/ 58 h 383"/>
                    <a:gd name="T14" fmla="*/ 203 w 331"/>
                    <a:gd name="T15" fmla="*/ 72 h 383"/>
                    <a:gd name="T16" fmla="*/ 211 w 331"/>
                    <a:gd name="T17" fmla="*/ 87 h 383"/>
                    <a:gd name="T18" fmla="*/ 225 w 331"/>
                    <a:gd name="T19" fmla="*/ 96 h 383"/>
                    <a:gd name="T20" fmla="*/ 234 w 331"/>
                    <a:gd name="T21" fmla="*/ 107 h 383"/>
                    <a:gd name="T22" fmla="*/ 242 w 331"/>
                    <a:gd name="T23" fmla="*/ 117 h 383"/>
                    <a:gd name="T24" fmla="*/ 256 w 331"/>
                    <a:gd name="T25" fmla="*/ 128 h 383"/>
                    <a:gd name="T26" fmla="*/ 266 w 331"/>
                    <a:gd name="T27" fmla="*/ 152 h 383"/>
                    <a:gd name="T28" fmla="*/ 283 w 331"/>
                    <a:gd name="T29" fmla="*/ 162 h 383"/>
                    <a:gd name="T30" fmla="*/ 291 w 331"/>
                    <a:gd name="T31" fmla="*/ 190 h 383"/>
                    <a:gd name="T32" fmla="*/ 293 w 331"/>
                    <a:gd name="T33" fmla="*/ 198 h 383"/>
                    <a:gd name="T34" fmla="*/ 300 w 331"/>
                    <a:gd name="T35" fmla="*/ 202 h 383"/>
                    <a:gd name="T36" fmla="*/ 308 w 331"/>
                    <a:gd name="T37" fmla="*/ 232 h 383"/>
                    <a:gd name="T38" fmla="*/ 315 w 331"/>
                    <a:gd name="T39" fmla="*/ 242 h 383"/>
                    <a:gd name="T40" fmla="*/ 326 w 331"/>
                    <a:gd name="T41" fmla="*/ 246 h 383"/>
                    <a:gd name="T42" fmla="*/ 331 w 331"/>
                    <a:gd name="T43" fmla="*/ 249 h 383"/>
                    <a:gd name="T44" fmla="*/ 315 w 331"/>
                    <a:gd name="T45" fmla="*/ 265 h 383"/>
                    <a:gd name="T46" fmla="*/ 308 w 331"/>
                    <a:gd name="T47" fmla="*/ 284 h 383"/>
                    <a:gd name="T48" fmla="*/ 298 w 331"/>
                    <a:gd name="T49" fmla="*/ 284 h 383"/>
                    <a:gd name="T50" fmla="*/ 300 w 331"/>
                    <a:gd name="T51" fmla="*/ 291 h 383"/>
                    <a:gd name="T52" fmla="*/ 300 w 331"/>
                    <a:gd name="T53" fmla="*/ 308 h 383"/>
                    <a:gd name="T54" fmla="*/ 300 w 331"/>
                    <a:gd name="T55" fmla="*/ 313 h 383"/>
                    <a:gd name="T56" fmla="*/ 291 w 331"/>
                    <a:gd name="T57" fmla="*/ 317 h 383"/>
                    <a:gd name="T58" fmla="*/ 291 w 331"/>
                    <a:gd name="T59" fmla="*/ 315 h 383"/>
                    <a:gd name="T60" fmla="*/ 286 w 331"/>
                    <a:gd name="T61" fmla="*/ 320 h 383"/>
                    <a:gd name="T62" fmla="*/ 290 w 331"/>
                    <a:gd name="T63" fmla="*/ 323 h 383"/>
                    <a:gd name="T64" fmla="*/ 290 w 331"/>
                    <a:gd name="T65" fmla="*/ 329 h 383"/>
                    <a:gd name="T66" fmla="*/ 283 w 331"/>
                    <a:gd name="T67" fmla="*/ 343 h 383"/>
                    <a:gd name="T68" fmla="*/ 286 w 331"/>
                    <a:gd name="T69" fmla="*/ 351 h 383"/>
                    <a:gd name="T70" fmla="*/ 269 w 331"/>
                    <a:gd name="T71" fmla="*/ 352 h 383"/>
                    <a:gd name="T72" fmla="*/ 253 w 331"/>
                    <a:gd name="T73" fmla="*/ 345 h 383"/>
                    <a:gd name="T74" fmla="*/ 246 w 331"/>
                    <a:gd name="T75" fmla="*/ 358 h 383"/>
                    <a:gd name="T76" fmla="*/ 249 w 331"/>
                    <a:gd name="T77" fmla="*/ 365 h 383"/>
                    <a:gd name="T78" fmla="*/ 238 w 331"/>
                    <a:gd name="T79" fmla="*/ 383 h 383"/>
                    <a:gd name="T80" fmla="*/ 235 w 331"/>
                    <a:gd name="T81" fmla="*/ 378 h 383"/>
                    <a:gd name="T82" fmla="*/ 227 w 331"/>
                    <a:gd name="T83" fmla="*/ 366 h 383"/>
                    <a:gd name="T84" fmla="*/ 96 w 331"/>
                    <a:gd name="T85" fmla="*/ 357 h 383"/>
                    <a:gd name="T86" fmla="*/ 49 w 331"/>
                    <a:gd name="T87" fmla="*/ 351 h 383"/>
                    <a:gd name="T88" fmla="*/ 43 w 331"/>
                    <a:gd name="T89" fmla="*/ 331 h 383"/>
                    <a:gd name="T90" fmla="*/ 40 w 331"/>
                    <a:gd name="T91" fmla="*/ 322 h 383"/>
                    <a:gd name="T92" fmla="*/ 36 w 331"/>
                    <a:gd name="T93" fmla="*/ 316 h 383"/>
                    <a:gd name="T94" fmla="*/ 39 w 331"/>
                    <a:gd name="T95" fmla="*/ 281 h 383"/>
                    <a:gd name="T96" fmla="*/ 36 w 331"/>
                    <a:gd name="T97" fmla="*/ 275 h 383"/>
                    <a:gd name="T98" fmla="*/ 33 w 331"/>
                    <a:gd name="T99" fmla="*/ 261 h 383"/>
                    <a:gd name="T100" fmla="*/ 43 w 331"/>
                    <a:gd name="T101" fmla="*/ 233 h 383"/>
                    <a:gd name="T102" fmla="*/ 49 w 331"/>
                    <a:gd name="T103" fmla="*/ 223 h 383"/>
                    <a:gd name="T104" fmla="*/ 43 w 331"/>
                    <a:gd name="T105" fmla="*/ 205 h 383"/>
                    <a:gd name="T106" fmla="*/ 35 w 331"/>
                    <a:gd name="T107" fmla="*/ 188 h 383"/>
                    <a:gd name="T108" fmla="*/ 23 w 331"/>
                    <a:gd name="T109" fmla="*/ 132 h 383"/>
                    <a:gd name="T110" fmla="*/ 1 w 331"/>
                    <a:gd name="T111" fmla="*/ 7 h 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331" h="383">
                      <a:moveTo>
                        <a:pt x="26" y="0"/>
                      </a:moveTo>
                      <a:lnTo>
                        <a:pt x="73" y="0"/>
                      </a:lnTo>
                      <a:lnTo>
                        <a:pt x="81" y="2"/>
                      </a:lnTo>
                      <a:lnTo>
                        <a:pt x="85" y="2"/>
                      </a:lnTo>
                      <a:lnTo>
                        <a:pt x="89" y="2"/>
                      </a:lnTo>
                      <a:lnTo>
                        <a:pt x="89" y="2"/>
                      </a:lnTo>
                      <a:lnTo>
                        <a:pt x="108" y="2"/>
                      </a:lnTo>
                      <a:lnTo>
                        <a:pt x="129" y="2"/>
                      </a:lnTo>
                      <a:lnTo>
                        <a:pt x="137" y="2"/>
                      </a:lnTo>
                      <a:lnTo>
                        <a:pt x="150" y="2"/>
                      </a:lnTo>
                      <a:lnTo>
                        <a:pt x="159" y="0"/>
                      </a:lnTo>
                      <a:lnTo>
                        <a:pt x="164" y="0"/>
                      </a:lnTo>
                      <a:lnTo>
                        <a:pt x="164" y="0"/>
                      </a:lnTo>
                      <a:lnTo>
                        <a:pt x="173" y="0"/>
                      </a:lnTo>
                      <a:lnTo>
                        <a:pt x="175" y="0"/>
                      </a:lnTo>
                      <a:lnTo>
                        <a:pt x="175" y="0"/>
                      </a:lnTo>
                      <a:lnTo>
                        <a:pt x="175" y="2"/>
                      </a:lnTo>
                      <a:lnTo>
                        <a:pt x="175" y="2"/>
                      </a:lnTo>
                      <a:lnTo>
                        <a:pt x="173" y="6"/>
                      </a:lnTo>
                      <a:lnTo>
                        <a:pt x="172" y="7"/>
                      </a:lnTo>
                      <a:lnTo>
                        <a:pt x="172" y="7"/>
                      </a:lnTo>
                      <a:lnTo>
                        <a:pt x="172" y="7"/>
                      </a:lnTo>
                      <a:lnTo>
                        <a:pt x="171" y="7"/>
                      </a:lnTo>
                      <a:lnTo>
                        <a:pt x="168" y="9"/>
                      </a:lnTo>
                      <a:lnTo>
                        <a:pt x="165" y="12"/>
                      </a:lnTo>
                      <a:lnTo>
                        <a:pt x="161" y="17"/>
                      </a:lnTo>
                      <a:lnTo>
                        <a:pt x="159" y="17"/>
                      </a:lnTo>
                      <a:lnTo>
                        <a:pt x="157" y="24"/>
                      </a:lnTo>
                      <a:lnTo>
                        <a:pt x="157" y="24"/>
                      </a:lnTo>
                      <a:lnTo>
                        <a:pt x="157" y="26"/>
                      </a:lnTo>
                      <a:lnTo>
                        <a:pt x="157" y="26"/>
                      </a:lnTo>
                      <a:lnTo>
                        <a:pt x="157" y="26"/>
                      </a:lnTo>
                      <a:lnTo>
                        <a:pt x="158" y="27"/>
                      </a:lnTo>
                      <a:lnTo>
                        <a:pt x="159" y="28"/>
                      </a:lnTo>
                      <a:lnTo>
                        <a:pt x="178" y="43"/>
                      </a:lnTo>
                      <a:lnTo>
                        <a:pt x="179" y="44"/>
                      </a:lnTo>
                      <a:lnTo>
                        <a:pt x="180" y="44"/>
                      </a:lnTo>
                      <a:lnTo>
                        <a:pt x="180" y="44"/>
                      </a:lnTo>
                      <a:lnTo>
                        <a:pt x="183" y="44"/>
                      </a:lnTo>
                      <a:lnTo>
                        <a:pt x="185" y="44"/>
                      </a:lnTo>
                      <a:lnTo>
                        <a:pt x="185" y="44"/>
                      </a:lnTo>
                      <a:lnTo>
                        <a:pt x="187" y="44"/>
                      </a:lnTo>
                      <a:lnTo>
                        <a:pt x="189" y="44"/>
                      </a:lnTo>
                      <a:lnTo>
                        <a:pt x="189" y="44"/>
                      </a:lnTo>
                      <a:lnTo>
                        <a:pt x="189" y="44"/>
                      </a:lnTo>
                      <a:lnTo>
                        <a:pt x="190" y="44"/>
                      </a:lnTo>
                      <a:lnTo>
                        <a:pt x="190" y="45"/>
                      </a:lnTo>
                      <a:lnTo>
                        <a:pt x="190" y="45"/>
                      </a:lnTo>
                      <a:lnTo>
                        <a:pt x="196" y="58"/>
                      </a:lnTo>
                      <a:lnTo>
                        <a:pt x="199" y="65"/>
                      </a:lnTo>
                      <a:lnTo>
                        <a:pt x="200" y="69"/>
                      </a:lnTo>
                      <a:lnTo>
                        <a:pt x="200" y="71"/>
                      </a:lnTo>
                      <a:lnTo>
                        <a:pt x="202" y="71"/>
                      </a:lnTo>
                      <a:lnTo>
                        <a:pt x="202" y="72"/>
                      </a:lnTo>
                      <a:lnTo>
                        <a:pt x="203" y="72"/>
                      </a:lnTo>
                      <a:lnTo>
                        <a:pt x="203" y="72"/>
                      </a:lnTo>
                      <a:lnTo>
                        <a:pt x="204" y="73"/>
                      </a:lnTo>
                      <a:lnTo>
                        <a:pt x="204" y="73"/>
                      </a:lnTo>
                      <a:lnTo>
                        <a:pt x="206" y="75"/>
                      </a:lnTo>
                      <a:lnTo>
                        <a:pt x="207" y="78"/>
                      </a:lnTo>
                      <a:lnTo>
                        <a:pt x="211" y="86"/>
                      </a:lnTo>
                      <a:lnTo>
                        <a:pt x="211" y="86"/>
                      </a:lnTo>
                      <a:lnTo>
                        <a:pt x="211" y="87"/>
                      </a:lnTo>
                      <a:lnTo>
                        <a:pt x="211" y="87"/>
                      </a:lnTo>
                      <a:lnTo>
                        <a:pt x="213" y="87"/>
                      </a:lnTo>
                      <a:lnTo>
                        <a:pt x="218" y="93"/>
                      </a:lnTo>
                      <a:lnTo>
                        <a:pt x="221" y="94"/>
                      </a:lnTo>
                      <a:lnTo>
                        <a:pt x="223" y="94"/>
                      </a:lnTo>
                      <a:lnTo>
                        <a:pt x="223" y="94"/>
                      </a:lnTo>
                      <a:lnTo>
                        <a:pt x="225" y="96"/>
                      </a:lnTo>
                      <a:lnTo>
                        <a:pt x="228" y="99"/>
                      </a:lnTo>
                      <a:lnTo>
                        <a:pt x="230" y="100"/>
                      </a:lnTo>
                      <a:lnTo>
                        <a:pt x="232" y="101"/>
                      </a:lnTo>
                      <a:lnTo>
                        <a:pt x="232" y="103"/>
                      </a:lnTo>
                      <a:lnTo>
                        <a:pt x="234" y="106"/>
                      </a:lnTo>
                      <a:lnTo>
                        <a:pt x="234" y="106"/>
                      </a:lnTo>
                      <a:lnTo>
                        <a:pt x="234" y="107"/>
                      </a:lnTo>
                      <a:lnTo>
                        <a:pt x="234" y="108"/>
                      </a:lnTo>
                      <a:lnTo>
                        <a:pt x="235" y="108"/>
                      </a:lnTo>
                      <a:lnTo>
                        <a:pt x="237" y="114"/>
                      </a:lnTo>
                      <a:lnTo>
                        <a:pt x="238" y="114"/>
                      </a:lnTo>
                      <a:lnTo>
                        <a:pt x="241" y="117"/>
                      </a:lnTo>
                      <a:lnTo>
                        <a:pt x="241" y="117"/>
                      </a:lnTo>
                      <a:lnTo>
                        <a:pt x="242" y="117"/>
                      </a:lnTo>
                      <a:lnTo>
                        <a:pt x="242" y="117"/>
                      </a:lnTo>
                      <a:lnTo>
                        <a:pt x="244" y="117"/>
                      </a:lnTo>
                      <a:lnTo>
                        <a:pt x="244" y="117"/>
                      </a:lnTo>
                      <a:lnTo>
                        <a:pt x="246" y="118"/>
                      </a:lnTo>
                      <a:lnTo>
                        <a:pt x="246" y="120"/>
                      </a:lnTo>
                      <a:lnTo>
                        <a:pt x="255" y="127"/>
                      </a:lnTo>
                      <a:lnTo>
                        <a:pt x="256" y="128"/>
                      </a:lnTo>
                      <a:lnTo>
                        <a:pt x="256" y="128"/>
                      </a:lnTo>
                      <a:lnTo>
                        <a:pt x="255" y="131"/>
                      </a:lnTo>
                      <a:lnTo>
                        <a:pt x="255" y="134"/>
                      </a:lnTo>
                      <a:lnTo>
                        <a:pt x="258" y="139"/>
                      </a:lnTo>
                      <a:lnTo>
                        <a:pt x="262" y="146"/>
                      </a:lnTo>
                      <a:lnTo>
                        <a:pt x="262" y="146"/>
                      </a:lnTo>
                      <a:lnTo>
                        <a:pt x="266" y="152"/>
                      </a:lnTo>
                      <a:lnTo>
                        <a:pt x="267" y="153"/>
                      </a:lnTo>
                      <a:lnTo>
                        <a:pt x="269" y="155"/>
                      </a:lnTo>
                      <a:lnTo>
                        <a:pt x="269" y="155"/>
                      </a:lnTo>
                      <a:lnTo>
                        <a:pt x="270" y="156"/>
                      </a:lnTo>
                      <a:lnTo>
                        <a:pt x="273" y="156"/>
                      </a:lnTo>
                      <a:lnTo>
                        <a:pt x="276" y="157"/>
                      </a:lnTo>
                      <a:lnTo>
                        <a:pt x="283" y="162"/>
                      </a:lnTo>
                      <a:lnTo>
                        <a:pt x="283" y="163"/>
                      </a:lnTo>
                      <a:lnTo>
                        <a:pt x="286" y="165"/>
                      </a:lnTo>
                      <a:lnTo>
                        <a:pt x="291" y="186"/>
                      </a:lnTo>
                      <a:lnTo>
                        <a:pt x="291" y="187"/>
                      </a:lnTo>
                      <a:lnTo>
                        <a:pt x="291" y="187"/>
                      </a:lnTo>
                      <a:lnTo>
                        <a:pt x="291" y="188"/>
                      </a:lnTo>
                      <a:lnTo>
                        <a:pt x="291" y="190"/>
                      </a:lnTo>
                      <a:lnTo>
                        <a:pt x="291" y="190"/>
                      </a:lnTo>
                      <a:lnTo>
                        <a:pt x="291" y="191"/>
                      </a:lnTo>
                      <a:lnTo>
                        <a:pt x="291" y="197"/>
                      </a:lnTo>
                      <a:lnTo>
                        <a:pt x="291" y="197"/>
                      </a:lnTo>
                      <a:lnTo>
                        <a:pt x="291" y="197"/>
                      </a:lnTo>
                      <a:lnTo>
                        <a:pt x="291" y="198"/>
                      </a:lnTo>
                      <a:lnTo>
                        <a:pt x="293" y="198"/>
                      </a:lnTo>
                      <a:lnTo>
                        <a:pt x="294" y="200"/>
                      </a:lnTo>
                      <a:lnTo>
                        <a:pt x="295" y="201"/>
                      </a:lnTo>
                      <a:lnTo>
                        <a:pt x="295" y="201"/>
                      </a:lnTo>
                      <a:lnTo>
                        <a:pt x="297" y="201"/>
                      </a:lnTo>
                      <a:lnTo>
                        <a:pt x="298" y="202"/>
                      </a:lnTo>
                      <a:lnTo>
                        <a:pt x="298" y="202"/>
                      </a:lnTo>
                      <a:lnTo>
                        <a:pt x="300" y="202"/>
                      </a:lnTo>
                      <a:lnTo>
                        <a:pt x="302" y="205"/>
                      </a:lnTo>
                      <a:lnTo>
                        <a:pt x="302" y="205"/>
                      </a:lnTo>
                      <a:lnTo>
                        <a:pt x="305" y="209"/>
                      </a:lnTo>
                      <a:lnTo>
                        <a:pt x="307" y="209"/>
                      </a:lnTo>
                      <a:lnTo>
                        <a:pt x="308" y="221"/>
                      </a:lnTo>
                      <a:lnTo>
                        <a:pt x="309" y="228"/>
                      </a:lnTo>
                      <a:lnTo>
                        <a:pt x="308" y="232"/>
                      </a:lnTo>
                      <a:lnTo>
                        <a:pt x="308" y="233"/>
                      </a:lnTo>
                      <a:lnTo>
                        <a:pt x="311" y="237"/>
                      </a:lnTo>
                      <a:lnTo>
                        <a:pt x="314" y="242"/>
                      </a:lnTo>
                      <a:lnTo>
                        <a:pt x="314" y="242"/>
                      </a:lnTo>
                      <a:lnTo>
                        <a:pt x="315" y="242"/>
                      </a:lnTo>
                      <a:lnTo>
                        <a:pt x="315" y="242"/>
                      </a:lnTo>
                      <a:lnTo>
                        <a:pt x="315" y="242"/>
                      </a:lnTo>
                      <a:lnTo>
                        <a:pt x="316" y="242"/>
                      </a:lnTo>
                      <a:lnTo>
                        <a:pt x="316" y="240"/>
                      </a:lnTo>
                      <a:lnTo>
                        <a:pt x="318" y="240"/>
                      </a:lnTo>
                      <a:lnTo>
                        <a:pt x="318" y="240"/>
                      </a:lnTo>
                      <a:lnTo>
                        <a:pt x="318" y="240"/>
                      </a:lnTo>
                      <a:lnTo>
                        <a:pt x="318" y="242"/>
                      </a:lnTo>
                      <a:lnTo>
                        <a:pt x="326" y="246"/>
                      </a:lnTo>
                      <a:lnTo>
                        <a:pt x="326" y="246"/>
                      </a:lnTo>
                      <a:lnTo>
                        <a:pt x="331" y="247"/>
                      </a:lnTo>
                      <a:lnTo>
                        <a:pt x="331" y="247"/>
                      </a:lnTo>
                      <a:lnTo>
                        <a:pt x="331" y="247"/>
                      </a:lnTo>
                      <a:lnTo>
                        <a:pt x="331" y="247"/>
                      </a:lnTo>
                      <a:lnTo>
                        <a:pt x="331" y="249"/>
                      </a:lnTo>
                      <a:lnTo>
                        <a:pt x="331" y="249"/>
                      </a:lnTo>
                      <a:lnTo>
                        <a:pt x="329" y="250"/>
                      </a:lnTo>
                      <a:lnTo>
                        <a:pt x="323" y="257"/>
                      </a:lnTo>
                      <a:lnTo>
                        <a:pt x="323" y="257"/>
                      </a:lnTo>
                      <a:lnTo>
                        <a:pt x="321" y="260"/>
                      </a:lnTo>
                      <a:lnTo>
                        <a:pt x="321" y="260"/>
                      </a:lnTo>
                      <a:lnTo>
                        <a:pt x="321" y="260"/>
                      </a:lnTo>
                      <a:lnTo>
                        <a:pt x="315" y="265"/>
                      </a:lnTo>
                      <a:lnTo>
                        <a:pt x="311" y="271"/>
                      </a:lnTo>
                      <a:lnTo>
                        <a:pt x="311" y="274"/>
                      </a:lnTo>
                      <a:lnTo>
                        <a:pt x="311" y="274"/>
                      </a:lnTo>
                      <a:lnTo>
                        <a:pt x="311" y="274"/>
                      </a:lnTo>
                      <a:lnTo>
                        <a:pt x="309" y="279"/>
                      </a:lnTo>
                      <a:lnTo>
                        <a:pt x="309" y="281"/>
                      </a:lnTo>
                      <a:lnTo>
                        <a:pt x="308" y="284"/>
                      </a:lnTo>
                      <a:lnTo>
                        <a:pt x="308" y="284"/>
                      </a:lnTo>
                      <a:lnTo>
                        <a:pt x="308" y="284"/>
                      </a:lnTo>
                      <a:lnTo>
                        <a:pt x="302" y="285"/>
                      </a:lnTo>
                      <a:lnTo>
                        <a:pt x="302" y="285"/>
                      </a:lnTo>
                      <a:lnTo>
                        <a:pt x="300" y="285"/>
                      </a:lnTo>
                      <a:lnTo>
                        <a:pt x="300" y="284"/>
                      </a:lnTo>
                      <a:lnTo>
                        <a:pt x="298" y="284"/>
                      </a:lnTo>
                      <a:lnTo>
                        <a:pt x="298" y="284"/>
                      </a:lnTo>
                      <a:lnTo>
                        <a:pt x="297" y="285"/>
                      </a:lnTo>
                      <a:lnTo>
                        <a:pt x="297" y="285"/>
                      </a:lnTo>
                      <a:lnTo>
                        <a:pt x="295" y="285"/>
                      </a:lnTo>
                      <a:lnTo>
                        <a:pt x="300" y="291"/>
                      </a:lnTo>
                      <a:lnTo>
                        <a:pt x="300" y="291"/>
                      </a:lnTo>
                      <a:lnTo>
                        <a:pt x="300" y="291"/>
                      </a:lnTo>
                      <a:lnTo>
                        <a:pt x="300" y="291"/>
                      </a:lnTo>
                      <a:lnTo>
                        <a:pt x="301" y="289"/>
                      </a:lnTo>
                      <a:lnTo>
                        <a:pt x="302" y="289"/>
                      </a:lnTo>
                      <a:lnTo>
                        <a:pt x="305" y="292"/>
                      </a:lnTo>
                      <a:lnTo>
                        <a:pt x="300" y="302"/>
                      </a:lnTo>
                      <a:lnTo>
                        <a:pt x="298" y="305"/>
                      </a:lnTo>
                      <a:lnTo>
                        <a:pt x="300" y="308"/>
                      </a:lnTo>
                      <a:lnTo>
                        <a:pt x="301" y="308"/>
                      </a:lnTo>
                      <a:lnTo>
                        <a:pt x="301" y="308"/>
                      </a:lnTo>
                      <a:lnTo>
                        <a:pt x="301" y="309"/>
                      </a:lnTo>
                      <a:lnTo>
                        <a:pt x="301" y="309"/>
                      </a:lnTo>
                      <a:lnTo>
                        <a:pt x="300" y="312"/>
                      </a:lnTo>
                      <a:lnTo>
                        <a:pt x="300" y="313"/>
                      </a:lnTo>
                      <a:lnTo>
                        <a:pt x="300" y="313"/>
                      </a:lnTo>
                      <a:lnTo>
                        <a:pt x="294" y="317"/>
                      </a:lnTo>
                      <a:lnTo>
                        <a:pt x="294" y="317"/>
                      </a:lnTo>
                      <a:lnTo>
                        <a:pt x="293" y="317"/>
                      </a:lnTo>
                      <a:lnTo>
                        <a:pt x="293" y="317"/>
                      </a:lnTo>
                      <a:lnTo>
                        <a:pt x="293" y="317"/>
                      </a:lnTo>
                      <a:lnTo>
                        <a:pt x="293" y="317"/>
                      </a:lnTo>
                      <a:lnTo>
                        <a:pt x="291" y="317"/>
                      </a:lnTo>
                      <a:lnTo>
                        <a:pt x="291" y="317"/>
                      </a:lnTo>
                      <a:lnTo>
                        <a:pt x="291" y="316"/>
                      </a:lnTo>
                      <a:lnTo>
                        <a:pt x="290" y="317"/>
                      </a:lnTo>
                      <a:lnTo>
                        <a:pt x="291" y="316"/>
                      </a:lnTo>
                      <a:lnTo>
                        <a:pt x="291" y="316"/>
                      </a:lnTo>
                      <a:lnTo>
                        <a:pt x="291" y="315"/>
                      </a:lnTo>
                      <a:lnTo>
                        <a:pt x="291" y="315"/>
                      </a:lnTo>
                      <a:lnTo>
                        <a:pt x="291" y="315"/>
                      </a:lnTo>
                      <a:lnTo>
                        <a:pt x="291" y="313"/>
                      </a:lnTo>
                      <a:lnTo>
                        <a:pt x="290" y="313"/>
                      </a:lnTo>
                      <a:lnTo>
                        <a:pt x="288" y="313"/>
                      </a:lnTo>
                      <a:lnTo>
                        <a:pt x="288" y="313"/>
                      </a:lnTo>
                      <a:lnTo>
                        <a:pt x="288" y="315"/>
                      </a:lnTo>
                      <a:lnTo>
                        <a:pt x="286" y="320"/>
                      </a:lnTo>
                      <a:lnTo>
                        <a:pt x="284" y="320"/>
                      </a:lnTo>
                      <a:lnTo>
                        <a:pt x="286" y="322"/>
                      </a:lnTo>
                      <a:lnTo>
                        <a:pt x="286" y="322"/>
                      </a:lnTo>
                      <a:lnTo>
                        <a:pt x="286" y="322"/>
                      </a:lnTo>
                      <a:lnTo>
                        <a:pt x="288" y="324"/>
                      </a:lnTo>
                      <a:lnTo>
                        <a:pt x="290" y="323"/>
                      </a:lnTo>
                      <a:lnTo>
                        <a:pt x="290" y="323"/>
                      </a:lnTo>
                      <a:lnTo>
                        <a:pt x="291" y="323"/>
                      </a:lnTo>
                      <a:lnTo>
                        <a:pt x="291" y="323"/>
                      </a:lnTo>
                      <a:lnTo>
                        <a:pt x="291" y="323"/>
                      </a:lnTo>
                      <a:lnTo>
                        <a:pt x="291" y="324"/>
                      </a:lnTo>
                      <a:lnTo>
                        <a:pt x="291" y="324"/>
                      </a:lnTo>
                      <a:lnTo>
                        <a:pt x="290" y="329"/>
                      </a:lnTo>
                      <a:lnTo>
                        <a:pt x="290" y="329"/>
                      </a:lnTo>
                      <a:lnTo>
                        <a:pt x="288" y="336"/>
                      </a:lnTo>
                      <a:lnTo>
                        <a:pt x="287" y="336"/>
                      </a:lnTo>
                      <a:lnTo>
                        <a:pt x="287" y="337"/>
                      </a:lnTo>
                      <a:lnTo>
                        <a:pt x="286" y="337"/>
                      </a:lnTo>
                      <a:lnTo>
                        <a:pt x="284" y="338"/>
                      </a:lnTo>
                      <a:lnTo>
                        <a:pt x="284" y="340"/>
                      </a:lnTo>
                      <a:lnTo>
                        <a:pt x="283" y="343"/>
                      </a:lnTo>
                      <a:lnTo>
                        <a:pt x="283" y="344"/>
                      </a:lnTo>
                      <a:lnTo>
                        <a:pt x="284" y="347"/>
                      </a:lnTo>
                      <a:lnTo>
                        <a:pt x="284" y="348"/>
                      </a:lnTo>
                      <a:lnTo>
                        <a:pt x="286" y="348"/>
                      </a:lnTo>
                      <a:lnTo>
                        <a:pt x="286" y="350"/>
                      </a:lnTo>
                      <a:lnTo>
                        <a:pt x="286" y="350"/>
                      </a:lnTo>
                      <a:lnTo>
                        <a:pt x="286" y="351"/>
                      </a:lnTo>
                      <a:lnTo>
                        <a:pt x="286" y="351"/>
                      </a:lnTo>
                      <a:lnTo>
                        <a:pt x="286" y="352"/>
                      </a:lnTo>
                      <a:lnTo>
                        <a:pt x="286" y="352"/>
                      </a:lnTo>
                      <a:lnTo>
                        <a:pt x="284" y="354"/>
                      </a:lnTo>
                      <a:lnTo>
                        <a:pt x="281" y="355"/>
                      </a:lnTo>
                      <a:lnTo>
                        <a:pt x="280" y="355"/>
                      </a:lnTo>
                      <a:lnTo>
                        <a:pt x="269" y="352"/>
                      </a:lnTo>
                      <a:lnTo>
                        <a:pt x="266" y="350"/>
                      </a:lnTo>
                      <a:lnTo>
                        <a:pt x="265" y="350"/>
                      </a:lnTo>
                      <a:lnTo>
                        <a:pt x="263" y="348"/>
                      </a:lnTo>
                      <a:lnTo>
                        <a:pt x="263" y="348"/>
                      </a:lnTo>
                      <a:lnTo>
                        <a:pt x="256" y="345"/>
                      </a:lnTo>
                      <a:lnTo>
                        <a:pt x="256" y="345"/>
                      </a:lnTo>
                      <a:lnTo>
                        <a:pt x="253" y="345"/>
                      </a:lnTo>
                      <a:lnTo>
                        <a:pt x="253" y="345"/>
                      </a:lnTo>
                      <a:lnTo>
                        <a:pt x="252" y="345"/>
                      </a:lnTo>
                      <a:lnTo>
                        <a:pt x="249" y="348"/>
                      </a:lnTo>
                      <a:lnTo>
                        <a:pt x="249" y="348"/>
                      </a:lnTo>
                      <a:lnTo>
                        <a:pt x="248" y="352"/>
                      </a:lnTo>
                      <a:lnTo>
                        <a:pt x="248" y="352"/>
                      </a:lnTo>
                      <a:lnTo>
                        <a:pt x="246" y="358"/>
                      </a:lnTo>
                      <a:lnTo>
                        <a:pt x="246" y="359"/>
                      </a:lnTo>
                      <a:lnTo>
                        <a:pt x="246" y="361"/>
                      </a:lnTo>
                      <a:lnTo>
                        <a:pt x="248" y="361"/>
                      </a:lnTo>
                      <a:lnTo>
                        <a:pt x="248" y="362"/>
                      </a:lnTo>
                      <a:lnTo>
                        <a:pt x="249" y="364"/>
                      </a:lnTo>
                      <a:lnTo>
                        <a:pt x="249" y="365"/>
                      </a:lnTo>
                      <a:lnTo>
                        <a:pt x="249" y="365"/>
                      </a:lnTo>
                      <a:lnTo>
                        <a:pt x="249" y="365"/>
                      </a:lnTo>
                      <a:lnTo>
                        <a:pt x="249" y="369"/>
                      </a:lnTo>
                      <a:lnTo>
                        <a:pt x="246" y="382"/>
                      </a:lnTo>
                      <a:lnTo>
                        <a:pt x="246" y="382"/>
                      </a:lnTo>
                      <a:lnTo>
                        <a:pt x="246" y="383"/>
                      </a:lnTo>
                      <a:lnTo>
                        <a:pt x="244" y="383"/>
                      </a:lnTo>
                      <a:lnTo>
                        <a:pt x="238" y="383"/>
                      </a:lnTo>
                      <a:lnTo>
                        <a:pt x="238" y="383"/>
                      </a:lnTo>
                      <a:lnTo>
                        <a:pt x="237" y="383"/>
                      </a:lnTo>
                      <a:lnTo>
                        <a:pt x="237" y="382"/>
                      </a:lnTo>
                      <a:lnTo>
                        <a:pt x="237" y="382"/>
                      </a:lnTo>
                      <a:lnTo>
                        <a:pt x="235" y="379"/>
                      </a:lnTo>
                      <a:lnTo>
                        <a:pt x="235" y="378"/>
                      </a:lnTo>
                      <a:lnTo>
                        <a:pt x="235" y="378"/>
                      </a:lnTo>
                      <a:lnTo>
                        <a:pt x="235" y="376"/>
                      </a:lnTo>
                      <a:lnTo>
                        <a:pt x="237" y="375"/>
                      </a:lnTo>
                      <a:lnTo>
                        <a:pt x="237" y="375"/>
                      </a:lnTo>
                      <a:lnTo>
                        <a:pt x="237" y="373"/>
                      </a:lnTo>
                      <a:lnTo>
                        <a:pt x="237" y="373"/>
                      </a:lnTo>
                      <a:lnTo>
                        <a:pt x="234" y="366"/>
                      </a:lnTo>
                      <a:lnTo>
                        <a:pt x="227" y="366"/>
                      </a:lnTo>
                      <a:lnTo>
                        <a:pt x="218" y="365"/>
                      </a:lnTo>
                      <a:lnTo>
                        <a:pt x="211" y="365"/>
                      </a:lnTo>
                      <a:lnTo>
                        <a:pt x="187" y="364"/>
                      </a:lnTo>
                      <a:lnTo>
                        <a:pt x="179" y="362"/>
                      </a:lnTo>
                      <a:lnTo>
                        <a:pt x="155" y="361"/>
                      </a:lnTo>
                      <a:lnTo>
                        <a:pt x="131" y="359"/>
                      </a:lnTo>
                      <a:lnTo>
                        <a:pt x="96" y="357"/>
                      </a:lnTo>
                      <a:lnTo>
                        <a:pt x="82" y="355"/>
                      </a:lnTo>
                      <a:lnTo>
                        <a:pt x="80" y="355"/>
                      </a:lnTo>
                      <a:lnTo>
                        <a:pt x="53" y="354"/>
                      </a:lnTo>
                      <a:lnTo>
                        <a:pt x="50" y="352"/>
                      </a:lnTo>
                      <a:lnTo>
                        <a:pt x="49" y="351"/>
                      </a:lnTo>
                      <a:lnTo>
                        <a:pt x="49" y="351"/>
                      </a:lnTo>
                      <a:lnTo>
                        <a:pt x="49" y="351"/>
                      </a:lnTo>
                      <a:lnTo>
                        <a:pt x="49" y="348"/>
                      </a:lnTo>
                      <a:lnTo>
                        <a:pt x="49" y="347"/>
                      </a:lnTo>
                      <a:lnTo>
                        <a:pt x="46" y="337"/>
                      </a:lnTo>
                      <a:lnTo>
                        <a:pt x="46" y="337"/>
                      </a:lnTo>
                      <a:lnTo>
                        <a:pt x="43" y="333"/>
                      </a:lnTo>
                      <a:lnTo>
                        <a:pt x="43" y="331"/>
                      </a:lnTo>
                      <a:lnTo>
                        <a:pt x="43" y="331"/>
                      </a:lnTo>
                      <a:lnTo>
                        <a:pt x="43" y="331"/>
                      </a:lnTo>
                      <a:lnTo>
                        <a:pt x="43" y="330"/>
                      </a:lnTo>
                      <a:lnTo>
                        <a:pt x="43" y="330"/>
                      </a:lnTo>
                      <a:lnTo>
                        <a:pt x="43" y="329"/>
                      </a:lnTo>
                      <a:lnTo>
                        <a:pt x="42" y="324"/>
                      </a:lnTo>
                      <a:lnTo>
                        <a:pt x="40" y="322"/>
                      </a:lnTo>
                      <a:lnTo>
                        <a:pt x="40" y="322"/>
                      </a:lnTo>
                      <a:lnTo>
                        <a:pt x="39" y="317"/>
                      </a:lnTo>
                      <a:lnTo>
                        <a:pt x="39" y="317"/>
                      </a:lnTo>
                      <a:lnTo>
                        <a:pt x="37" y="317"/>
                      </a:lnTo>
                      <a:lnTo>
                        <a:pt x="36" y="317"/>
                      </a:lnTo>
                      <a:lnTo>
                        <a:pt x="36" y="316"/>
                      </a:lnTo>
                      <a:lnTo>
                        <a:pt x="36" y="316"/>
                      </a:lnTo>
                      <a:lnTo>
                        <a:pt x="36" y="316"/>
                      </a:lnTo>
                      <a:lnTo>
                        <a:pt x="36" y="315"/>
                      </a:lnTo>
                      <a:lnTo>
                        <a:pt x="36" y="309"/>
                      </a:lnTo>
                      <a:lnTo>
                        <a:pt x="36" y="308"/>
                      </a:lnTo>
                      <a:lnTo>
                        <a:pt x="37" y="303"/>
                      </a:lnTo>
                      <a:lnTo>
                        <a:pt x="40" y="286"/>
                      </a:lnTo>
                      <a:lnTo>
                        <a:pt x="40" y="286"/>
                      </a:lnTo>
                      <a:lnTo>
                        <a:pt x="39" y="281"/>
                      </a:lnTo>
                      <a:lnTo>
                        <a:pt x="39" y="279"/>
                      </a:lnTo>
                      <a:lnTo>
                        <a:pt x="39" y="279"/>
                      </a:lnTo>
                      <a:lnTo>
                        <a:pt x="39" y="278"/>
                      </a:lnTo>
                      <a:lnTo>
                        <a:pt x="37" y="278"/>
                      </a:lnTo>
                      <a:lnTo>
                        <a:pt x="37" y="278"/>
                      </a:lnTo>
                      <a:lnTo>
                        <a:pt x="37" y="277"/>
                      </a:lnTo>
                      <a:lnTo>
                        <a:pt x="36" y="275"/>
                      </a:lnTo>
                      <a:lnTo>
                        <a:pt x="36" y="274"/>
                      </a:lnTo>
                      <a:lnTo>
                        <a:pt x="35" y="271"/>
                      </a:lnTo>
                      <a:lnTo>
                        <a:pt x="35" y="267"/>
                      </a:lnTo>
                      <a:lnTo>
                        <a:pt x="33" y="264"/>
                      </a:lnTo>
                      <a:lnTo>
                        <a:pt x="33" y="263"/>
                      </a:lnTo>
                      <a:lnTo>
                        <a:pt x="33" y="261"/>
                      </a:lnTo>
                      <a:lnTo>
                        <a:pt x="33" y="261"/>
                      </a:lnTo>
                      <a:lnTo>
                        <a:pt x="35" y="256"/>
                      </a:lnTo>
                      <a:lnTo>
                        <a:pt x="39" y="237"/>
                      </a:lnTo>
                      <a:lnTo>
                        <a:pt x="40" y="237"/>
                      </a:lnTo>
                      <a:lnTo>
                        <a:pt x="42" y="233"/>
                      </a:lnTo>
                      <a:lnTo>
                        <a:pt x="42" y="233"/>
                      </a:lnTo>
                      <a:lnTo>
                        <a:pt x="42" y="233"/>
                      </a:lnTo>
                      <a:lnTo>
                        <a:pt x="43" y="233"/>
                      </a:lnTo>
                      <a:lnTo>
                        <a:pt x="44" y="233"/>
                      </a:lnTo>
                      <a:lnTo>
                        <a:pt x="44" y="233"/>
                      </a:lnTo>
                      <a:lnTo>
                        <a:pt x="46" y="232"/>
                      </a:lnTo>
                      <a:lnTo>
                        <a:pt x="49" y="229"/>
                      </a:lnTo>
                      <a:lnTo>
                        <a:pt x="50" y="226"/>
                      </a:lnTo>
                      <a:lnTo>
                        <a:pt x="50" y="226"/>
                      </a:lnTo>
                      <a:lnTo>
                        <a:pt x="49" y="223"/>
                      </a:lnTo>
                      <a:lnTo>
                        <a:pt x="49" y="223"/>
                      </a:lnTo>
                      <a:lnTo>
                        <a:pt x="46" y="218"/>
                      </a:lnTo>
                      <a:lnTo>
                        <a:pt x="46" y="215"/>
                      </a:lnTo>
                      <a:lnTo>
                        <a:pt x="46" y="214"/>
                      </a:lnTo>
                      <a:lnTo>
                        <a:pt x="43" y="207"/>
                      </a:lnTo>
                      <a:lnTo>
                        <a:pt x="43" y="205"/>
                      </a:lnTo>
                      <a:lnTo>
                        <a:pt x="43" y="205"/>
                      </a:lnTo>
                      <a:lnTo>
                        <a:pt x="42" y="204"/>
                      </a:lnTo>
                      <a:lnTo>
                        <a:pt x="40" y="202"/>
                      </a:lnTo>
                      <a:lnTo>
                        <a:pt x="39" y="201"/>
                      </a:lnTo>
                      <a:lnTo>
                        <a:pt x="37" y="198"/>
                      </a:lnTo>
                      <a:lnTo>
                        <a:pt x="36" y="194"/>
                      </a:lnTo>
                      <a:lnTo>
                        <a:pt x="36" y="191"/>
                      </a:lnTo>
                      <a:lnTo>
                        <a:pt x="35" y="188"/>
                      </a:lnTo>
                      <a:lnTo>
                        <a:pt x="32" y="179"/>
                      </a:lnTo>
                      <a:lnTo>
                        <a:pt x="30" y="176"/>
                      </a:lnTo>
                      <a:lnTo>
                        <a:pt x="29" y="169"/>
                      </a:lnTo>
                      <a:lnTo>
                        <a:pt x="28" y="160"/>
                      </a:lnTo>
                      <a:lnTo>
                        <a:pt x="25" y="141"/>
                      </a:lnTo>
                      <a:lnTo>
                        <a:pt x="25" y="138"/>
                      </a:lnTo>
                      <a:lnTo>
                        <a:pt x="23" y="132"/>
                      </a:lnTo>
                      <a:lnTo>
                        <a:pt x="22" y="117"/>
                      </a:lnTo>
                      <a:lnTo>
                        <a:pt x="16" y="83"/>
                      </a:lnTo>
                      <a:lnTo>
                        <a:pt x="15" y="75"/>
                      </a:lnTo>
                      <a:lnTo>
                        <a:pt x="14" y="69"/>
                      </a:lnTo>
                      <a:lnTo>
                        <a:pt x="12" y="65"/>
                      </a:lnTo>
                      <a:lnTo>
                        <a:pt x="5" y="30"/>
                      </a:lnTo>
                      <a:lnTo>
                        <a:pt x="1" y="7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</p:grpSp>
          <p:grpSp>
            <p:nvGrpSpPr>
              <p:cNvPr id="99" name="Group 73"/>
              <p:cNvGrpSpPr/>
              <p:nvPr/>
            </p:nvGrpSpPr>
            <p:grpSpPr>
              <a:xfrm>
                <a:off x="1790700" y="1148557"/>
                <a:ext cx="5441950" cy="2360613"/>
                <a:chOff x="1790700" y="1148557"/>
                <a:chExt cx="5441950" cy="2360613"/>
              </a:xfrm>
              <a:grpFill/>
            </p:grpSpPr>
            <p:sp>
              <p:nvSpPr>
                <p:cNvPr id="113" name="Freeform 9"/>
                <p:cNvSpPr>
                  <a:spLocks/>
                </p:cNvSpPr>
                <p:nvPr/>
              </p:nvSpPr>
              <p:spPr bwMode="auto">
                <a:xfrm>
                  <a:off x="5522912" y="2809082"/>
                  <a:ext cx="947738" cy="222250"/>
                </a:xfrm>
                <a:custGeom>
                  <a:avLst/>
                  <a:gdLst>
                    <a:gd name="T0" fmla="*/ 0 w 597"/>
                    <a:gd name="T1" fmla="*/ 138 h 140"/>
                    <a:gd name="T2" fmla="*/ 0 w 597"/>
                    <a:gd name="T3" fmla="*/ 136 h 140"/>
                    <a:gd name="T4" fmla="*/ 4 w 597"/>
                    <a:gd name="T5" fmla="*/ 136 h 140"/>
                    <a:gd name="T6" fmla="*/ 14 w 597"/>
                    <a:gd name="T7" fmla="*/ 127 h 140"/>
                    <a:gd name="T8" fmla="*/ 14 w 597"/>
                    <a:gd name="T9" fmla="*/ 106 h 140"/>
                    <a:gd name="T10" fmla="*/ 11 w 597"/>
                    <a:gd name="T11" fmla="*/ 106 h 140"/>
                    <a:gd name="T12" fmla="*/ 9 w 597"/>
                    <a:gd name="T13" fmla="*/ 108 h 140"/>
                    <a:gd name="T14" fmla="*/ 9 w 597"/>
                    <a:gd name="T15" fmla="*/ 103 h 140"/>
                    <a:gd name="T16" fmla="*/ 28 w 597"/>
                    <a:gd name="T17" fmla="*/ 78 h 140"/>
                    <a:gd name="T18" fmla="*/ 34 w 597"/>
                    <a:gd name="T19" fmla="*/ 75 h 140"/>
                    <a:gd name="T20" fmla="*/ 41 w 597"/>
                    <a:gd name="T21" fmla="*/ 70 h 140"/>
                    <a:gd name="T22" fmla="*/ 45 w 597"/>
                    <a:gd name="T23" fmla="*/ 39 h 140"/>
                    <a:gd name="T24" fmla="*/ 49 w 597"/>
                    <a:gd name="T25" fmla="*/ 28 h 140"/>
                    <a:gd name="T26" fmla="*/ 53 w 597"/>
                    <a:gd name="T27" fmla="*/ 28 h 140"/>
                    <a:gd name="T28" fmla="*/ 53 w 597"/>
                    <a:gd name="T29" fmla="*/ 25 h 140"/>
                    <a:gd name="T30" fmla="*/ 56 w 597"/>
                    <a:gd name="T31" fmla="*/ 15 h 140"/>
                    <a:gd name="T32" fmla="*/ 55 w 597"/>
                    <a:gd name="T33" fmla="*/ 19 h 140"/>
                    <a:gd name="T34" fmla="*/ 59 w 597"/>
                    <a:gd name="T35" fmla="*/ 18 h 140"/>
                    <a:gd name="T36" fmla="*/ 147 w 597"/>
                    <a:gd name="T37" fmla="*/ 15 h 140"/>
                    <a:gd name="T38" fmla="*/ 156 w 597"/>
                    <a:gd name="T39" fmla="*/ 8 h 140"/>
                    <a:gd name="T40" fmla="*/ 154 w 597"/>
                    <a:gd name="T41" fmla="*/ 0 h 140"/>
                    <a:gd name="T42" fmla="*/ 188 w 597"/>
                    <a:gd name="T43" fmla="*/ 2 h 140"/>
                    <a:gd name="T44" fmla="*/ 220 w 597"/>
                    <a:gd name="T45" fmla="*/ 2 h 140"/>
                    <a:gd name="T46" fmla="*/ 283 w 597"/>
                    <a:gd name="T47" fmla="*/ 2 h 140"/>
                    <a:gd name="T48" fmla="*/ 355 w 597"/>
                    <a:gd name="T49" fmla="*/ 4 h 140"/>
                    <a:gd name="T50" fmla="*/ 405 w 597"/>
                    <a:gd name="T51" fmla="*/ 7 h 140"/>
                    <a:gd name="T52" fmla="*/ 459 w 597"/>
                    <a:gd name="T53" fmla="*/ 7 h 140"/>
                    <a:gd name="T54" fmla="*/ 510 w 597"/>
                    <a:gd name="T55" fmla="*/ 7 h 140"/>
                    <a:gd name="T56" fmla="*/ 576 w 597"/>
                    <a:gd name="T57" fmla="*/ 7 h 140"/>
                    <a:gd name="T58" fmla="*/ 593 w 597"/>
                    <a:gd name="T59" fmla="*/ 11 h 140"/>
                    <a:gd name="T60" fmla="*/ 593 w 597"/>
                    <a:gd name="T61" fmla="*/ 15 h 140"/>
                    <a:gd name="T62" fmla="*/ 585 w 597"/>
                    <a:gd name="T63" fmla="*/ 28 h 140"/>
                    <a:gd name="T64" fmla="*/ 568 w 597"/>
                    <a:gd name="T65" fmla="*/ 47 h 140"/>
                    <a:gd name="T66" fmla="*/ 564 w 597"/>
                    <a:gd name="T67" fmla="*/ 47 h 140"/>
                    <a:gd name="T68" fmla="*/ 562 w 597"/>
                    <a:gd name="T69" fmla="*/ 45 h 140"/>
                    <a:gd name="T70" fmla="*/ 547 w 597"/>
                    <a:gd name="T71" fmla="*/ 47 h 140"/>
                    <a:gd name="T72" fmla="*/ 543 w 597"/>
                    <a:gd name="T73" fmla="*/ 52 h 140"/>
                    <a:gd name="T74" fmla="*/ 536 w 597"/>
                    <a:gd name="T75" fmla="*/ 59 h 140"/>
                    <a:gd name="T76" fmla="*/ 532 w 597"/>
                    <a:gd name="T77" fmla="*/ 59 h 140"/>
                    <a:gd name="T78" fmla="*/ 533 w 597"/>
                    <a:gd name="T79" fmla="*/ 54 h 140"/>
                    <a:gd name="T80" fmla="*/ 530 w 597"/>
                    <a:gd name="T81" fmla="*/ 52 h 140"/>
                    <a:gd name="T82" fmla="*/ 515 w 597"/>
                    <a:gd name="T83" fmla="*/ 60 h 140"/>
                    <a:gd name="T84" fmla="*/ 508 w 597"/>
                    <a:gd name="T85" fmla="*/ 70 h 140"/>
                    <a:gd name="T86" fmla="*/ 488 w 597"/>
                    <a:gd name="T87" fmla="*/ 80 h 140"/>
                    <a:gd name="T88" fmla="*/ 464 w 597"/>
                    <a:gd name="T89" fmla="*/ 92 h 140"/>
                    <a:gd name="T90" fmla="*/ 443 w 597"/>
                    <a:gd name="T91" fmla="*/ 96 h 140"/>
                    <a:gd name="T92" fmla="*/ 432 w 597"/>
                    <a:gd name="T93" fmla="*/ 109 h 140"/>
                    <a:gd name="T94" fmla="*/ 429 w 597"/>
                    <a:gd name="T95" fmla="*/ 117 h 140"/>
                    <a:gd name="T96" fmla="*/ 421 w 597"/>
                    <a:gd name="T97" fmla="*/ 117 h 140"/>
                    <a:gd name="T98" fmla="*/ 418 w 597"/>
                    <a:gd name="T99" fmla="*/ 117 h 140"/>
                    <a:gd name="T100" fmla="*/ 415 w 597"/>
                    <a:gd name="T101" fmla="*/ 122 h 140"/>
                    <a:gd name="T102" fmla="*/ 408 w 597"/>
                    <a:gd name="T103" fmla="*/ 140 h 140"/>
                    <a:gd name="T104" fmla="*/ 293 w 597"/>
                    <a:gd name="T105" fmla="*/ 138 h 140"/>
                    <a:gd name="T106" fmla="*/ 275 w 597"/>
                    <a:gd name="T107" fmla="*/ 138 h 140"/>
                    <a:gd name="T108" fmla="*/ 258 w 597"/>
                    <a:gd name="T109" fmla="*/ 138 h 140"/>
                    <a:gd name="T110" fmla="*/ 247 w 597"/>
                    <a:gd name="T111" fmla="*/ 138 h 140"/>
                    <a:gd name="T112" fmla="*/ 236 w 597"/>
                    <a:gd name="T113" fmla="*/ 138 h 140"/>
                    <a:gd name="T114" fmla="*/ 216 w 597"/>
                    <a:gd name="T115" fmla="*/ 138 h 140"/>
                    <a:gd name="T116" fmla="*/ 196 w 597"/>
                    <a:gd name="T117" fmla="*/ 138 h 140"/>
                    <a:gd name="T118" fmla="*/ 174 w 597"/>
                    <a:gd name="T119" fmla="*/ 137 h 140"/>
                    <a:gd name="T120" fmla="*/ 164 w 597"/>
                    <a:gd name="T121" fmla="*/ 137 h 140"/>
                    <a:gd name="T122" fmla="*/ 146 w 597"/>
                    <a:gd name="T123" fmla="*/ 137 h 140"/>
                    <a:gd name="T124" fmla="*/ 146 w 597"/>
                    <a:gd name="T125" fmla="*/ 138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597" h="140">
                      <a:moveTo>
                        <a:pt x="146" y="138"/>
                      </a:moveTo>
                      <a:lnTo>
                        <a:pt x="139" y="138"/>
                      </a:lnTo>
                      <a:lnTo>
                        <a:pt x="87" y="138"/>
                      </a:lnTo>
                      <a:lnTo>
                        <a:pt x="11" y="138"/>
                      </a:lnTo>
                      <a:lnTo>
                        <a:pt x="0" y="138"/>
                      </a:lnTo>
                      <a:lnTo>
                        <a:pt x="0" y="138"/>
                      </a:lnTo>
                      <a:lnTo>
                        <a:pt x="0" y="138"/>
                      </a:lnTo>
                      <a:lnTo>
                        <a:pt x="0" y="138"/>
                      </a:lnTo>
                      <a:lnTo>
                        <a:pt x="0" y="137"/>
                      </a:lnTo>
                      <a:lnTo>
                        <a:pt x="0" y="136"/>
                      </a:lnTo>
                      <a:lnTo>
                        <a:pt x="0" y="136"/>
                      </a:lnTo>
                      <a:lnTo>
                        <a:pt x="0" y="134"/>
                      </a:lnTo>
                      <a:lnTo>
                        <a:pt x="3" y="134"/>
                      </a:lnTo>
                      <a:lnTo>
                        <a:pt x="4" y="136"/>
                      </a:lnTo>
                      <a:lnTo>
                        <a:pt x="4" y="136"/>
                      </a:lnTo>
                      <a:lnTo>
                        <a:pt x="6" y="136"/>
                      </a:lnTo>
                      <a:lnTo>
                        <a:pt x="6" y="134"/>
                      </a:lnTo>
                      <a:lnTo>
                        <a:pt x="7" y="134"/>
                      </a:lnTo>
                      <a:lnTo>
                        <a:pt x="14" y="129"/>
                      </a:lnTo>
                      <a:lnTo>
                        <a:pt x="14" y="127"/>
                      </a:lnTo>
                      <a:lnTo>
                        <a:pt x="16" y="126"/>
                      </a:lnTo>
                      <a:lnTo>
                        <a:pt x="16" y="124"/>
                      </a:lnTo>
                      <a:lnTo>
                        <a:pt x="16" y="124"/>
                      </a:lnTo>
                      <a:lnTo>
                        <a:pt x="14" y="106"/>
                      </a:lnTo>
                      <a:lnTo>
                        <a:pt x="14" y="106"/>
                      </a:lnTo>
                      <a:lnTo>
                        <a:pt x="13" y="106"/>
                      </a:lnTo>
                      <a:lnTo>
                        <a:pt x="13" y="105"/>
                      </a:lnTo>
                      <a:lnTo>
                        <a:pt x="11" y="105"/>
                      </a:lnTo>
                      <a:lnTo>
                        <a:pt x="11" y="105"/>
                      </a:lnTo>
                      <a:lnTo>
                        <a:pt x="11" y="106"/>
                      </a:lnTo>
                      <a:lnTo>
                        <a:pt x="10" y="108"/>
                      </a:lnTo>
                      <a:lnTo>
                        <a:pt x="10" y="108"/>
                      </a:lnTo>
                      <a:lnTo>
                        <a:pt x="10" y="108"/>
                      </a:lnTo>
                      <a:lnTo>
                        <a:pt x="9" y="108"/>
                      </a:lnTo>
                      <a:lnTo>
                        <a:pt x="9" y="108"/>
                      </a:lnTo>
                      <a:lnTo>
                        <a:pt x="9" y="108"/>
                      </a:lnTo>
                      <a:lnTo>
                        <a:pt x="9" y="106"/>
                      </a:lnTo>
                      <a:lnTo>
                        <a:pt x="9" y="106"/>
                      </a:lnTo>
                      <a:lnTo>
                        <a:pt x="9" y="105"/>
                      </a:lnTo>
                      <a:lnTo>
                        <a:pt x="9" y="103"/>
                      </a:lnTo>
                      <a:lnTo>
                        <a:pt x="11" y="102"/>
                      </a:lnTo>
                      <a:lnTo>
                        <a:pt x="18" y="94"/>
                      </a:lnTo>
                      <a:lnTo>
                        <a:pt x="28" y="88"/>
                      </a:lnTo>
                      <a:lnTo>
                        <a:pt x="27" y="85"/>
                      </a:lnTo>
                      <a:lnTo>
                        <a:pt x="28" y="78"/>
                      </a:lnTo>
                      <a:lnTo>
                        <a:pt x="30" y="77"/>
                      </a:lnTo>
                      <a:lnTo>
                        <a:pt x="31" y="77"/>
                      </a:lnTo>
                      <a:lnTo>
                        <a:pt x="32" y="77"/>
                      </a:lnTo>
                      <a:lnTo>
                        <a:pt x="34" y="75"/>
                      </a:lnTo>
                      <a:lnTo>
                        <a:pt x="34" y="75"/>
                      </a:lnTo>
                      <a:lnTo>
                        <a:pt x="38" y="73"/>
                      </a:lnTo>
                      <a:lnTo>
                        <a:pt x="39" y="71"/>
                      </a:lnTo>
                      <a:lnTo>
                        <a:pt x="39" y="71"/>
                      </a:lnTo>
                      <a:lnTo>
                        <a:pt x="41" y="70"/>
                      </a:lnTo>
                      <a:lnTo>
                        <a:pt x="41" y="70"/>
                      </a:lnTo>
                      <a:lnTo>
                        <a:pt x="41" y="70"/>
                      </a:lnTo>
                      <a:lnTo>
                        <a:pt x="41" y="59"/>
                      </a:lnTo>
                      <a:lnTo>
                        <a:pt x="39" y="56"/>
                      </a:lnTo>
                      <a:lnTo>
                        <a:pt x="44" y="49"/>
                      </a:lnTo>
                      <a:lnTo>
                        <a:pt x="45" y="39"/>
                      </a:lnTo>
                      <a:lnTo>
                        <a:pt x="46" y="29"/>
                      </a:lnTo>
                      <a:lnTo>
                        <a:pt x="48" y="29"/>
                      </a:lnTo>
                      <a:lnTo>
                        <a:pt x="48" y="28"/>
                      </a:lnTo>
                      <a:lnTo>
                        <a:pt x="48" y="28"/>
                      </a:lnTo>
                      <a:lnTo>
                        <a:pt x="49" y="28"/>
                      </a:lnTo>
                      <a:lnTo>
                        <a:pt x="51" y="28"/>
                      </a:lnTo>
                      <a:lnTo>
                        <a:pt x="51" y="28"/>
                      </a:lnTo>
                      <a:lnTo>
                        <a:pt x="52" y="28"/>
                      </a:lnTo>
                      <a:lnTo>
                        <a:pt x="52" y="28"/>
                      </a:lnTo>
                      <a:lnTo>
                        <a:pt x="53" y="28"/>
                      </a:lnTo>
                      <a:lnTo>
                        <a:pt x="53" y="26"/>
                      </a:lnTo>
                      <a:lnTo>
                        <a:pt x="53" y="26"/>
                      </a:lnTo>
                      <a:lnTo>
                        <a:pt x="53" y="25"/>
                      </a:lnTo>
                      <a:lnTo>
                        <a:pt x="53" y="25"/>
                      </a:lnTo>
                      <a:lnTo>
                        <a:pt x="53" y="25"/>
                      </a:lnTo>
                      <a:lnTo>
                        <a:pt x="52" y="16"/>
                      </a:lnTo>
                      <a:lnTo>
                        <a:pt x="52" y="16"/>
                      </a:lnTo>
                      <a:lnTo>
                        <a:pt x="51" y="15"/>
                      </a:lnTo>
                      <a:lnTo>
                        <a:pt x="52" y="15"/>
                      </a:lnTo>
                      <a:lnTo>
                        <a:pt x="56" y="15"/>
                      </a:lnTo>
                      <a:lnTo>
                        <a:pt x="55" y="18"/>
                      </a:lnTo>
                      <a:lnTo>
                        <a:pt x="55" y="18"/>
                      </a:lnTo>
                      <a:lnTo>
                        <a:pt x="55" y="19"/>
                      </a:lnTo>
                      <a:lnTo>
                        <a:pt x="55" y="19"/>
                      </a:lnTo>
                      <a:lnTo>
                        <a:pt x="55" y="19"/>
                      </a:lnTo>
                      <a:lnTo>
                        <a:pt x="56" y="19"/>
                      </a:lnTo>
                      <a:lnTo>
                        <a:pt x="56" y="19"/>
                      </a:lnTo>
                      <a:lnTo>
                        <a:pt x="58" y="19"/>
                      </a:lnTo>
                      <a:lnTo>
                        <a:pt x="58" y="19"/>
                      </a:lnTo>
                      <a:lnTo>
                        <a:pt x="59" y="18"/>
                      </a:lnTo>
                      <a:lnTo>
                        <a:pt x="60" y="16"/>
                      </a:lnTo>
                      <a:lnTo>
                        <a:pt x="60" y="15"/>
                      </a:lnTo>
                      <a:lnTo>
                        <a:pt x="69" y="15"/>
                      </a:lnTo>
                      <a:lnTo>
                        <a:pt x="125" y="15"/>
                      </a:lnTo>
                      <a:lnTo>
                        <a:pt x="147" y="15"/>
                      </a:lnTo>
                      <a:lnTo>
                        <a:pt x="156" y="15"/>
                      </a:lnTo>
                      <a:lnTo>
                        <a:pt x="156" y="14"/>
                      </a:lnTo>
                      <a:lnTo>
                        <a:pt x="156" y="11"/>
                      </a:lnTo>
                      <a:lnTo>
                        <a:pt x="156" y="9"/>
                      </a:lnTo>
                      <a:lnTo>
                        <a:pt x="156" y="8"/>
                      </a:lnTo>
                      <a:lnTo>
                        <a:pt x="156" y="5"/>
                      </a:lnTo>
                      <a:lnTo>
                        <a:pt x="156" y="4"/>
                      </a:lnTo>
                      <a:lnTo>
                        <a:pt x="154" y="4"/>
                      </a:lnTo>
                      <a:lnTo>
                        <a:pt x="154" y="1"/>
                      </a:lnTo>
                      <a:lnTo>
                        <a:pt x="154" y="0"/>
                      </a:lnTo>
                      <a:lnTo>
                        <a:pt x="154" y="0"/>
                      </a:lnTo>
                      <a:lnTo>
                        <a:pt x="166" y="1"/>
                      </a:lnTo>
                      <a:lnTo>
                        <a:pt x="168" y="1"/>
                      </a:lnTo>
                      <a:lnTo>
                        <a:pt x="171" y="4"/>
                      </a:lnTo>
                      <a:lnTo>
                        <a:pt x="188" y="2"/>
                      </a:lnTo>
                      <a:lnTo>
                        <a:pt x="195" y="2"/>
                      </a:lnTo>
                      <a:lnTo>
                        <a:pt x="201" y="2"/>
                      </a:lnTo>
                      <a:lnTo>
                        <a:pt x="210" y="2"/>
                      </a:lnTo>
                      <a:lnTo>
                        <a:pt x="215" y="2"/>
                      </a:lnTo>
                      <a:lnTo>
                        <a:pt x="220" y="2"/>
                      </a:lnTo>
                      <a:lnTo>
                        <a:pt x="223" y="2"/>
                      </a:lnTo>
                      <a:lnTo>
                        <a:pt x="257" y="2"/>
                      </a:lnTo>
                      <a:lnTo>
                        <a:pt x="261" y="1"/>
                      </a:lnTo>
                      <a:lnTo>
                        <a:pt x="272" y="2"/>
                      </a:lnTo>
                      <a:lnTo>
                        <a:pt x="283" y="2"/>
                      </a:lnTo>
                      <a:lnTo>
                        <a:pt x="293" y="4"/>
                      </a:lnTo>
                      <a:lnTo>
                        <a:pt x="331" y="5"/>
                      </a:lnTo>
                      <a:lnTo>
                        <a:pt x="335" y="5"/>
                      </a:lnTo>
                      <a:lnTo>
                        <a:pt x="344" y="4"/>
                      </a:lnTo>
                      <a:lnTo>
                        <a:pt x="355" y="4"/>
                      </a:lnTo>
                      <a:lnTo>
                        <a:pt x="359" y="4"/>
                      </a:lnTo>
                      <a:lnTo>
                        <a:pt x="376" y="5"/>
                      </a:lnTo>
                      <a:lnTo>
                        <a:pt x="381" y="7"/>
                      </a:lnTo>
                      <a:lnTo>
                        <a:pt x="401" y="7"/>
                      </a:lnTo>
                      <a:lnTo>
                        <a:pt x="405" y="7"/>
                      </a:lnTo>
                      <a:lnTo>
                        <a:pt x="412" y="7"/>
                      </a:lnTo>
                      <a:lnTo>
                        <a:pt x="421" y="7"/>
                      </a:lnTo>
                      <a:lnTo>
                        <a:pt x="429" y="7"/>
                      </a:lnTo>
                      <a:lnTo>
                        <a:pt x="454" y="8"/>
                      </a:lnTo>
                      <a:lnTo>
                        <a:pt x="459" y="7"/>
                      </a:lnTo>
                      <a:lnTo>
                        <a:pt x="464" y="7"/>
                      </a:lnTo>
                      <a:lnTo>
                        <a:pt x="467" y="7"/>
                      </a:lnTo>
                      <a:lnTo>
                        <a:pt x="485" y="7"/>
                      </a:lnTo>
                      <a:lnTo>
                        <a:pt x="487" y="7"/>
                      </a:lnTo>
                      <a:lnTo>
                        <a:pt x="510" y="7"/>
                      </a:lnTo>
                      <a:lnTo>
                        <a:pt x="515" y="7"/>
                      </a:lnTo>
                      <a:lnTo>
                        <a:pt x="525" y="7"/>
                      </a:lnTo>
                      <a:lnTo>
                        <a:pt x="530" y="7"/>
                      </a:lnTo>
                      <a:lnTo>
                        <a:pt x="576" y="7"/>
                      </a:lnTo>
                      <a:lnTo>
                        <a:pt x="576" y="7"/>
                      </a:lnTo>
                      <a:lnTo>
                        <a:pt x="579" y="5"/>
                      </a:lnTo>
                      <a:lnTo>
                        <a:pt x="596" y="7"/>
                      </a:lnTo>
                      <a:lnTo>
                        <a:pt x="597" y="7"/>
                      </a:lnTo>
                      <a:lnTo>
                        <a:pt x="593" y="11"/>
                      </a:lnTo>
                      <a:lnTo>
                        <a:pt x="593" y="11"/>
                      </a:lnTo>
                      <a:lnTo>
                        <a:pt x="593" y="12"/>
                      </a:lnTo>
                      <a:lnTo>
                        <a:pt x="593" y="12"/>
                      </a:lnTo>
                      <a:lnTo>
                        <a:pt x="593" y="14"/>
                      </a:lnTo>
                      <a:lnTo>
                        <a:pt x="593" y="14"/>
                      </a:lnTo>
                      <a:lnTo>
                        <a:pt x="593" y="15"/>
                      </a:lnTo>
                      <a:lnTo>
                        <a:pt x="593" y="16"/>
                      </a:lnTo>
                      <a:lnTo>
                        <a:pt x="593" y="18"/>
                      </a:lnTo>
                      <a:lnTo>
                        <a:pt x="590" y="23"/>
                      </a:lnTo>
                      <a:lnTo>
                        <a:pt x="586" y="26"/>
                      </a:lnTo>
                      <a:lnTo>
                        <a:pt x="585" y="28"/>
                      </a:lnTo>
                      <a:lnTo>
                        <a:pt x="579" y="30"/>
                      </a:lnTo>
                      <a:lnTo>
                        <a:pt x="578" y="32"/>
                      </a:lnTo>
                      <a:lnTo>
                        <a:pt x="578" y="33"/>
                      </a:lnTo>
                      <a:lnTo>
                        <a:pt x="571" y="46"/>
                      </a:lnTo>
                      <a:lnTo>
                        <a:pt x="568" y="47"/>
                      </a:lnTo>
                      <a:lnTo>
                        <a:pt x="568" y="49"/>
                      </a:lnTo>
                      <a:lnTo>
                        <a:pt x="567" y="49"/>
                      </a:lnTo>
                      <a:lnTo>
                        <a:pt x="565" y="47"/>
                      </a:lnTo>
                      <a:lnTo>
                        <a:pt x="565" y="47"/>
                      </a:lnTo>
                      <a:lnTo>
                        <a:pt x="564" y="47"/>
                      </a:lnTo>
                      <a:lnTo>
                        <a:pt x="564" y="47"/>
                      </a:lnTo>
                      <a:lnTo>
                        <a:pt x="564" y="46"/>
                      </a:lnTo>
                      <a:lnTo>
                        <a:pt x="564" y="46"/>
                      </a:lnTo>
                      <a:lnTo>
                        <a:pt x="564" y="45"/>
                      </a:lnTo>
                      <a:lnTo>
                        <a:pt x="562" y="45"/>
                      </a:lnTo>
                      <a:lnTo>
                        <a:pt x="562" y="45"/>
                      </a:lnTo>
                      <a:lnTo>
                        <a:pt x="560" y="43"/>
                      </a:lnTo>
                      <a:lnTo>
                        <a:pt x="558" y="43"/>
                      </a:lnTo>
                      <a:lnTo>
                        <a:pt x="548" y="47"/>
                      </a:lnTo>
                      <a:lnTo>
                        <a:pt x="547" y="47"/>
                      </a:lnTo>
                      <a:lnTo>
                        <a:pt x="547" y="47"/>
                      </a:lnTo>
                      <a:lnTo>
                        <a:pt x="546" y="49"/>
                      </a:lnTo>
                      <a:lnTo>
                        <a:pt x="544" y="50"/>
                      </a:lnTo>
                      <a:lnTo>
                        <a:pt x="543" y="52"/>
                      </a:lnTo>
                      <a:lnTo>
                        <a:pt x="543" y="52"/>
                      </a:lnTo>
                      <a:lnTo>
                        <a:pt x="541" y="54"/>
                      </a:lnTo>
                      <a:lnTo>
                        <a:pt x="541" y="56"/>
                      </a:lnTo>
                      <a:lnTo>
                        <a:pt x="540" y="57"/>
                      </a:lnTo>
                      <a:lnTo>
                        <a:pt x="539" y="57"/>
                      </a:lnTo>
                      <a:lnTo>
                        <a:pt x="536" y="59"/>
                      </a:lnTo>
                      <a:lnTo>
                        <a:pt x="534" y="60"/>
                      </a:lnTo>
                      <a:lnTo>
                        <a:pt x="534" y="60"/>
                      </a:lnTo>
                      <a:lnTo>
                        <a:pt x="533" y="60"/>
                      </a:lnTo>
                      <a:lnTo>
                        <a:pt x="533" y="59"/>
                      </a:lnTo>
                      <a:lnTo>
                        <a:pt x="532" y="59"/>
                      </a:lnTo>
                      <a:lnTo>
                        <a:pt x="532" y="57"/>
                      </a:lnTo>
                      <a:lnTo>
                        <a:pt x="532" y="57"/>
                      </a:lnTo>
                      <a:lnTo>
                        <a:pt x="532" y="56"/>
                      </a:lnTo>
                      <a:lnTo>
                        <a:pt x="533" y="54"/>
                      </a:lnTo>
                      <a:lnTo>
                        <a:pt x="533" y="54"/>
                      </a:lnTo>
                      <a:lnTo>
                        <a:pt x="533" y="54"/>
                      </a:lnTo>
                      <a:lnTo>
                        <a:pt x="532" y="52"/>
                      </a:lnTo>
                      <a:lnTo>
                        <a:pt x="532" y="52"/>
                      </a:lnTo>
                      <a:lnTo>
                        <a:pt x="530" y="52"/>
                      </a:lnTo>
                      <a:lnTo>
                        <a:pt x="530" y="52"/>
                      </a:lnTo>
                      <a:lnTo>
                        <a:pt x="530" y="52"/>
                      </a:lnTo>
                      <a:lnTo>
                        <a:pt x="523" y="54"/>
                      </a:lnTo>
                      <a:lnTo>
                        <a:pt x="520" y="56"/>
                      </a:lnTo>
                      <a:lnTo>
                        <a:pt x="520" y="56"/>
                      </a:lnTo>
                      <a:lnTo>
                        <a:pt x="515" y="60"/>
                      </a:lnTo>
                      <a:lnTo>
                        <a:pt x="510" y="66"/>
                      </a:lnTo>
                      <a:lnTo>
                        <a:pt x="510" y="66"/>
                      </a:lnTo>
                      <a:lnTo>
                        <a:pt x="510" y="66"/>
                      </a:lnTo>
                      <a:lnTo>
                        <a:pt x="509" y="70"/>
                      </a:lnTo>
                      <a:lnTo>
                        <a:pt x="508" y="70"/>
                      </a:lnTo>
                      <a:lnTo>
                        <a:pt x="499" y="74"/>
                      </a:lnTo>
                      <a:lnTo>
                        <a:pt x="499" y="74"/>
                      </a:lnTo>
                      <a:lnTo>
                        <a:pt x="494" y="75"/>
                      </a:lnTo>
                      <a:lnTo>
                        <a:pt x="492" y="77"/>
                      </a:lnTo>
                      <a:lnTo>
                        <a:pt x="488" y="80"/>
                      </a:lnTo>
                      <a:lnTo>
                        <a:pt x="480" y="85"/>
                      </a:lnTo>
                      <a:lnTo>
                        <a:pt x="470" y="92"/>
                      </a:lnTo>
                      <a:lnTo>
                        <a:pt x="468" y="92"/>
                      </a:lnTo>
                      <a:lnTo>
                        <a:pt x="466" y="92"/>
                      </a:lnTo>
                      <a:lnTo>
                        <a:pt x="464" y="92"/>
                      </a:lnTo>
                      <a:lnTo>
                        <a:pt x="460" y="92"/>
                      </a:lnTo>
                      <a:lnTo>
                        <a:pt x="454" y="92"/>
                      </a:lnTo>
                      <a:lnTo>
                        <a:pt x="453" y="92"/>
                      </a:lnTo>
                      <a:lnTo>
                        <a:pt x="452" y="92"/>
                      </a:lnTo>
                      <a:lnTo>
                        <a:pt x="443" y="96"/>
                      </a:lnTo>
                      <a:lnTo>
                        <a:pt x="443" y="96"/>
                      </a:lnTo>
                      <a:lnTo>
                        <a:pt x="436" y="102"/>
                      </a:lnTo>
                      <a:lnTo>
                        <a:pt x="435" y="103"/>
                      </a:lnTo>
                      <a:lnTo>
                        <a:pt x="433" y="105"/>
                      </a:lnTo>
                      <a:lnTo>
                        <a:pt x="432" y="109"/>
                      </a:lnTo>
                      <a:lnTo>
                        <a:pt x="432" y="115"/>
                      </a:lnTo>
                      <a:lnTo>
                        <a:pt x="432" y="115"/>
                      </a:lnTo>
                      <a:lnTo>
                        <a:pt x="432" y="116"/>
                      </a:lnTo>
                      <a:lnTo>
                        <a:pt x="432" y="116"/>
                      </a:lnTo>
                      <a:lnTo>
                        <a:pt x="429" y="117"/>
                      </a:lnTo>
                      <a:lnTo>
                        <a:pt x="429" y="117"/>
                      </a:lnTo>
                      <a:lnTo>
                        <a:pt x="428" y="117"/>
                      </a:lnTo>
                      <a:lnTo>
                        <a:pt x="425" y="117"/>
                      </a:lnTo>
                      <a:lnTo>
                        <a:pt x="422" y="119"/>
                      </a:lnTo>
                      <a:lnTo>
                        <a:pt x="421" y="117"/>
                      </a:lnTo>
                      <a:lnTo>
                        <a:pt x="421" y="117"/>
                      </a:lnTo>
                      <a:lnTo>
                        <a:pt x="421" y="117"/>
                      </a:lnTo>
                      <a:lnTo>
                        <a:pt x="419" y="116"/>
                      </a:lnTo>
                      <a:lnTo>
                        <a:pt x="419" y="116"/>
                      </a:lnTo>
                      <a:lnTo>
                        <a:pt x="418" y="117"/>
                      </a:lnTo>
                      <a:lnTo>
                        <a:pt x="418" y="117"/>
                      </a:lnTo>
                      <a:lnTo>
                        <a:pt x="415" y="119"/>
                      </a:lnTo>
                      <a:lnTo>
                        <a:pt x="415" y="120"/>
                      </a:lnTo>
                      <a:lnTo>
                        <a:pt x="415" y="120"/>
                      </a:lnTo>
                      <a:lnTo>
                        <a:pt x="415" y="122"/>
                      </a:lnTo>
                      <a:lnTo>
                        <a:pt x="414" y="122"/>
                      </a:lnTo>
                      <a:lnTo>
                        <a:pt x="414" y="124"/>
                      </a:lnTo>
                      <a:lnTo>
                        <a:pt x="412" y="140"/>
                      </a:lnTo>
                      <a:lnTo>
                        <a:pt x="412" y="140"/>
                      </a:lnTo>
                      <a:lnTo>
                        <a:pt x="408" y="140"/>
                      </a:lnTo>
                      <a:lnTo>
                        <a:pt x="404" y="140"/>
                      </a:lnTo>
                      <a:lnTo>
                        <a:pt x="396" y="138"/>
                      </a:lnTo>
                      <a:lnTo>
                        <a:pt x="381" y="138"/>
                      </a:lnTo>
                      <a:lnTo>
                        <a:pt x="323" y="138"/>
                      </a:lnTo>
                      <a:lnTo>
                        <a:pt x="293" y="138"/>
                      </a:lnTo>
                      <a:lnTo>
                        <a:pt x="292" y="138"/>
                      </a:lnTo>
                      <a:lnTo>
                        <a:pt x="285" y="138"/>
                      </a:lnTo>
                      <a:lnTo>
                        <a:pt x="282" y="138"/>
                      </a:lnTo>
                      <a:lnTo>
                        <a:pt x="276" y="138"/>
                      </a:lnTo>
                      <a:lnTo>
                        <a:pt x="275" y="138"/>
                      </a:lnTo>
                      <a:lnTo>
                        <a:pt x="269" y="138"/>
                      </a:lnTo>
                      <a:lnTo>
                        <a:pt x="267" y="138"/>
                      </a:lnTo>
                      <a:lnTo>
                        <a:pt x="264" y="138"/>
                      </a:lnTo>
                      <a:lnTo>
                        <a:pt x="261" y="138"/>
                      </a:lnTo>
                      <a:lnTo>
                        <a:pt x="258" y="138"/>
                      </a:lnTo>
                      <a:lnTo>
                        <a:pt x="255" y="138"/>
                      </a:lnTo>
                      <a:lnTo>
                        <a:pt x="252" y="138"/>
                      </a:lnTo>
                      <a:lnTo>
                        <a:pt x="251" y="138"/>
                      </a:lnTo>
                      <a:lnTo>
                        <a:pt x="248" y="138"/>
                      </a:lnTo>
                      <a:lnTo>
                        <a:pt x="247" y="138"/>
                      </a:lnTo>
                      <a:lnTo>
                        <a:pt x="243" y="138"/>
                      </a:lnTo>
                      <a:lnTo>
                        <a:pt x="241" y="138"/>
                      </a:lnTo>
                      <a:lnTo>
                        <a:pt x="240" y="138"/>
                      </a:lnTo>
                      <a:lnTo>
                        <a:pt x="238" y="138"/>
                      </a:lnTo>
                      <a:lnTo>
                        <a:pt x="236" y="138"/>
                      </a:lnTo>
                      <a:lnTo>
                        <a:pt x="231" y="138"/>
                      </a:lnTo>
                      <a:lnTo>
                        <a:pt x="230" y="138"/>
                      </a:lnTo>
                      <a:lnTo>
                        <a:pt x="222" y="138"/>
                      </a:lnTo>
                      <a:lnTo>
                        <a:pt x="220" y="138"/>
                      </a:lnTo>
                      <a:lnTo>
                        <a:pt x="216" y="138"/>
                      </a:lnTo>
                      <a:lnTo>
                        <a:pt x="216" y="138"/>
                      </a:lnTo>
                      <a:lnTo>
                        <a:pt x="202" y="138"/>
                      </a:lnTo>
                      <a:lnTo>
                        <a:pt x="202" y="138"/>
                      </a:lnTo>
                      <a:lnTo>
                        <a:pt x="198" y="137"/>
                      </a:lnTo>
                      <a:lnTo>
                        <a:pt x="196" y="138"/>
                      </a:lnTo>
                      <a:lnTo>
                        <a:pt x="194" y="137"/>
                      </a:lnTo>
                      <a:lnTo>
                        <a:pt x="192" y="137"/>
                      </a:lnTo>
                      <a:lnTo>
                        <a:pt x="184" y="137"/>
                      </a:lnTo>
                      <a:lnTo>
                        <a:pt x="182" y="137"/>
                      </a:lnTo>
                      <a:lnTo>
                        <a:pt x="174" y="137"/>
                      </a:lnTo>
                      <a:lnTo>
                        <a:pt x="174" y="137"/>
                      </a:lnTo>
                      <a:lnTo>
                        <a:pt x="170" y="137"/>
                      </a:lnTo>
                      <a:lnTo>
                        <a:pt x="168" y="137"/>
                      </a:lnTo>
                      <a:lnTo>
                        <a:pt x="164" y="137"/>
                      </a:lnTo>
                      <a:lnTo>
                        <a:pt x="164" y="137"/>
                      </a:lnTo>
                      <a:lnTo>
                        <a:pt x="160" y="137"/>
                      </a:lnTo>
                      <a:lnTo>
                        <a:pt x="160" y="137"/>
                      </a:lnTo>
                      <a:lnTo>
                        <a:pt x="156" y="137"/>
                      </a:lnTo>
                      <a:lnTo>
                        <a:pt x="154" y="137"/>
                      </a:lnTo>
                      <a:lnTo>
                        <a:pt x="146" y="137"/>
                      </a:lnTo>
                      <a:lnTo>
                        <a:pt x="146" y="137"/>
                      </a:lnTo>
                      <a:lnTo>
                        <a:pt x="146" y="137"/>
                      </a:lnTo>
                      <a:lnTo>
                        <a:pt x="146" y="137"/>
                      </a:lnTo>
                      <a:lnTo>
                        <a:pt x="146" y="138"/>
                      </a:lnTo>
                      <a:lnTo>
                        <a:pt x="146" y="138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  <p:sp>
              <p:nvSpPr>
                <p:cNvPr id="114" name="Freeform 10"/>
                <p:cNvSpPr>
                  <a:spLocks/>
                </p:cNvSpPr>
                <p:nvPr/>
              </p:nvSpPr>
              <p:spPr bwMode="auto">
                <a:xfrm>
                  <a:off x="2838450" y="2766220"/>
                  <a:ext cx="630238" cy="742950"/>
                </a:xfrm>
                <a:custGeom>
                  <a:avLst/>
                  <a:gdLst>
                    <a:gd name="T0" fmla="*/ 11 w 397"/>
                    <a:gd name="T1" fmla="*/ 352 h 468"/>
                    <a:gd name="T2" fmla="*/ 15 w 397"/>
                    <a:gd name="T3" fmla="*/ 353 h 468"/>
                    <a:gd name="T4" fmla="*/ 20 w 397"/>
                    <a:gd name="T5" fmla="*/ 352 h 468"/>
                    <a:gd name="T6" fmla="*/ 24 w 397"/>
                    <a:gd name="T7" fmla="*/ 341 h 468"/>
                    <a:gd name="T8" fmla="*/ 20 w 397"/>
                    <a:gd name="T9" fmla="*/ 328 h 468"/>
                    <a:gd name="T10" fmla="*/ 15 w 397"/>
                    <a:gd name="T11" fmla="*/ 328 h 468"/>
                    <a:gd name="T12" fmla="*/ 10 w 397"/>
                    <a:gd name="T13" fmla="*/ 327 h 468"/>
                    <a:gd name="T14" fmla="*/ 7 w 397"/>
                    <a:gd name="T15" fmla="*/ 322 h 468"/>
                    <a:gd name="T16" fmla="*/ 8 w 397"/>
                    <a:gd name="T17" fmla="*/ 318 h 468"/>
                    <a:gd name="T18" fmla="*/ 10 w 397"/>
                    <a:gd name="T19" fmla="*/ 313 h 468"/>
                    <a:gd name="T20" fmla="*/ 6 w 397"/>
                    <a:gd name="T21" fmla="*/ 297 h 468"/>
                    <a:gd name="T22" fmla="*/ 13 w 397"/>
                    <a:gd name="T23" fmla="*/ 296 h 468"/>
                    <a:gd name="T24" fmla="*/ 21 w 397"/>
                    <a:gd name="T25" fmla="*/ 266 h 468"/>
                    <a:gd name="T26" fmla="*/ 20 w 397"/>
                    <a:gd name="T27" fmla="*/ 251 h 468"/>
                    <a:gd name="T28" fmla="*/ 24 w 397"/>
                    <a:gd name="T29" fmla="*/ 248 h 468"/>
                    <a:gd name="T30" fmla="*/ 27 w 397"/>
                    <a:gd name="T31" fmla="*/ 245 h 468"/>
                    <a:gd name="T32" fmla="*/ 30 w 397"/>
                    <a:gd name="T33" fmla="*/ 238 h 468"/>
                    <a:gd name="T34" fmla="*/ 39 w 397"/>
                    <a:gd name="T35" fmla="*/ 233 h 468"/>
                    <a:gd name="T36" fmla="*/ 48 w 397"/>
                    <a:gd name="T37" fmla="*/ 224 h 468"/>
                    <a:gd name="T38" fmla="*/ 45 w 397"/>
                    <a:gd name="T39" fmla="*/ 219 h 468"/>
                    <a:gd name="T40" fmla="*/ 42 w 397"/>
                    <a:gd name="T41" fmla="*/ 217 h 468"/>
                    <a:gd name="T42" fmla="*/ 32 w 397"/>
                    <a:gd name="T43" fmla="*/ 210 h 468"/>
                    <a:gd name="T44" fmla="*/ 30 w 397"/>
                    <a:gd name="T45" fmla="*/ 203 h 468"/>
                    <a:gd name="T46" fmla="*/ 21 w 397"/>
                    <a:gd name="T47" fmla="*/ 186 h 468"/>
                    <a:gd name="T48" fmla="*/ 13 w 397"/>
                    <a:gd name="T49" fmla="*/ 175 h 468"/>
                    <a:gd name="T50" fmla="*/ 11 w 397"/>
                    <a:gd name="T51" fmla="*/ 156 h 468"/>
                    <a:gd name="T52" fmla="*/ 13 w 397"/>
                    <a:gd name="T53" fmla="*/ 154 h 468"/>
                    <a:gd name="T54" fmla="*/ 15 w 397"/>
                    <a:gd name="T55" fmla="*/ 154 h 468"/>
                    <a:gd name="T56" fmla="*/ 15 w 397"/>
                    <a:gd name="T57" fmla="*/ 146 h 468"/>
                    <a:gd name="T58" fmla="*/ 8 w 397"/>
                    <a:gd name="T59" fmla="*/ 107 h 468"/>
                    <a:gd name="T60" fmla="*/ 7 w 397"/>
                    <a:gd name="T61" fmla="*/ 91 h 468"/>
                    <a:gd name="T62" fmla="*/ 4 w 397"/>
                    <a:gd name="T63" fmla="*/ 84 h 468"/>
                    <a:gd name="T64" fmla="*/ 7 w 397"/>
                    <a:gd name="T65" fmla="*/ 74 h 468"/>
                    <a:gd name="T66" fmla="*/ 17 w 397"/>
                    <a:gd name="T67" fmla="*/ 70 h 468"/>
                    <a:gd name="T68" fmla="*/ 31 w 397"/>
                    <a:gd name="T69" fmla="*/ 72 h 468"/>
                    <a:gd name="T70" fmla="*/ 35 w 397"/>
                    <a:gd name="T71" fmla="*/ 76 h 468"/>
                    <a:gd name="T72" fmla="*/ 37 w 397"/>
                    <a:gd name="T73" fmla="*/ 80 h 468"/>
                    <a:gd name="T74" fmla="*/ 41 w 397"/>
                    <a:gd name="T75" fmla="*/ 81 h 468"/>
                    <a:gd name="T76" fmla="*/ 46 w 397"/>
                    <a:gd name="T77" fmla="*/ 80 h 468"/>
                    <a:gd name="T78" fmla="*/ 53 w 397"/>
                    <a:gd name="T79" fmla="*/ 31 h 468"/>
                    <a:gd name="T80" fmla="*/ 101 w 397"/>
                    <a:gd name="T81" fmla="*/ 1 h 468"/>
                    <a:gd name="T82" fmla="*/ 397 w 397"/>
                    <a:gd name="T83" fmla="*/ 39 h 468"/>
                    <a:gd name="T84" fmla="*/ 397 w 397"/>
                    <a:gd name="T85" fmla="*/ 146 h 468"/>
                    <a:gd name="T86" fmla="*/ 397 w 397"/>
                    <a:gd name="T87" fmla="*/ 330 h 468"/>
                    <a:gd name="T88" fmla="*/ 397 w 397"/>
                    <a:gd name="T89" fmla="*/ 435 h 468"/>
                    <a:gd name="T90" fmla="*/ 366 w 397"/>
                    <a:gd name="T91" fmla="*/ 468 h 468"/>
                    <a:gd name="T92" fmla="*/ 198 w 397"/>
                    <a:gd name="T93" fmla="*/ 444 h 468"/>
                    <a:gd name="T94" fmla="*/ 121 w 397"/>
                    <a:gd name="T95" fmla="*/ 415 h 468"/>
                    <a:gd name="T96" fmla="*/ 52 w 397"/>
                    <a:gd name="T97" fmla="*/ 390 h 468"/>
                    <a:gd name="T98" fmla="*/ 0 w 397"/>
                    <a:gd name="T99" fmla="*/ 372 h 468"/>
                    <a:gd name="T100" fmla="*/ 6 w 397"/>
                    <a:gd name="T101" fmla="*/ 356 h 4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97" h="468">
                      <a:moveTo>
                        <a:pt x="7" y="352"/>
                      </a:moveTo>
                      <a:lnTo>
                        <a:pt x="8" y="352"/>
                      </a:lnTo>
                      <a:lnTo>
                        <a:pt x="10" y="352"/>
                      </a:lnTo>
                      <a:lnTo>
                        <a:pt x="11" y="352"/>
                      </a:lnTo>
                      <a:lnTo>
                        <a:pt x="11" y="352"/>
                      </a:lnTo>
                      <a:lnTo>
                        <a:pt x="13" y="353"/>
                      </a:lnTo>
                      <a:lnTo>
                        <a:pt x="14" y="353"/>
                      </a:lnTo>
                      <a:lnTo>
                        <a:pt x="15" y="353"/>
                      </a:lnTo>
                      <a:lnTo>
                        <a:pt x="18" y="353"/>
                      </a:lnTo>
                      <a:lnTo>
                        <a:pt x="18" y="353"/>
                      </a:lnTo>
                      <a:lnTo>
                        <a:pt x="18" y="353"/>
                      </a:lnTo>
                      <a:lnTo>
                        <a:pt x="20" y="352"/>
                      </a:lnTo>
                      <a:lnTo>
                        <a:pt x="24" y="344"/>
                      </a:lnTo>
                      <a:lnTo>
                        <a:pt x="24" y="342"/>
                      </a:lnTo>
                      <a:lnTo>
                        <a:pt x="24" y="342"/>
                      </a:lnTo>
                      <a:lnTo>
                        <a:pt x="24" y="341"/>
                      </a:lnTo>
                      <a:lnTo>
                        <a:pt x="24" y="334"/>
                      </a:lnTo>
                      <a:lnTo>
                        <a:pt x="21" y="330"/>
                      </a:lnTo>
                      <a:lnTo>
                        <a:pt x="21" y="330"/>
                      </a:lnTo>
                      <a:lnTo>
                        <a:pt x="20" y="328"/>
                      </a:lnTo>
                      <a:lnTo>
                        <a:pt x="20" y="328"/>
                      </a:lnTo>
                      <a:lnTo>
                        <a:pt x="18" y="328"/>
                      </a:lnTo>
                      <a:lnTo>
                        <a:pt x="17" y="328"/>
                      </a:lnTo>
                      <a:lnTo>
                        <a:pt x="15" y="328"/>
                      </a:lnTo>
                      <a:lnTo>
                        <a:pt x="14" y="328"/>
                      </a:lnTo>
                      <a:lnTo>
                        <a:pt x="14" y="328"/>
                      </a:lnTo>
                      <a:lnTo>
                        <a:pt x="10" y="328"/>
                      </a:lnTo>
                      <a:lnTo>
                        <a:pt x="10" y="327"/>
                      </a:lnTo>
                      <a:lnTo>
                        <a:pt x="8" y="325"/>
                      </a:lnTo>
                      <a:lnTo>
                        <a:pt x="7" y="324"/>
                      </a:lnTo>
                      <a:lnTo>
                        <a:pt x="7" y="324"/>
                      </a:lnTo>
                      <a:lnTo>
                        <a:pt x="7" y="322"/>
                      </a:lnTo>
                      <a:lnTo>
                        <a:pt x="7" y="322"/>
                      </a:lnTo>
                      <a:lnTo>
                        <a:pt x="7" y="321"/>
                      </a:lnTo>
                      <a:lnTo>
                        <a:pt x="8" y="320"/>
                      </a:lnTo>
                      <a:lnTo>
                        <a:pt x="8" y="318"/>
                      </a:lnTo>
                      <a:lnTo>
                        <a:pt x="8" y="318"/>
                      </a:lnTo>
                      <a:lnTo>
                        <a:pt x="10" y="317"/>
                      </a:lnTo>
                      <a:lnTo>
                        <a:pt x="10" y="314"/>
                      </a:lnTo>
                      <a:lnTo>
                        <a:pt x="10" y="313"/>
                      </a:lnTo>
                      <a:lnTo>
                        <a:pt x="8" y="310"/>
                      </a:lnTo>
                      <a:lnTo>
                        <a:pt x="7" y="307"/>
                      </a:lnTo>
                      <a:lnTo>
                        <a:pt x="6" y="304"/>
                      </a:lnTo>
                      <a:lnTo>
                        <a:pt x="6" y="297"/>
                      </a:lnTo>
                      <a:lnTo>
                        <a:pt x="10" y="296"/>
                      </a:lnTo>
                      <a:lnTo>
                        <a:pt x="11" y="296"/>
                      </a:lnTo>
                      <a:lnTo>
                        <a:pt x="11" y="296"/>
                      </a:lnTo>
                      <a:lnTo>
                        <a:pt x="13" y="296"/>
                      </a:lnTo>
                      <a:lnTo>
                        <a:pt x="20" y="285"/>
                      </a:lnTo>
                      <a:lnTo>
                        <a:pt x="20" y="285"/>
                      </a:lnTo>
                      <a:lnTo>
                        <a:pt x="23" y="272"/>
                      </a:lnTo>
                      <a:lnTo>
                        <a:pt x="21" y="266"/>
                      </a:lnTo>
                      <a:lnTo>
                        <a:pt x="21" y="259"/>
                      </a:lnTo>
                      <a:lnTo>
                        <a:pt x="20" y="252"/>
                      </a:lnTo>
                      <a:lnTo>
                        <a:pt x="20" y="252"/>
                      </a:lnTo>
                      <a:lnTo>
                        <a:pt x="20" y="251"/>
                      </a:lnTo>
                      <a:lnTo>
                        <a:pt x="21" y="251"/>
                      </a:lnTo>
                      <a:lnTo>
                        <a:pt x="21" y="251"/>
                      </a:lnTo>
                      <a:lnTo>
                        <a:pt x="23" y="250"/>
                      </a:lnTo>
                      <a:lnTo>
                        <a:pt x="24" y="248"/>
                      </a:lnTo>
                      <a:lnTo>
                        <a:pt x="25" y="248"/>
                      </a:lnTo>
                      <a:lnTo>
                        <a:pt x="27" y="247"/>
                      </a:lnTo>
                      <a:lnTo>
                        <a:pt x="27" y="245"/>
                      </a:lnTo>
                      <a:lnTo>
                        <a:pt x="27" y="245"/>
                      </a:lnTo>
                      <a:lnTo>
                        <a:pt x="28" y="241"/>
                      </a:lnTo>
                      <a:lnTo>
                        <a:pt x="28" y="241"/>
                      </a:lnTo>
                      <a:lnTo>
                        <a:pt x="28" y="240"/>
                      </a:lnTo>
                      <a:lnTo>
                        <a:pt x="30" y="238"/>
                      </a:lnTo>
                      <a:lnTo>
                        <a:pt x="31" y="238"/>
                      </a:lnTo>
                      <a:lnTo>
                        <a:pt x="31" y="238"/>
                      </a:lnTo>
                      <a:lnTo>
                        <a:pt x="34" y="237"/>
                      </a:lnTo>
                      <a:lnTo>
                        <a:pt x="39" y="233"/>
                      </a:lnTo>
                      <a:lnTo>
                        <a:pt x="41" y="231"/>
                      </a:lnTo>
                      <a:lnTo>
                        <a:pt x="48" y="226"/>
                      </a:lnTo>
                      <a:lnTo>
                        <a:pt x="48" y="226"/>
                      </a:lnTo>
                      <a:lnTo>
                        <a:pt x="48" y="224"/>
                      </a:lnTo>
                      <a:lnTo>
                        <a:pt x="48" y="223"/>
                      </a:lnTo>
                      <a:lnTo>
                        <a:pt x="46" y="222"/>
                      </a:lnTo>
                      <a:lnTo>
                        <a:pt x="45" y="220"/>
                      </a:lnTo>
                      <a:lnTo>
                        <a:pt x="45" y="219"/>
                      </a:lnTo>
                      <a:lnTo>
                        <a:pt x="44" y="219"/>
                      </a:lnTo>
                      <a:lnTo>
                        <a:pt x="44" y="219"/>
                      </a:lnTo>
                      <a:lnTo>
                        <a:pt x="44" y="219"/>
                      </a:lnTo>
                      <a:lnTo>
                        <a:pt x="42" y="217"/>
                      </a:lnTo>
                      <a:lnTo>
                        <a:pt x="39" y="216"/>
                      </a:lnTo>
                      <a:lnTo>
                        <a:pt x="38" y="215"/>
                      </a:lnTo>
                      <a:lnTo>
                        <a:pt x="37" y="213"/>
                      </a:lnTo>
                      <a:lnTo>
                        <a:pt x="32" y="210"/>
                      </a:lnTo>
                      <a:lnTo>
                        <a:pt x="30" y="206"/>
                      </a:lnTo>
                      <a:lnTo>
                        <a:pt x="30" y="205"/>
                      </a:lnTo>
                      <a:lnTo>
                        <a:pt x="30" y="205"/>
                      </a:lnTo>
                      <a:lnTo>
                        <a:pt x="30" y="203"/>
                      </a:lnTo>
                      <a:lnTo>
                        <a:pt x="30" y="203"/>
                      </a:lnTo>
                      <a:lnTo>
                        <a:pt x="27" y="196"/>
                      </a:lnTo>
                      <a:lnTo>
                        <a:pt x="24" y="191"/>
                      </a:lnTo>
                      <a:lnTo>
                        <a:pt x="21" y="186"/>
                      </a:lnTo>
                      <a:lnTo>
                        <a:pt x="17" y="181"/>
                      </a:lnTo>
                      <a:lnTo>
                        <a:pt x="13" y="177"/>
                      </a:lnTo>
                      <a:lnTo>
                        <a:pt x="13" y="175"/>
                      </a:lnTo>
                      <a:lnTo>
                        <a:pt x="13" y="175"/>
                      </a:lnTo>
                      <a:lnTo>
                        <a:pt x="13" y="167"/>
                      </a:lnTo>
                      <a:lnTo>
                        <a:pt x="13" y="164"/>
                      </a:lnTo>
                      <a:lnTo>
                        <a:pt x="11" y="163"/>
                      </a:lnTo>
                      <a:lnTo>
                        <a:pt x="11" y="156"/>
                      </a:lnTo>
                      <a:lnTo>
                        <a:pt x="11" y="156"/>
                      </a:lnTo>
                      <a:lnTo>
                        <a:pt x="13" y="154"/>
                      </a:lnTo>
                      <a:lnTo>
                        <a:pt x="13" y="154"/>
                      </a:lnTo>
                      <a:lnTo>
                        <a:pt x="13" y="154"/>
                      </a:lnTo>
                      <a:lnTo>
                        <a:pt x="14" y="154"/>
                      </a:lnTo>
                      <a:lnTo>
                        <a:pt x="15" y="154"/>
                      </a:lnTo>
                      <a:lnTo>
                        <a:pt x="15" y="154"/>
                      </a:lnTo>
                      <a:lnTo>
                        <a:pt x="15" y="154"/>
                      </a:lnTo>
                      <a:lnTo>
                        <a:pt x="15" y="153"/>
                      </a:lnTo>
                      <a:lnTo>
                        <a:pt x="17" y="149"/>
                      </a:lnTo>
                      <a:lnTo>
                        <a:pt x="17" y="147"/>
                      </a:lnTo>
                      <a:lnTo>
                        <a:pt x="15" y="146"/>
                      </a:lnTo>
                      <a:lnTo>
                        <a:pt x="15" y="137"/>
                      </a:lnTo>
                      <a:lnTo>
                        <a:pt x="14" y="133"/>
                      </a:lnTo>
                      <a:lnTo>
                        <a:pt x="10" y="118"/>
                      </a:lnTo>
                      <a:lnTo>
                        <a:pt x="8" y="107"/>
                      </a:lnTo>
                      <a:lnTo>
                        <a:pt x="8" y="105"/>
                      </a:lnTo>
                      <a:lnTo>
                        <a:pt x="8" y="98"/>
                      </a:lnTo>
                      <a:lnTo>
                        <a:pt x="8" y="97"/>
                      </a:lnTo>
                      <a:lnTo>
                        <a:pt x="7" y="91"/>
                      </a:lnTo>
                      <a:lnTo>
                        <a:pt x="6" y="87"/>
                      </a:lnTo>
                      <a:lnTo>
                        <a:pt x="4" y="86"/>
                      </a:lnTo>
                      <a:lnTo>
                        <a:pt x="4" y="84"/>
                      </a:lnTo>
                      <a:lnTo>
                        <a:pt x="4" y="84"/>
                      </a:lnTo>
                      <a:lnTo>
                        <a:pt x="6" y="77"/>
                      </a:lnTo>
                      <a:lnTo>
                        <a:pt x="6" y="76"/>
                      </a:lnTo>
                      <a:lnTo>
                        <a:pt x="6" y="76"/>
                      </a:lnTo>
                      <a:lnTo>
                        <a:pt x="7" y="74"/>
                      </a:lnTo>
                      <a:lnTo>
                        <a:pt x="7" y="74"/>
                      </a:lnTo>
                      <a:lnTo>
                        <a:pt x="8" y="73"/>
                      </a:lnTo>
                      <a:lnTo>
                        <a:pt x="13" y="72"/>
                      </a:lnTo>
                      <a:lnTo>
                        <a:pt x="17" y="70"/>
                      </a:lnTo>
                      <a:lnTo>
                        <a:pt x="18" y="70"/>
                      </a:lnTo>
                      <a:lnTo>
                        <a:pt x="31" y="72"/>
                      </a:lnTo>
                      <a:lnTo>
                        <a:pt x="31" y="72"/>
                      </a:lnTo>
                      <a:lnTo>
                        <a:pt x="31" y="72"/>
                      </a:lnTo>
                      <a:lnTo>
                        <a:pt x="34" y="73"/>
                      </a:lnTo>
                      <a:lnTo>
                        <a:pt x="34" y="74"/>
                      </a:lnTo>
                      <a:lnTo>
                        <a:pt x="34" y="74"/>
                      </a:lnTo>
                      <a:lnTo>
                        <a:pt x="35" y="76"/>
                      </a:lnTo>
                      <a:lnTo>
                        <a:pt x="35" y="77"/>
                      </a:lnTo>
                      <a:lnTo>
                        <a:pt x="35" y="77"/>
                      </a:lnTo>
                      <a:lnTo>
                        <a:pt x="35" y="79"/>
                      </a:lnTo>
                      <a:lnTo>
                        <a:pt x="37" y="80"/>
                      </a:lnTo>
                      <a:lnTo>
                        <a:pt x="38" y="80"/>
                      </a:lnTo>
                      <a:lnTo>
                        <a:pt x="38" y="81"/>
                      </a:lnTo>
                      <a:lnTo>
                        <a:pt x="39" y="81"/>
                      </a:lnTo>
                      <a:lnTo>
                        <a:pt x="41" y="81"/>
                      </a:lnTo>
                      <a:lnTo>
                        <a:pt x="42" y="81"/>
                      </a:lnTo>
                      <a:lnTo>
                        <a:pt x="44" y="81"/>
                      </a:lnTo>
                      <a:lnTo>
                        <a:pt x="45" y="80"/>
                      </a:lnTo>
                      <a:lnTo>
                        <a:pt x="46" y="80"/>
                      </a:lnTo>
                      <a:lnTo>
                        <a:pt x="46" y="80"/>
                      </a:lnTo>
                      <a:lnTo>
                        <a:pt x="48" y="79"/>
                      </a:lnTo>
                      <a:lnTo>
                        <a:pt x="53" y="67"/>
                      </a:lnTo>
                      <a:lnTo>
                        <a:pt x="53" y="31"/>
                      </a:lnTo>
                      <a:lnTo>
                        <a:pt x="53" y="3"/>
                      </a:lnTo>
                      <a:lnTo>
                        <a:pt x="53" y="0"/>
                      </a:lnTo>
                      <a:lnTo>
                        <a:pt x="55" y="1"/>
                      </a:lnTo>
                      <a:lnTo>
                        <a:pt x="101" y="1"/>
                      </a:lnTo>
                      <a:lnTo>
                        <a:pt x="234" y="1"/>
                      </a:lnTo>
                      <a:lnTo>
                        <a:pt x="397" y="1"/>
                      </a:lnTo>
                      <a:lnTo>
                        <a:pt x="397" y="11"/>
                      </a:lnTo>
                      <a:lnTo>
                        <a:pt x="397" y="39"/>
                      </a:lnTo>
                      <a:lnTo>
                        <a:pt x="397" y="98"/>
                      </a:lnTo>
                      <a:lnTo>
                        <a:pt x="397" y="126"/>
                      </a:lnTo>
                      <a:lnTo>
                        <a:pt x="397" y="136"/>
                      </a:lnTo>
                      <a:lnTo>
                        <a:pt x="397" y="146"/>
                      </a:lnTo>
                      <a:lnTo>
                        <a:pt x="397" y="174"/>
                      </a:lnTo>
                      <a:lnTo>
                        <a:pt x="397" y="215"/>
                      </a:lnTo>
                      <a:lnTo>
                        <a:pt x="397" y="301"/>
                      </a:lnTo>
                      <a:lnTo>
                        <a:pt x="397" y="330"/>
                      </a:lnTo>
                      <a:lnTo>
                        <a:pt x="397" y="341"/>
                      </a:lnTo>
                      <a:lnTo>
                        <a:pt x="397" y="394"/>
                      </a:lnTo>
                      <a:lnTo>
                        <a:pt x="397" y="421"/>
                      </a:lnTo>
                      <a:lnTo>
                        <a:pt x="397" y="435"/>
                      </a:lnTo>
                      <a:lnTo>
                        <a:pt x="397" y="468"/>
                      </a:lnTo>
                      <a:lnTo>
                        <a:pt x="397" y="468"/>
                      </a:lnTo>
                      <a:lnTo>
                        <a:pt x="397" y="468"/>
                      </a:lnTo>
                      <a:lnTo>
                        <a:pt x="366" y="468"/>
                      </a:lnTo>
                      <a:lnTo>
                        <a:pt x="339" y="468"/>
                      </a:lnTo>
                      <a:lnTo>
                        <a:pt x="259" y="468"/>
                      </a:lnTo>
                      <a:lnTo>
                        <a:pt x="234" y="459"/>
                      </a:lnTo>
                      <a:lnTo>
                        <a:pt x="198" y="444"/>
                      </a:lnTo>
                      <a:lnTo>
                        <a:pt x="173" y="435"/>
                      </a:lnTo>
                      <a:lnTo>
                        <a:pt x="159" y="430"/>
                      </a:lnTo>
                      <a:lnTo>
                        <a:pt x="133" y="421"/>
                      </a:lnTo>
                      <a:lnTo>
                        <a:pt x="121" y="415"/>
                      </a:lnTo>
                      <a:lnTo>
                        <a:pt x="101" y="408"/>
                      </a:lnTo>
                      <a:lnTo>
                        <a:pt x="77" y="400"/>
                      </a:lnTo>
                      <a:lnTo>
                        <a:pt x="66" y="395"/>
                      </a:lnTo>
                      <a:lnTo>
                        <a:pt x="52" y="390"/>
                      </a:lnTo>
                      <a:lnTo>
                        <a:pt x="32" y="383"/>
                      </a:lnTo>
                      <a:lnTo>
                        <a:pt x="15" y="377"/>
                      </a:lnTo>
                      <a:lnTo>
                        <a:pt x="1" y="372"/>
                      </a:lnTo>
                      <a:lnTo>
                        <a:pt x="0" y="372"/>
                      </a:lnTo>
                      <a:lnTo>
                        <a:pt x="0" y="372"/>
                      </a:lnTo>
                      <a:lnTo>
                        <a:pt x="1" y="367"/>
                      </a:lnTo>
                      <a:lnTo>
                        <a:pt x="6" y="358"/>
                      </a:lnTo>
                      <a:lnTo>
                        <a:pt x="6" y="356"/>
                      </a:lnTo>
                      <a:lnTo>
                        <a:pt x="6" y="355"/>
                      </a:lnTo>
                      <a:lnTo>
                        <a:pt x="6" y="355"/>
                      </a:lnTo>
                      <a:lnTo>
                        <a:pt x="7" y="352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  <p:sp>
              <p:nvSpPr>
                <p:cNvPr id="115" name="Freeform 11"/>
                <p:cNvSpPr>
                  <a:spLocks/>
                </p:cNvSpPr>
                <p:nvPr/>
              </p:nvSpPr>
              <p:spPr bwMode="auto">
                <a:xfrm>
                  <a:off x="4924425" y="2294732"/>
                  <a:ext cx="730250" cy="604838"/>
                </a:xfrm>
                <a:custGeom>
                  <a:avLst/>
                  <a:gdLst>
                    <a:gd name="T0" fmla="*/ 458 w 460"/>
                    <a:gd name="T1" fmla="*/ 308 h 381"/>
                    <a:gd name="T2" fmla="*/ 454 w 460"/>
                    <a:gd name="T3" fmla="*/ 324 h 381"/>
                    <a:gd name="T4" fmla="*/ 451 w 460"/>
                    <a:gd name="T5" fmla="*/ 333 h 381"/>
                    <a:gd name="T6" fmla="*/ 446 w 460"/>
                    <a:gd name="T7" fmla="*/ 332 h 381"/>
                    <a:gd name="T8" fmla="*/ 442 w 460"/>
                    <a:gd name="T9" fmla="*/ 328 h 381"/>
                    <a:gd name="T10" fmla="*/ 436 w 460"/>
                    <a:gd name="T11" fmla="*/ 342 h 381"/>
                    <a:gd name="T12" fmla="*/ 432 w 460"/>
                    <a:gd name="T13" fmla="*/ 343 h 381"/>
                    <a:gd name="T14" fmla="*/ 432 w 460"/>
                    <a:gd name="T15" fmla="*/ 335 h 381"/>
                    <a:gd name="T16" fmla="*/ 428 w 460"/>
                    <a:gd name="T17" fmla="*/ 335 h 381"/>
                    <a:gd name="T18" fmla="*/ 429 w 460"/>
                    <a:gd name="T19" fmla="*/ 340 h 381"/>
                    <a:gd name="T20" fmla="*/ 429 w 460"/>
                    <a:gd name="T21" fmla="*/ 352 h 381"/>
                    <a:gd name="T22" fmla="*/ 425 w 460"/>
                    <a:gd name="T23" fmla="*/ 353 h 381"/>
                    <a:gd name="T24" fmla="*/ 373 w 460"/>
                    <a:gd name="T25" fmla="*/ 381 h 381"/>
                    <a:gd name="T26" fmla="*/ 377 w 460"/>
                    <a:gd name="T27" fmla="*/ 371 h 381"/>
                    <a:gd name="T28" fmla="*/ 393 w 460"/>
                    <a:gd name="T29" fmla="*/ 359 h 381"/>
                    <a:gd name="T30" fmla="*/ 387 w 460"/>
                    <a:gd name="T31" fmla="*/ 339 h 381"/>
                    <a:gd name="T32" fmla="*/ 80 w 460"/>
                    <a:gd name="T33" fmla="*/ 123 h 381"/>
                    <a:gd name="T34" fmla="*/ 60 w 460"/>
                    <a:gd name="T35" fmla="*/ 109 h 381"/>
                    <a:gd name="T36" fmla="*/ 46 w 460"/>
                    <a:gd name="T37" fmla="*/ 91 h 381"/>
                    <a:gd name="T38" fmla="*/ 56 w 460"/>
                    <a:gd name="T39" fmla="*/ 73 h 381"/>
                    <a:gd name="T40" fmla="*/ 60 w 460"/>
                    <a:gd name="T41" fmla="*/ 73 h 381"/>
                    <a:gd name="T42" fmla="*/ 62 w 460"/>
                    <a:gd name="T43" fmla="*/ 66 h 381"/>
                    <a:gd name="T44" fmla="*/ 50 w 460"/>
                    <a:gd name="T45" fmla="*/ 60 h 381"/>
                    <a:gd name="T46" fmla="*/ 48 w 460"/>
                    <a:gd name="T47" fmla="*/ 61 h 381"/>
                    <a:gd name="T48" fmla="*/ 31 w 460"/>
                    <a:gd name="T49" fmla="*/ 50 h 381"/>
                    <a:gd name="T50" fmla="*/ 7 w 460"/>
                    <a:gd name="T51" fmla="*/ 14 h 381"/>
                    <a:gd name="T52" fmla="*/ 0 w 460"/>
                    <a:gd name="T53" fmla="*/ 7 h 381"/>
                    <a:gd name="T54" fmla="*/ 1 w 460"/>
                    <a:gd name="T55" fmla="*/ 1 h 381"/>
                    <a:gd name="T56" fmla="*/ 92 w 460"/>
                    <a:gd name="T57" fmla="*/ 3 h 381"/>
                    <a:gd name="T58" fmla="*/ 249 w 460"/>
                    <a:gd name="T59" fmla="*/ 0 h 381"/>
                    <a:gd name="T60" fmla="*/ 293 w 460"/>
                    <a:gd name="T61" fmla="*/ 15 h 381"/>
                    <a:gd name="T62" fmla="*/ 297 w 460"/>
                    <a:gd name="T63" fmla="*/ 21 h 381"/>
                    <a:gd name="T64" fmla="*/ 293 w 460"/>
                    <a:gd name="T65" fmla="*/ 33 h 381"/>
                    <a:gd name="T66" fmla="*/ 301 w 460"/>
                    <a:gd name="T67" fmla="*/ 66 h 381"/>
                    <a:gd name="T68" fmla="*/ 307 w 460"/>
                    <a:gd name="T69" fmla="*/ 77 h 381"/>
                    <a:gd name="T70" fmla="*/ 324 w 460"/>
                    <a:gd name="T71" fmla="*/ 94 h 381"/>
                    <a:gd name="T72" fmla="*/ 335 w 460"/>
                    <a:gd name="T73" fmla="*/ 102 h 381"/>
                    <a:gd name="T74" fmla="*/ 346 w 460"/>
                    <a:gd name="T75" fmla="*/ 113 h 381"/>
                    <a:gd name="T76" fmla="*/ 350 w 460"/>
                    <a:gd name="T77" fmla="*/ 134 h 381"/>
                    <a:gd name="T78" fmla="*/ 356 w 460"/>
                    <a:gd name="T79" fmla="*/ 143 h 381"/>
                    <a:gd name="T80" fmla="*/ 363 w 460"/>
                    <a:gd name="T81" fmla="*/ 139 h 381"/>
                    <a:gd name="T82" fmla="*/ 367 w 460"/>
                    <a:gd name="T83" fmla="*/ 136 h 381"/>
                    <a:gd name="T84" fmla="*/ 390 w 460"/>
                    <a:gd name="T85" fmla="*/ 148 h 381"/>
                    <a:gd name="T86" fmla="*/ 384 w 460"/>
                    <a:gd name="T87" fmla="*/ 157 h 381"/>
                    <a:gd name="T88" fmla="*/ 386 w 460"/>
                    <a:gd name="T89" fmla="*/ 162 h 381"/>
                    <a:gd name="T90" fmla="*/ 371 w 460"/>
                    <a:gd name="T91" fmla="*/ 189 h 381"/>
                    <a:gd name="T92" fmla="*/ 376 w 460"/>
                    <a:gd name="T93" fmla="*/ 200 h 381"/>
                    <a:gd name="T94" fmla="*/ 408 w 460"/>
                    <a:gd name="T95" fmla="*/ 224 h 381"/>
                    <a:gd name="T96" fmla="*/ 421 w 460"/>
                    <a:gd name="T97" fmla="*/ 235 h 381"/>
                    <a:gd name="T98" fmla="*/ 429 w 460"/>
                    <a:gd name="T99" fmla="*/ 241 h 381"/>
                    <a:gd name="T100" fmla="*/ 430 w 460"/>
                    <a:gd name="T101" fmla="*/ 249 h 381"/>
                    <a:gd name="T102" fmla="*/ 435 w 460"/>
                    <a:gd name="T103" fmla="*/ 261 h 381"/>
                    <a:gd name="T104" fmla="*/ 436 w 460"/>
                    <a:gd name="T105" fmla="*/ 269 h 381"/>
                    <a:gd name="T106" fmla="*/ 432 w 460"/>
                    <a:gd name="T107" fmla="*/ 272 h 381"/>
                    <a:gd name="T108" fmla="*/ 440 w 460"/>
                    <a:gd name="T109" fmla="*/ 293 h 381"/>
                    <a:gd name="T110" fmla="*/ 456 w 460"/>
                    <a:gd name="T111" fmla="*/ 300 h 3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460" h="381">
                      <a:moveTo>
                        <a:pt x="458" y="300"/>
                      </a:moveTo>
                      <a:lnTo>
                        <a:pt x="458" y="300"/>
                      </a:lnTo>
                      <a:lnTo>
                        <a:pt x="458" y="301"/>
                      </a:lnTo>
                      <a:lnTo>
                        <a:pt x="460" y="301"/>
                      </a:lnTo>
                      <a:lnTo>
                        <a:pt x="458" y="307"/>
                      </a:lnTo>
                      <a:lnTo>
                        <a:pt x="458" y="308"/>
                      </a:lnTo>
                      <a:lnTo>
                        <a:pt x="458" y="308"/>
                      </a:lnTo>
                      <a:lnTo>
                        <a:pt x="457" y="310"/>
                      </a:lnTo>
                      <a:lnTo>
                        <a:pt x="457" y="310"/>
                      </a:lnTo>
                      <a:lnTo>
                        <a:pt x="454" y="314"/>
                      </a:lnTo>
                      <a:lnTo>
                        <a:pt x="453" y="319"/>
                      </a:lnTo>
                      <a:lnTo>
                        <a:pt x="453" y="321"/>
                      </a:lnTo>
                      <a:lnTo>
                        <a:pt x="453" y="322"/>
                      </a:lnTo>
                      <a:lnTo>
                        <a:pt x="454" y="324"/>
                      </a:lnTo>
                      <a:lnTo>
                        <a:pt x="454" y="324"/>
                      </a:lnTo>
                      <a:lnTo>
                        <a:pt x="454" y="325"/>
                      </a:lnTo>
                      <a:lnTo>
                        <a:pt x="456" y="325"/>
                      </a:lnTo>
                      <a:lnTo>
                        <a:pt x="454" y="326"/>
                      </a:lnTo>
                      <a:lnTo>
                        <a:pt x="453" y="332"/>
                      </a:lnTo>
                      <a:lnTo>
                        <a:pt x="451" y="333"/>
                      </a:lnTo>
                      <a:lnTo>
                        <a:pt x="451" y="333"/>
                      </a:lnTo>
                      <a:lnTo>
                        <a:pt x="450" y="333"/>
                      </a:lnTo>
                      <a:lnTo>
                        <a:pt x="450" y="333"/>
                      </a:lnTo>
                      <a:lnTo>
                        <a:pt x="449" y="333"/>
                      </a:lnTo>
                      <a:lnTo>
                        <a:pt x="449" y="333"/>
                      </a:lnTo>
                      <a:lnTo>
                        <a:pt x="447" y="332"/>
                      </a:lnTo>
                      <a:lnTo>
                        <a:pt x="447" y="332"/>
                      </a:lnTo>
                      <a:lnTo>
                        <a:pt x="446" y="332"/>
                      </a:lnTo>
                      <a:lnTo>
                        <a:pt x="446" y="331"/>
                      </a:lnTo>
                      <a:lnTo>
                        <a:pt x="444" y="329"/>
                      </a:lnTo>
                      <a:lnTo>
                        <a:pt x="443" y="329"/>
                      </a:lnTo>
                      <a:lnTo>
                        <a:pt x="443" y="329"/>
                      </a:lnTo>
                      <a:lnTo>
                        <a:pt x="443" y="328"/>
                      </a:lnTo>
                      <a:lnTo>
                        <a:pt x="442" y="328"/>
                      </a:lnTo>
                      <a:lnTo>
                        <a:pt x="442" y="328"/>
                      </a:lnTo>
                      <a:lnTo>
                        <a:pt x="442" y="329"/>
                      </a:lnTo>
                      <a:lnTo>
                        <a:pt x="440" y="329"/>
                      </a:lnTo>
                      <a:lnTo>
                        <a:pt x="440" y="329"/>
                      </a:lnTo>
                      <a:lnTo>
                        <a:pt x="440" y="331"/>
                      </a:lnTo>
                      <a:lnTo>
                        <a:pt x="437" y="339"/>
                      </a:lnTo>
                      <a:lnTo>
                        <a:pt x="437" y="340"/>
                      </a:lnTo>
                      <a:lnTo>
                        <a:pt x="436" y="342"/>
                      </a:lnTo>
                      <a:lnTo>
                        <a:pt x="435" y="343"/>
                      </a:lnTo>
                      <a:lnTo>
                        <a:pt x="435" y="343"/>
                      </a:lnTo>
                      <a:lnTo>
                        <a:pt x="433" y="343"/>
                      </a:lnTo>
                      <a:lnTo>
                        <a:pt x="433" y="343"/>
                      </a:lnTo>
                      <a:lnTo>
                        <a:pt x="432" y="343"/>
                      </a:lnTo>
                      <a:lnTo>
                        <a:pt x="432" y="343"/>
                      </a:lnTo>
                      <a:lnTo>
                        <a:pt x="432" y="343"/>
                      </a:lnTo>
                      <a:lnTo>
                        <a:pt x="432" y="342"/>
                      </a:lnTo>
                      <a:lnTo>
                        <a:pt x="432" y="342"/>
                      </a:lnTo>
                      <a:lnTo>
                        <a:pt x="433" y="339"/>
                      </a:lnTo>
                      <a:lnTo>
                        <a:pt x="433" y="338"/>
                      </a:lnTo>
                      <a:lnTo>
                        <a:pt x="433" y="338"/>
                      </a:lnTo>
                      <a:lnTo>
                        <a:pt x="433" y="335"/>
                      </a:lnTo>
                      <a:lnTo>
                        <a:pt x="432" y="335"/>
                      </a:lnTo>
                      <a:lnTo>
                        <a:pt x="432" y="333"/>
                      </a:lnTo>
                      <a:lnTo>
                        <a:pt x="432" y="333"/>
                      </a:lnTo>
                      <a:lnTo>
                        <a:pt x="430" y="333"/>
                      </a:lnTo>
                      <a:lnTo>
                        <a:pt x="429" y="333"/>
                      </a:lnTo>
                      <a:lnTo>
                        <a:pt x="428" y="335"/>
                      </a:lnTo>
                      <a:lnTo>
                        <a:pt x="428" y="335"/>
                      </a:lnTo>
                      <a:lnTo>
                        <a:pt x="428" y="335"/>
                      </a:lnTo>
                      <a:lnTo>
                        <a:pt x="428" y="336"/>
                      </a:lnTo>
                      <a:lnTo>
                        <a:pt x="428" y="338"/>
                      </a:lnTo>
                      <a:lnTo>
                        <a:pt x="428" y="338"/>
                      </a:lnTo>
                      <a:lnTo>
                        <a:pt x="428" y="338"/>
                      </a:lnTo>
                      <a:lnTo>
                        <a:pt x="428" y="339"/>
                      </a:lnTo>
                      <a:lnTo>
                        <a:pt x="429" y="340"/>
                      </a:lnTo>
                      <a:lnTo>
                        <a:pt x="429" y="340"/>
                      </a:lnTo>
                      <a:lnTo>
                        <a:pt x="430" y="349"/>
                      </a:lnTo>
                      <a:lnTo>
                        <a:pt x="430" y="349"/>
                      </a:lnTo>
                      <a:lnTo>
                        <a:pt x="430" y="349"/>
                      </a:lnTo>
                      <a:lnTo>
                        <a:pt x="430" y="350"/>
                      </a:lnTo>
                      <a:lnTo>
                        <a:pt x="430" y="350"/>
                      </a:lnTo>
                      <a:lnTo>
                        <a:pt x="430" y="352"/>
                      </a:lnTo>
                      <a:lnTo>
                        <a:pt x="429" y="352"/>
                      </a:lnTo>
                      <a:lnTo>
                        <a:pt x="429" y="352"/>
                      </a:lnTo>
                      <a:lnTo>
                        <a:pt x="428" y="352"/>
                      </a:lnTo>
                      <a:lnTo>
                        <a:pt x="428" y="352"/>
                      </a:lnTo>
                      <a:lnTo>
                        <a:pt x="426" y="352"/>
                      </a:lnTo>
                      <a:lnTo>
                        <a:pt x="425" y="352"/>
                      </a:lnTo>
                      <a:lnTo>
                        <a:pt x="425" y="352"/>
                      </a:lnTo>
                      <a:lnTo>
                        <a:pt x="425" y="353"/>
                      </a:lnTo>
                      <a:lnTo>
                        <a:pt x="423" y="353"/>
                      </a:lnTo>
                      <a:lnTo>
                        <a:pt x="422" y="363"/>
                      </a:lnTo>
                      <a:lnTo>
                        <a:pt x="421" y="373"/>
                      </a:lnTo>
                      <a:lnTo>
                        <a:pt x="416" y="380"/>
                      </a:lnTo>
                      <a:lnTo>
                        <a:pt x="404" y="381"/>
                      </a:lnTo>
                      <a:lnTo>
                        <a:pt x="380" y="381"/>
                      </a:lnTo>
                      <a:lnTo>
                        <a:pt x="373" y="381"/>
                      </a:lnTo>
                      <a:lnTo>
                        <a:pt x="371" y="381"/>
                      </a:lnTo>
                      <a:lnTo>
                        <a:pt x="371" y="380"/>
                      </a:lnTo>
                      <a:lnTo>
                        <a:pt x="373" y="378"/>
                      </a:lnTo>
                      <a:lnTo>
                        <a:pt x="374" y="376"/>
                      </a:lnTo>
                      <a:lnTo>
                        <a:pt x="376" y="373"/>
                      </a:lnTo>
                      <a:lnTo>
                        <a:pt x="376" y="373"/>
                      </a:lnTo>
                      <a:lnTo>
                        <a:pt x="377" y="371"/>
                      </a:lnTo>
                      <a:lnTo>
                        <a:pt x="383" y="366"/>
                      </a:lnTo>
                      <a:lnTo>
                        <a:pt x="384" y="366"/>
                      </a:lnTo>
                      <a:lnTo>
                        <a:pt x="386" y="364"/>
                      </a:lnTo>
                      <a:lnTo>
                        <a:pt x="386" y="364"/>
                      </a:lnTo>
                      <a:lnTo>
                        <a:pt x="388" y="363"/>
                      </a:lnTo>
                      <a:lnTo>
                        <a:pt x="388" y="363"/>
                      </a:lnTo>
                      <a:lnTo>
                        <a:pt x="393" y="359"/>
                      </a:lnTo>
                      <a:lnTo>
                        <a:pt x="393" y="357"/>
                      </a:lnTo>
                      <a:lnTo>
                        <a:pt x="394" y="357"/>
                      </a:lnTo>
                      <a:lnTo>
                        <a:pt x="394" y="356"/>
                      </a:lnTo>
                      <a:lnTo>
                        <a:pt x="394" y="350"/>
                      </a:lnTo>
                      <a:lnTo>
                        <a:pt x="394" y="349"/>
                      </a:lnTo>
                      <a:lnTo>
                        <a:pt x="387" y="339"/>
                      </a:lnTo>
                      <a:lnTo>
                        <a:pt x="387" y="339"/>
                      </a:lnTo>
                      <a:lnTo>
                        <a:pt x="259" y="339"/>
                      </a:lnTo>
                      <a:lnTo>
                        <a:pt x="185" y="339"/>
                      </a:lnTo>
                      <a:lnTo>
                        <a:pt x="80" y="339"/>
                      </a:lnTo>
                      <a:lnTo>
                        <a:pt x="80" y="336"/>
                      </a:lnTo>
                      <a:lnTo>
                        <a:pt x="80" y="298"/>
                      </a:lnTo>
                      <a:lnTo>
                        <a:pt x="80" y="287"/>
                      </a:lnTo>
                      <a:lnTo>
                        <a:pt x="80" y="123"/>
                      </a:lnTo>
                      <a:lnTo>
                        <a:pt x="73" y="119"/>
                      </a:lnTo>
                      <a:lnTo>
                        <a:pt x="71" y="119"/>
                      </a:lnTo>
                      <a:lnTo>
                        <a:pt x="70" y="119"/>
                      </a:lnTo>
                      <a:lnTo>
                        <a:pt x="69" y="118"/>
                      </a:lnTo>
                      <a:lnTo>
                        <a:pt x="66" y="116"/>
                      </a:lnTo>
                      <a:lnTo>
                        <a:pt x="64" y="115"/>
                      </a:lnTo>
                      <a:lnTo>
                        <a:pt x="60" y="109"/>
                      </a:lnTo>
                      <a:lnTo>
                        <a:pt x="60" y="108"/>
                      </a:lnTo>
                      <a:lnTo>
                        <a:pt x="59" y="105"/>
                      </a:lnTo>
                      <a:lnTo>
                        <a:pt x="59" y="105"/>
                      </a:lnTo>
                      <a:lnTo>
                        <a:pt x="57" y="101"/>
                      </a:lnTo>
                      <a:lnTo>
                        <a:pt x="50" y="95"/>
                      </a:lnTo>
                      <a:lnTo>
                        <a:pt x="50" y="95"/>
                      </a:lnTo>
                      <a:lnTo>
                        <a:pt x="46" y="91"/>
                      </a:lnTo>
                      <a:lnTo>
                        <a:pt x="46" y="89"/>
                      </a:lnTo>
                      <a:lnTo>
                        <a:pt x="46" y="88"/>
                      </a:lnTo>
                      <a:lnTo>
                        <a:pt x="45" y="87"/>
                      </a:lnTo>
                      <a:lnTo>
                        <a:pt x="45" y="87"/>
                      </a:lnTo>
                      <a:lnTo>
                        <a:pt x="45" y="87"/>
                      </a:lnTo>
                      <a:lnTo>
                        <a:pt x="55" y="73"/>
                      </a:lnTo>
                      <a:lnTo>
                        <a:pt x="56" y="73"/>
                      </a:lnTo>
                      <a:lnTo>
                        <a:pt x="56" y="73"/>
                      </a:lnTo>
                      <a:lnTo>
                        <a:pt x="56" y="73"/>
                      </a:lnTo>
                      <a:lnTo>
                        <a:pt x="57" y="73"/>
                      </a:lnTo>
                      <a:lnTo>
                        <a:pt x="59" y="73"/>
                      </a:lnTo>
                      <a:lnTo>
                        <a:pt x="59" y="73"/>
                      </a:lnTo>
                      <a:lnTo>
                        <a:pt x="60" y="73"/>
                      </a:lnTo>
                      <a:lnTo>
                        <a:pt x="60" y="73"/>
                      </a:lnTo>
                      <a:lnTo>
                        <a:pt x="60" y="73"/>
                      </a:lnTo>
                      <a:lnTo>
                        <a:pt x="62" y="73"/>
                      </a:lnTo>
                      <a:lnTo>
                        <a:pt x="62" y="73"/>
                      </a:lnTo>
                      <a:lnTo>
                        <a:pt x="62" y="71"/>
                      </a:lnTo>
                      <a:lnTo>
                        <a:pt x="62" y="71"/>
                      </a:lnTo>
                      <a:lnTo>
                        <a:pt x="62" y="71"/>
                      </a:lnTo>
                      <a:lnTo>
                        <a:pt x="62" y="66"/>
                      </a:lnTo>
                      <a:lnTo>
                        <a:pt x="56" y="59"/>
                      </a:lnTo>
                      <a:lnTo>
                        <a:pt x="56" y="59"/>
                      </a:lnTo>
                      <a:lnTo>
                        <a:pt x="56" y="59"/>
                      </a:lnTo>
                      <a:lnTo>
                        <a:pt x="52" y="59"/>
                      </a:lnTo>
                      <a:lnTo>
                        <a:pt x="52" y="59"/>
                      </a:lnTo>
                      <a:lnTo>
                        <a:pt x="52" y="59"/>
                      </a:lnTo>
                      <a:lnTo>
                        <a:pt x="50" y="60"/>
                      </a:lnTo>
                      <a:lnTo>
                        <a:pt x="50" y="60"/>
                      </a:lnTo>
                      <a:lnTo>
                        <a:pt x="50" y="61"/>
                      </a:lnTo>
                      <a:lnTo>
                        <a:pt x="50" y="61"/>
                      </a:lnTo>
                      <a:lnTo>
                        <a:pt x="50" y="61"/>
                      </a:lnTo>
                      <a:lnTo>
                        <a:pt x="49" y="61"/>
                      </a:lnTo>
                      <a:lnTo>
                        <a:pt x="48" y="61"/>
                      </a:lnTo>
                      <a:lnTo>
                        <a:pt x="48" y="61"/>
                      </a:lnTo>
                      <a:lnTo>
                        <a:pt x="46" y="61"/>
                      </a:lnTo>
                      <a:lnTo>
                        <a:pt x="45" y="61"/>
                      </a:lnTo>
                      <a:lnTo>
                        <a:pt x="34" y="53"/>
                      </a:lnTo>
                      <a:lnTo>
                        <a:pt x="32" y="53"/>
                      </a:lnTo>
                      <a:lnTo>
                        <a:pt x="32" y="52"/>
                      </a:lnTo>
                      <a:lnTo>
                        <a:pt x="31" y="50"/>
                      </a:lnTo>
                      <a:lnTo>
                        <a:pt x="31" y="50"/>
                      </a:lnTo>
                      <a:lnTo>
                        <a:pt x="28" y="49"/>
                      </a:lnTo>
                      <a:lnTo>
                        <a:pt x="25" y="43"/>
                      </a:lnTo>
                      <a:lnTo>
                        <a:pt x="20" y="33"/>
                      </a:lnTo>
                      <a:lnTo>
                        <a:pt x="14" y="28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7" y="14"/>
                      </a:lnTo>
                      <a:lnTo>
                        <a:pt x="7" y="14"/>
                      </a:lnTo>
                      <a:lnTo>
                        <a:pt x="6" y="8"/>
                      </a:lnTo>
                      <a:lnTo>
                        <a:pt x="6" y="8"/>
                      </a:lnTo>
                      <a:lnTo>
                        <a:pt x="4" y="7"/>
                      </a:lnTo>
                      <a:lnTo>
                        <a:pt x="3" y="7"/>
                      </a:lnTo>
                      <a:lnTo>
                        <a:pt x="1" y="7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0" y="1"/>
                      </a:lnTo>
                      <a:lnTo>
                        <a:pt x="28" y="1"/>
                      </a:lnTo>
                      <a:lnTo>
                        <a:pt x="31" y="3"/>
                      </a:lnTo>
                      <a:lnTo>
                        <a:pt x="59" y="3"/>
                      </a:lnTo>
                      <a:lnTo>
                        <a:pt x="64" y="3"/>
                      </a:lnTo>
                      <a:lnTo>
                        <a:pt x="85" y="3"/>
                      </a:lnTo>
                      <a:lnTo>
                        <a:pt x="92" y="3"/>
                      </a:lnTo>
                      <a:lnTo>
                        <a:pt x="115" y="3"/>
                      </a:lnTo>
                      <a:lnTo>
                        <a:pt x="137" y="3"/>
                      </a:lnTo>
                      <a:lnTo>
                        <a:pt x="178" y="1"/>
                      </a:lnTo>
                      <a:lnTo>
                        <a:pt x="191" y="1"/>
                      </a:lnTo>
                      <a:lnTo>
                        <a:pt x="217" y="1"/>
                      </a:lnTo>
                      <a:lnTo>
                        <a:pt x="242" y="1"/>
                      </a:lnTo>
                      <a:lnTo>
                        <a:pt x="249" y="0"/>
                      </a:lnTo>
                      <a:lnTo>
                        <a:pt x="255" y="0"/>
                      </a:lnTo>
                      <a:lnTo>
                        <a:pt x="259" y="0"/>
                      </a:lnTo>
                      <a:lnTo>
                        <a:pt x="276" y="0"/>
                      </a:lnTo>
                      <a:lnTo>
                        <a:pt x="280" y="4"/>
                      </a:lnTo>
                      <a:lnTo>
                        <a:pt x="292" y="14"/>
                      </a:lnTo>
                      <a:lnTo>
                        <a:pt x="293" y="15"/>
                      </a:lnTo>
                      <a:lnTo>
                        <a:pt x="293" y="15"/>
                      </a:lnTo>
                      <a:lnTo>
                        <a:pt x="293" y="17"/>
                      </a:lnTo>
                      <a:lnTo>
                        <a:pt x="294" y="17"/>
                      </a:lnTo>
                      <a:lnTo>
                        <a:pt x="294" y="18"/>
                      </a:lnTo>
                      <a:lnTo>
                        <a:pt x="299" y="19"/>
                      </a:lnTo>
                      <a:lnTo>
                        <a:pt x="297" y="19"/>
                      </a:lnTo>
                      <a:lnTo>
                        <a:pt x="297" y="21"/>
                      </a:lnTo>
                      <a:lnTo>
                        <a:pt x="297" y="21"/>
                      </a:lnTo>
                      <a:lnTo>
                        <a:pt x="296" y="22"/>
                      </a:lnTo>
                      <a:lnTo>
                        <a:pt x="296" y="25"/>
                      </a:lnTo>
                      <a:lnTo>
                        <a:pt x="294" y="26"/>
                      </a:lnTo>
                      <a:lnTo>
                        <a:pt x="294" y="28"/>
                      </a:lnTo>
                      <a:lnTo>
                        <a:pt x="294" y="31"/>
                      </a:lnTo>
                      <a:lnTo>
                        <a:pt x="293" y="32"/>
                      </a:lnTo>
                      <a:lnTo>
                        <a:pt x="293" y="33"/>
                      </a:lnTo>
                      <a:lnTo>
                        <a:pt x="293" y="35"/>
                      </a:lnTo>
                      <a:lnTo>
                        <a:pt x="293" y="39"/>
                      </a:lnTo>
                      <a:lnTo>
                        <a:pt x="293" y="40"/>
                      </a:lnTo>
                      <a:lnTo>
                        <a:pt x="294" y="50"/>
                      </a:lnTo>
                      <a:lnTo>
                        <a:pt x="296" y="52"/>
                      </a:lnTo>
                      <a:lnTo>
                        <a:pt x="299" y="57"/>
                      </a:lnTo>
                      <a:lnTo>
                        <a:pt x="301" y="66"/>
                      </a:lnTo>
                      <a:lnTo>
                        <a:pt x="303" y="73"/>
                      </a:lnTo>
                      <a:lnTo>
                        <a:pt x="303" y="73"/>
                      </a:lnTo>
                      <a:lnTo>
                        <a:pt x="303" y="74"/>
                      </a:lnTo>
                      <a:lnTo>
                        <a:pt x="304" y="74"/>
                      </a:lnTo>
                      <a:lnTo>
                        <a:pt x="304" y="75"/>
                      </a:lnTo>
                      <a:lnTo>
                        <a:pt x="306" y="75"/>
                      </a:lnTo>
                      <a:lnTo>
                        <a:pt x="307" y="77"/>
                      </a:lnTo>
                      <a:lnTo>
                        <a:pt x="308" y="77"/>
                      </a:lnTo>
                      <a:lnTo>
                        <a:pt x="311" y="80"/>
                      </a:lnTo>
                      <a:lnTo>
                        <a:pt x="313" y="81"/>
                      </a:lnTo>
                      <a:lnTo>
                        <a:pt x="313" y="81"/>
                      </a:lnTo>
                      <a:lnTo>
                        <a:pt x="320" y="88"/>
                      </a:lnTo>
                      <a:lnTo>
                        <a:pt x="324" y="94"/>
                      </a:lnTo>
                      <a:lnTo>
                        <a:pt x="324" y="94"/>
                      </a:lnTo>
                      <a:lnTo>
                        <a:pt x="325" y="95"/>
                      </a:lnTo>
                      <a:lnTo>
                        <a:pt x="325" y="95"/>
                      </a:lnTo>
                      <a:lnTo>
                        <a:pt x="327" y="96"/>
                      </a:lnTo>
                      <a:lnTo>
                        <a:pt x="331" y="99"/>
                      </a:lnTo>
                      <a:lnTo>
                        <a:pt x="332" y="101"/>
                      </a:lnTo>
                      <a:lnTo>
                        <a:pt x="334" y="101"/>
                      </a:lnTo>
                      <a:lnTo>
                        <a:pt x="335" y="102"/>
                      </a:lnTo>
                      <a:lnTo>
                        <a:pt x="336" y="102"/>
                      </a:lnTo>
                      <a:lnTo>
                        <a:pt x="338" y="103"/>
                      </a:lnTo>
                      <a:lnTo>
                        <a:pt x="343" y="108"/>
                      </a:lnTo>
                      <a:lnTo>
                        <a:pt x="343" y="108"/>
                      </a:lnTo>
                      <a:lnTo>
                        <a:pt x="346" y="112"/>
                      </a:lnTo>
                      <a:lnTo>
                        <a:pt x="346" y="112"/>
                      </a:lnTo>
                      <a:lnTo>
                        <a:pt x="346" y="113"/>
                      </a:lnTo>
                      <a:lnTo>
                        <a:pt x="346" y="113"/>
                      </a:lnTo>
                      <a:lnTo>
                        <a:pt x="348" y="118"/>
                      </a:lnTo>
                      <a:lnTo>
                        <a:pt x="348" y="119"/>
                      </a:lnTo>
                      <a:lnTo>
                        <a:pt x="349" y="123"/>
                      </a:lnTo>
                      <a:lnTo>
                        <a:pt x="349" y="130"/>
                      </a:lnTo>
                      <a:lnTo>
                        <a:pt x="350" y="134"/>
                      </a:lnTo>
                      <a:lnTo>
                        <a:pt x="350" y="134"/>
                      </a:lnTo>
                      <a:lnTo>
                        <a:pt x="350" y="136"/>
                      </a:lnTo>
                      <a:lnTo>
                        <a:pt x="350" y="137"/>
                      </a:lnTo>
                      <a:lnTo>
                        <a:pt x="352" y="137"/>
                      </a:lnTo>
                      <a:lnTo>
                        <a:pt x="353" y="141"/>
                      </a:lnTo>
                      <a:lnTo>
                        <a:pt x="355" y="141"/>
                      </a:lnTo>
                      <a:lnTo>
                        <a:pt x="355" y="143"/>
                      </a:lnTo>
                      <a:lnTo>
                        <a:pt x="356" y="143"/>
                      </a:lnTo>
                      <a:lnTo>
                        <a:pt x="357" y="143"/>
                      </a:lnTo>
                      <a:lnTo>
                        <a:pt x="357" y="143"/>
                      </a:lnTo>
                      <a:lnTo>
                        <a:pt x="359" y="143"/>
                      </a:lnTo>
                      <a:lnTo>
                        <a:pt x="360" y="143"/>
                      </a:lnTo>
                      <a:lnTo>
                        <a:pt x="360" y="143"/>
                      </a:lnTo>
                      <a:lnTo>
                        <a:pt x="360" y="141"/>
                      </a:lnTo>
                      <a:lnTo>
                        <a:pt x="363" y="139"/>
                      </a:lnTo>
                      <a:lnTo>
                        <a:pt x="363" y="137"/>
                      </a:lnTo>
                      <a:lnTo>
                        <a:pt x="364" y="137"/>
                      </a:lnTo>
                      <a:lnTo>
                        <a:pt x="364" y="137"/>
                      </a:lnTo>
                      <a:lnTo>
                        <a:pt x="366" y="136"/>
                      </a:lnTo>
                      <a:lnTo>
                        <a:pt x="366" y="136"/>
                      </a:lnTo>
                      <a:lnTo>
                        <a:pt x="366" y="136"/>
                      </a:lnTo>
                      <a:lnTo>
                        <a:pt x="367" y="136"/>
                      </a:lnTo>
                      <a:lnTo>
                        <a:pt x="370" y="136"/>
                      </a:lnTo>
                      <a:lnTo>
                        <a:pt x="380" y="140"/>
                      </a:lnTo>
                      <a:lnTo>
                        <a:pt x="387" y="144"/>
                      </a:lnTo>
                      <a:lnTo>
                        <a:pt x="388" y="146"/>
                      </a:lnTo>
                      <a:lnTo>
                        <a:pt x="390" y="147"/>
                      </a:lnTo>
                      <a:lnTo>
                        <a:pt x="390" y="147"/>
                      </a:lnTo>
                      <a:lnTo>
                        <a:pt x="390" y="148"/>
                      </a:lnTo>
                      <a:lnTo>
                        <a:pt x="388" y="150"/>
                      </a:lnTo>
                      <a:lnTo>
                        <a:pt x="387" y="151"/>
                      </a:lnTo>
                      <a:lnTo>
                        <a:pt x="387" y="151"/>
                      </a:lnTo>
                      <a:lnTo>
                        <a:pt x="386" y="153"/>
                      </a:lnTo>
                      <a:lnTo>
                        <a:pt x="386" y="154"/>
                      </a:lnTo>
                      <a:lnTo>
                        <a:pt x="384" y="155"/>
                      </a:lnTo>
                      <a:lnTo>
                        <a:pt x="384" y="157"/>
                      </a:lnTo>
                      <a:lnTo>
                        <a:pt x="384" y="157"/>
                      </a:lnTo>
                      <a:lnTo>
                        <a:pt x="384" y="158"/>
                      </a:lnTo>
                      <a:lnTo>
                        <a:pt x="384" y="160"/>
                      </a:lnTo>
                      <a:lnTo>
                        <a:pt x="386" y="161"/>
                      </a:lnTo>
                      <a:lnTo>
                        <a:pt x="386" y="161"/>
                      </a:lnTo>
                      <a:lnTo>
                        <a:pt x="386" y="162"/>
                      </a:lnTo>
                      <a:lnTo>
                        <a:pt x="386" y="162"/>
                      </a:lnTo>
                      <a:lnTo>
                        <a:pt x="386" y="164"/>
                      </a:lnTo>
                      <a:lnTo>
                        <a:pt x="378" y="175"/>
                      </a:lnTo>
                      <a:lnTo>
                        <a:pt x="374" y="183"/>
                      </a:lnTo>
                      <a:lnTo>
                        <a:pt x="374" y="183"/>
                      </a:lnTo>
                      <a:lnTo>
                        <a:pt x="373" y="185"/>
                      </a:lnTo>
                      <a:lnTo>
                        <a:pt x="371" y="188"/>
                      </a:lnTo>
                      <a:lnTo>
                        <a:pt x="371" y="189"/>
                      </a:lnTo>
                      <a:lnTo>
                        <a:pt x="371" y="190"/>
                      </a:lnTo>
                      <a:lnTo>
                        <a:pt x="371" y="192"/>
                      </a:lnTo>
                      <a:lnTo>
                        <a:pt x="371" y="195"/>
                      </a:lnTo>
                      <a:lnTo>
                        <a:pt x="373" y="196"/>
                      </a:lnTo>
                      <a:lnTo>
                        <a:pt x="373" y="197"/>
                      </a:lnTo>
                      <a:lnTo>
                        <a:pt x="374" y="197"/>
                      </a:lnTo>
                      <a:lnTo>
                        <a:pt x="376" y="200"/>
                      </a:lnTo>
                      <a:lnTo>
                        <a:pt x="381" y="204"/>
                      </a:lnTo>
                      <a:lnTo>
                        <a:pt x="390" y="213"/>
                      </a:lnTo>
                      <a:lnTo>
                        <a:pt x="400" y="223"/>
                      </a:lnTo>
                      <a:lnTo>
                        <a:pt x="407" y="224"/>
                      </a:lnTo>
                      <a:lnTo>
                        <a:pt x="407" y="224"/>
                      </a:lnTo>
                      <a:lnTo>
                        <a:pt x="408" y="224"/>
                      </a:lnTo>
                      <a:lnTo>
                        <a:pt x="408" y="224"/>
                      </a:lnTo>
                      <a:lnTo>
                        <a:pt x="416" y="228"/>
                      </a:lnTo>
                      <a:lnTo>
                        <a:pt x="418" y="230"/>
                      </a:lnTo>
                      <a:lnTo>
                        <a:pt x="419" y="232"/>
                      </a:lnTo>
                      <a:lnTo>
                        <a:pt x="419" y="232"/>
                      </a:lnTo>
                      <a:lnTo>
                        <a:pt x="419" y="232"/>
                      </a:lnTo>
                      <a:lnTo>
                        <a:pt x="421" y="234"/>
                      </a:lnTo>
                      <a:lnTo>
                        <a:pt x="421" y="235"/>
                      </a:lnTo>
                      <a:lnTo>
                        <a:pt x="421" y="235"/>
                      </a:lnTo>
                      <a:lnTo>
                        <a:pt x="421" y="237"/>
                      </a:lnTo>
                      <a:lnTo>
                        <a:pt x="422" y="237"/>
                      </a:lnTo>
                      <a:lnTo>
                        <a:pt x="423" y="238"/>
                      </a:lnTo>
                      <a:lnTo>
                        <a:pt x="425" y="240"/>
                      </a:lnTo>
                      <a:lnTo>
                        <a:pt x="428" y="240"/>
                      </a:lnTo>
                      <a:lnTo>
                        <a:pt x="429" y="241"/>
                      </a:lnTo>
                      <a:lnTo>
                        <a:pt x="430" y="241"/>
                      </a:lnTo>
                      <a:lnTo>
                        <a:pt x="430" y="242"/>
                      </a:lnTo>
                      <a:lnTo>
                        <a:pt x="430" y="242"/>
                      </a:lnTo>
                      <a:lnTo>
                        <a:pt x="432" y="247"/>
                      </a:lnTo>
                      <a:lnTo>
                        <a:pt x="432" y="247"/>
                      </a:lnTo>
                      <a:lnTo>
                        <a:pt x="430" y="249"/>
                      </a:lnTo>
                      <a:lnTo>
                        <a:pt x="430" y="249"/>
                      </a:lnTo>
                      <a:lnTo>
                        <a:pt x="430" y="251"/>
                      </a:lnTo>
                      <a:lnTo>
                        <a:pt x="430" y="252"/>
                      </a:lnTo>
                      <a:lnTo>
                        <a:pt x="432" y="254"/>
                      </a:lnTo>
                      <a:lnTo>
                        <a:pt x="432" y="256"/>
                      </a:lnTo>
                      <a:lnTo>
                        <a:pt x="433" y="258"/>
                      </a:lnTo>
                      <a:lnTo>
                        <a:pt x="435" y="259"/>
                      </a:lnTo>
                      <a:lnTo>
                        <a:pt x="435" y="261"/>
                      </a:lnTo>
                      <a:lnTo>
                        <a:pt x="436" y="262"/>
                      </a:lnTo>
                      <a:lnTo>
                        <a:pt x="436" y="262"/>
                      </a:lnTo>
                      <a:lnTo>
                        <a:pt x="436" y="263"/>
                      </a:lnTo>
                      <a:lnTo>
                        <a:pt x="436" y="263"/>
                      </a:lnTo>
                      <a:lnTo>
                        <a:pt x="436" y="266"/>
                      </a:lnTo>
                      <a:lnTo>
                        <a:pt x="436" y="268"/>
                      </a:lnTo>
                      <a:lnTo>
                        <a:pt x="436" y="269"/>
                      </a:lnTo>
                      <a:lnTo>
                        <a:pt x="435" y="269"/>
                      </a:lnTo>
                      <a:lnTo>
                        <a:pt x="435" y="270"/>
                      </a:lnTo>
                      <a:lnTo>
                        <a:pt x="435" y="270"/>
                      </a:lnTo>
                      <a:lnTo>
                        <a:pt x="435" y="270"/>
                      </a:lnTo>
                      <a:lnTo>
                        <a:pt x="433" y="270"/>
                      </a:lnTo>
                      <a:lnTo>
                        <a:pt x="432" y="272"/>
                      </a:lnTo>
                      <a:lnTo>
                        <a:pt x="432" y="272"/>
                      </a:lnTo>
                      <a:lnTo>
                        <a:pt x="432" y="272"/>
                      </a:lnTo>
                      <a:lnTo>
                        <a:pt x="432" y="275"/>
                      </a:lnTo>
                      <a:lnTo>
                        <a:pt x="430" y="275"/>
                      </a:lnTo>
                      <a:lnTo>
                        <a:pt x="432" y="276"/>
                      </a:lnTo>
                      <a:lnTo>
                        <a:pt x="435" y="280"/>
                      </a:lnTo>
                      <a:lnTo>
                        <a:pt x="437" y="286"/>
                      </a:lnTo>
                      <a:lnTo>
                        <a:pt x="440" y="293"/>
                      </a:lnTo>
                      <a:lnTo>
                        <a:pt x="440" y="294"/>
                      </a:lnTo>
                      <a:lnTo>
                        <a:pt x="440" y="294"/>
                      </a:lnTo>
                      <a:lnTo>
                        <a:pt x="440" y="294"/>
                      </a:lnTo>
                      <a:lnTo>
                        <a:pt x="442" y="296"/>
                      </a:lnTo>
                      <a:lnTo>
                        <a:pt x="447" y="298"/>
                      </a:lnTo>
                      <a:lnTo>
                        <a:pt x="447" y="298"/>
                      </a:lnTo>
                      <a:lnTo>
                        <a:pt x="456" y="300"/>
                      </a:lnTo>
                      <a:lnTo>
                        <a:pt x="456" y="300"/>
                      </a:lnTo>
                      <a:lnTo>
                        <a:pt x="458" y="300"/>
                      </a:lnTo>
                      <a:lnTo>
                        <a:pt x="458" y="30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  <p:sp>
              <p:nvSpPr>
                <p:cNvPr id="116" name="Freeform 115"/>
                <p:cNvSpPr>
                  <a:spLocks/>
                </p:cNvSpPr>
                <p:nvPr/>
              </p:nvSpPr>
              <p:spPr bwMode="auto">
                <a:xfrm>
                  <a:off x="1790700" y="2113756"/>
                  <a:ext cx="1123950" cy="1238250"/>
                </a:xfrm>
                <a:custGeom>
                  <a:avLst/>
                  <a:gdLst>
                    <a:gd name="connsiteX0" fmla="*/ 631825 w 1123950"/>
                    <a:gd name="connsiteY0" fmla="*/ 1171575 h 1238250"/>
                    <a:gd name="connsiteX1" fmla="*/ 633413 w 1123950"/>
                    <a:gd name="connsiteY1" fmla="*/ 1171575 h 1238250"/>
                    <a:gd name="connsiteX2" fmla="*/ 636588 w 1123950"/>
                    <a:gd name="connsiteY2" fmla="*/ 1171575 h 1238250"/>
                    <a:gd name="connsiteX3" fmla="*/ 638175 w 1123950"/>
                    <a:gd name="connsiteY3" fmla="*/ 1171575 h 1238250"/>
                    <a:gd name="connsiteX4" fmla="*/ 639763 w 1123950"/>
                    <a:gd name="connsiteY4" fmla="*/ 1177925 h 1238250"/>
                    <a:gd name="connsiteX5" fmla="*/ 639763 w 1123950"/>
                    <a:gd name="connsiteY5" fmla="*/ 1179513 h 1238250"/>
                    <a:gd name="connsiteX6" fmla="*/ 642938 w 1123950"/>
                    <a:gd name="connsiteY6" fmla="*/ 1182688 h 1238250"/>
                    <a:gd name="connsiteX7" fmla="*/ 644525 w 1123950"/>
                    <a:gd name="connsiteY7" fmla="*/ 1187450 h 1238250"/>
                    <a:gd name="connsiteX8" fmla="*/ 650875 w 1123950"/>
                    <a:gd name="connsiteY8" fmla="*/ 1193800 h 1238250"/>
                    <a:gd name="connsiteX9" fmla="*/ 658813 w 1123950"/>
                    <a:gd name="connsiteY9" fmla="*/ 1198563 h 1238250"/>
                    <a:gd name="connsiteX10" fmla="*/ 658813 w 1123950"/>
                    <a:gd name="connsiteY10" fmla="*/ 1200151 h 1238250"/>
                    <a:gd name="connsiteX11" fmla="*/ 654051 w 1123950"/>
                    <a:gd name="connsiteY11" fmla="*/ 1201738 h 1238250"/>
                    <a:gd name="connsiteX12" fmla="*/ 650875 w 1123950"/>
                    <a:gd name="connsiteY12" fmla="*/ 1201738 h 1238250"/>
                    <a:gd name="connsiteX13" fmla="*/ 644525 w 1123950"/>
                    <a:gd name="connsiteY13" fmla="*/ 1198563 h 1238250"/>
                    <a:gd name="connsiteX14" fmla="*/ 644525 w 1123950"/>
                    <a:gd name="connsiteY14" fmla="*/ 1195388 h 1238250"/>
                    <a:gd name="connsiteX15" fmla="*/ 642938 w 1123950"/>
                    <a:gd name="connsiteY15" fmla="*/ 1195388 h 1238250"/>
                    <a:gd name="connsiteX16" fmla="*/ 638175 w 1123950"/>
                    <a:gd name="connsiteY16" fmla="*/ 1187450 h 1238250"/>
                    <a:gd name="connsiteX17" fmla="*/ 636588 w 1123950"/>
                    <a:gd name="connsiteY17" fmla="*/ 1179513 h 1238250"/>
                    <a:gd name="connsiteX18" fmla="*/ 633413 w 1123950"/>
                    <a:gd name="connsiteY18" fmla="*/ 1173163 h 1238250"/>
                    <a:gd name="connsiteX19" fmla="*/ 631825 w 1123950"/>
                    <a:gd name="connsiteY19" fmla="*/ 1173163 h 1238250"/>
                    <a:gd name="connsiteX20" fmla="*/ 527050 w 1123950"/>
                    <a:gd name="connsiteY20" fmla="*/ 1139825 h 1238250"/>
                    <a:gd name="connsiteX21" fmla="*/ 531812 w 1123950"/>
                    <a:gd name="connsiteY21" fmla="*/ 1139825 h 1238250"/>
                    <a:gd name="connsiteX22" fmla="*/ 533400 w 1123950"/>
                    <a:gd name="connsiteY22" fmla="*/ 1139825 h 1238250"/>
                    <a:gd name="connsiteX23" fmla="*/ 533400 w 1123950"/>
                    <a:gd name="connsiteY23" fmla="*/ 1141412 h 1238250"/>
                    <a:gd name="connsiteX24" fmla="*/ 536575 w 1123950"/>
                    <a:gd name="connsiteY24" fmla="*/ 1141412 h 1238250"/>
                    <a:gd name="connsiteX25" fmla="*/ 538162 w 1123950"/>
                    <a:gd name="connsiteY25" fmla="*/ 1144587 h 1238250"/>
                    <a:gd name="connsiteX26" fmla="*/ 539750 w 1123950"/>
                    <a:gd name="connsiteY26" fmla="*/ 1144587 h 1238250"/>
                    <a:gd name="connsiteX27" fmla="*/ 539750 w 1123950"/>
                    <a:gd name="connsiteY27" fmla="*/ 1146175 h 1238250"/>
                    <a:gd name="connsiteX28" fmla="*/ 542925 w 1123950"/>
                    <a:gd name="connsiteY28" fmla="*/ 1146175 h 1238250"/>
                    <a:gd name="connsiteX29" fmla="*/ 542925 w 1123950"/>
                    <a:gd name="connsiteY29" fmla="*/ 1149350 h 1238250"/>
                    <a:gd name="connsiteX30" fmla="*/ 539750 w 1123950"/>
                    <a:gd name="connsiteY30" fmla="*/ 1149350 h 1238250"/>
                    <a:gd name="connsiteX31" fmla="*/ 538162 w 1123950"/>
                    <a:gd name="connsiteY31" fmla="*/ 1149350 h 1238250"/>
                    <a:gd name="connsiteX32" fmla="*/ 536575 w 1123950"/>
                    <a:gd name="connsiteY32" fmla="*/ 1149350 h 1238250"/>
                    <a:gd name="connsiteX33" fmla="*/ 533400 w 1123950"/>
                    <a:gd name="connsiteY33" fmla="*/ 1149350 h 1238250"/>
                    <a:gd name="connsiteX34" fmla="*/ 531812 w 1123950"/>
                    <a:gd name="connsiteY34" fmla="*/ 1149350 h 1238250"/>
                    <a:gd name="connsiteX35" fmla="*/ 528637 w 1123950"/>
                    <a:gd name="connsiteY35" fmla="*/ 1146175 h 1238250"/>
                    <a:gd name="connsiteX36" fmla="*/ 527050 w 1123950"/>
                    <a:gd name="connsiteY36" fmla="*/ 1141412 h 1238250"/>
                    <a:gd name="connsiteX37" fmla="*/ 633412 w 1123950"/>
                    <a:gd name="connsiteY37" fmla="*/ 1112838 h 1238250"/>
                    <a:gd name="connsiteX38" fmla="*/ 638175 w 1123950"/>
                    <a:gd name="connsiteY38" fmla="*/ 1112838 h 1238250"/>
                    <a:gd name="connsiteX39" fmla="*/ 639762 w 1123950"/>
                    <a:gd name="connsiteY39" fmla="*/ 1112838 h 1238250"/>
                    <a:gd name="connsiteX40" fmla="*/ 639762 w 1123950"/>
                    <a:gd name="connsiteY40" fmla="*/ 1116013 h 1238250"/>
                    <a:gd name="connsiteX41" fmla="*/ 649287 w 1123950"/>
                    <a:gd name="connsiteY41" fmla="*/ 1119188 h 1238250"/>
                    <a:gd name="connsiteX42" fmla="*/ 654050 w 1123950"/>
                    <a:gd name="connsiteY42" fmla="*/ 1122363 h 1238250"/>
                    <a:gd name="connsiteX43" fmla="*/ 660400 w 1123950"/>
                    <a:gd name="connsiteY43" fmla="*/ 1127125 h 1238250"/>
                    <a:gd name="connsiteX44" fmla="*/ 665162 w 1123950"/>
                    <a:gd name="connsiteY44" fmla="*/ 1133475 h 1238250"/>
                    <a:gd name="connsiteX45" fmla="*/ 665162 w 1123950"/>
                    <a:gd name="connsiteY45" fmla="*/ 1135063 h 1238250"/>
                    <a:gd name="connsiteX46" fmla="*/ 665162 w 1123950"/>
                    <a:gd name="connsiteY46" fmla="*/ 1138238 h 1238250"/>
                    <a:gd name="connsiteX47" fmla="*/ 649287 w 1123950"/>
                    <a:gd name="connsiteY47" fmla="*/ 1135063 h 1238250"/>
                    <a:gd name="connsiteX48" fmla="*/ 647700 w 1123950"/>
                    <a:gd name="connsiteY48" fmla="*/ 1135063 h 1238250"/>
                    <a:gd name="connsiteX49" fmla="*/ 633412 w 1123950"/>
                    <a:gd name="connsiteY49" fmla="*/ 1116013 h 1238250"/>
                    <a:gd name="connsiteX50" fmla="*/ 473075 w 1123950"/>
                    <a:gd name="connsiteY50" fmla="*/ 1041400 h 1238250"/>
                    <a:gd name="connsiteX51" fmla="*/ 476250 w 1123950"/>
                    <a:gd name="connsiteY51" fmla="*/ 1044575 h 1238250"/>
                    <a:gd name="connsiteX52" fmla="*/ 477837 w 1123950"/>
                    <a:gd name="connsiteY52" fmla="*/ 1049337 h 1238250"/>
                    <a:gd name="connsiteX53" fmla="*/ 482600 w 1123950"/>
                    <a:gd name="connsiteY53" fmla="*/ 1046162 h 1238250"/>
                    <a:gd name="connsiteX54" fmla="*/ 482600 w 1123950"/>
                    <a:gd name="connsiteY54" fmla="*/ 1049337 h 1238250"/>
                    <a:gd name="connsiteX55" fmla="*/ 482600 w 1123950"/>
                    <a:gd name="connsiteY55" fmla="*/ 1050925 h 1238250"/>
                    <a:gd name="connsiteX56" fmla="*/ 482600 w 1123950"/>
                    <a:gd name="connsiteY56" fmla="*/ 1052512 h 1238250"/>
                    <a:gd name="connsiteX57" fmla="*/ 476250 w 1123950"/>
                    <a:gd name="connsiteY57" fmla="*/ 1057275 h 1238250"/>
                    <a:gd name="connsiteX58" fmla="*/ 473075 w 1123950"/>
                    <a:gd name="connsiteY58" fmla="*/ 1057275 h 1238250"/>
                    <a:gd name="connsiteX59" fmla="*/ 466725 w 1123950"/>
                    <a:gd name="connsiteY59" fmla="*/ 1060450 h 1238250"/>
                    <a:gd name="connsiteX60" fmla="*/ 465137 w 1123950"/>
                    <a:gd name="connsiteY60" fmla="*/ 1060450 h 1238250"/>
                    <a:gd name="connsiteX61" fmla="*/ 461962 w 1123950"/>
                    <a:gd name="connsiteY61" fmla="*/ 1057275 h 1238250"/>
                    <a:gd name="connsiteX62" fmla="*/ 460375 w 1123950"/>
                    <a:gd name="connsiteY62" fmla="*/ 1055687 h 1238250"/>
                    <a:gd name="connsiteX63" fmla="*/ 457200 w 1123950"/>
                    <a:gd name="connsiteY63" fmla="*/ 1052512 h 1238250"/>
                    <a:gd name="connsiteX64" fmla="*/ 454025 w 1123950"/>
                    <a:gd name="connsiteY64" fmla="*/ 1046162 h 1238250"/>
                    <a:gd name="connsiteX65" fmla="*/ 457200 w 1123950"/>
                    <a:gd name="connsiteY65" fmla="*/ 1044575 h 1238250"/>
                    <a:gd name="connsiteX66" fmla="*/ 465137 w 1123950"/>
                    <a:gd name="connsiteY66" fmla="*/ 1044575 h 1238250"/>
                    <a:gd name="connsiteX67" fmla="*/ 438150 w 1123950"/>
                    <a:gd name="connsiteY67" fmla="*/ 1038225 h 1238250"/>
                    <a:gd name="connsiteX68" fmla="*/ 442913 w 1123950"/>
                    <a:gd name="connsiteY68" fmla="*/ 1039812 h 1238250"/>
                    <a:gd name="connsiteX69" fmla="*/ 444500 w 1123950"/>
                    <a:gd name="connsiteY69" fmla="*/ 1039812 h 1238250"/>
                    <a:gd name="connsiteX70" fmla="*/ 446088 w 1123950"/>
                    <a:gd name="connsiteY70" fmla="*/ 1039812 h 1238250"/>
                    <a:gd name="connsiteX71" fmla="*/ 446088 w 1123950"/>
                    <a:gd name="connsiteY71" fmla="*/ 1041400 h 1238250"/>
                    <a:gd name="connsiteX72" fmla="*/ 438150 w 1123950"/>
                    <a:gd name="connsiteY72" fmla="*/ 1044575 h 1238250"/>
                    <a:gd name="connsiteX73" fmla="*/ 433387 w 1123950"/>
                    <a:gd name="connsiteY73" fmla="*/ 1041400 h 1238250"/>
                    <a:gd name="connsiteX74" fmla="*/ 431800 w 1123950"/>
                    <a:gd name="connsiteY74" fmla="*/ 1041400 h 1238250"/>
                    <a:gd name="connsiteX75" fmla="*/ 431800 w 1123950"/>
                    <a:gd name="connsiteY75" fmla="*/ 1039812 h 1238250"/>
                    <a:gd name="connsiteX76" fmla="*/ 433387 w 1123950"/>
                    <a:gd name="connsiteY76" fmla="*/ 1039812 h 1238250"/>
                    <a:gd name="connsiteX77" fmla="*/ 434975 w 1123950"/>
                    <a:gd name="connsiteY77" fmla="*/ 1039812 h 1238250"/>
                    <a:gd name="connsiteX78" fmla="*/ 487362 w 1123950"/>
                    <a:gd name="connsiteY78" fmla="*/ 1035050 h 1238250"/>
                    <a:gd name="connsiteX79" fmla="*/ 488949 w 1123950"/>
                    <a:gd name="connsiteY79" fmla="*/ 1035050 h 1238250"/>
                    <a:gd name="connsiteX80" fmla="*/ 493712 w 1123950"/>
                    <a:gd name="connsiteY80" fmla="*/ 1035050 h 1238250"/>
                    <a:gd name="connsiteX81" fmla="*/ 511174 w 1123950"/>
                    <a:gd name="connsiteY81" fmla="*/ 1039812 h 1238250"/>
                    <a:gd name="connsiteX82" fmla="*/ 522287 w 1123950"/>
                    <a:gd name="connsiteY82" fmla="*/ 1039812 h 1238250"/>
                    <a:gd name="connsiteX83" fmla="*/ 527049 w 1123950"/>
                    <a:gd name="connsiteY83" fmla="*/ 1038225 h 1238250"/>
                    <a:gd name="connsiteX84" fmla="*/ 531812 w 1123950"/>
                    <a:gd name="connsiteY84" fmla="*/ 1039812 h 1238250"/>
                    <a:gd name="connsiteX85" fmla="*/ 531812 w 1123950"/>
                    <a:gd name="connsiteY85" fmla="*/ 1041400 h 1238250"/>
                    <a:gd name="connsiteX86" fmla="*/ 531812 w 1123950"/>
                    <a:gd name="connsiteY86" fmla="*/ 1044575 h 1238250"/>
                    <a:gd name="connsiteX87" fmla="*/ 528637 w 1123950"/>
                    <a:gd name="connsiteY87" fmla="*/ 1044575 h 1238250"/>
                    <a:gd name="connsiteX88" fmla="*/ 522287 w 1123950"/>
                    <a:gd name="connsiteY88" fmla="*/ 1046162 h 1238250"/>
                    <a:gd name="connsiteX89" fmla="*/ 511174 w 1123950"/>
                    <a:gd name="connsiteY89" fmla="*/ 1050925 h 1238250"/>
                    <a:gd name="connsiteX90" fmla="*/ 509587 w 1123950"/>
                    <a:gd name="connsiteY90" fmla="*/ 1050925 h 1238250"/>
                    <a:gd name="connsiteX91" fmla="*/ 503237 w 1123950"/>
                    <a:gd name="connsiteY91" fmla="*/ 1050925 h 1238250"/>
                    <a:gd name="connsiteX92" fmla="*/ 495299 w 1123950"/>
                    <a:gd name="connsiteY92" fmla="*/ 1050925 h 1238250"/>
                    <a:gd name="connsiteX93" fmla="*/ 493712 w 1123950"/>
                    <a:gd name="connsiteY93" fmla="*/ 1049337 h 1238250"/>
                    <a:gd name="connsiteX94" fmla="*/ 487362 w 1123950"/>
                    <a:gd name="connsiteY94" fmla="*/ 1038225 h 1238250"/>
                    <a:gd name="connsiteX95" fmla="*/ 279400 w 1123950"/>
                    <a:gd name="connsiteY95" fmla="*/ 514350 h 1238250"/>
                    <a:gd name="connsiteX96" fmla="*/ 282575 w 1123950"/>
                    <a:gd name="connsiteY96" fmla="*/ 514350 h 1238250"/>
                    <a:gd name="connsiteX97" fmla="*/ 282575 w 1123950"/>
                    <a:gd name="connsiteY97" fmla="*/ 515938 h 1238250"/>
                    <a:gd name="connsiteX98" fmla="*/ 279400 w 1123950"/>
                    <a:gd name="connsiteY98" fmla="*/ 515938 h 1238250"/>
                    <a:gd name="connsiteX99" fmla="*/ 257175 w 1123950"/>
                    <a:gd name="connsiteY99" fmla="*/ 509588 h 1238250"/>
                    <a:gd name="connsiteX100" fmla="*/ 260350 w 1123950"/>
                    <a:gd name="connsiteY100" fmla="*/ 509588 h 1238250"/>
                    <a:gd name="connsiteX101" fmla="*/ 261938 w 1123950"/>
                    <a:gd name="connsiteY101" fmla="*/ 512763 h 1238250"/>
                    <a:gd name="connsiteX102" fmla="*/ 260350 w 1123950"/>
                    <a:gd name="connsiteY102" fmla="*/ 512763 h 1238250"/>
                    <a:gd name="connsiteX103" fmla="*/ 19050 w 1123950"/>
                    <a:gd name="connsiteY103" fmla="*/ 0 h 1238250"/>
                    <a:gd name="connsiteX104" fmla="*/ 46037 w 1123950"/>
                    <a:gd name="connsiteY104" fmla="*/ 0 h 1238250"/>
                    <a:gd name="connsiteX105" fmla="*/ 177800 w 1123950"/>
                    <a:gd name="connsiteY105" fmla="*/ 0 h 1238250"/>
                    <a:gd name="connsiteX106" fmla="*/ 241300 w 1123950"/>
                    <a:gd name="connsiteY106" fmla="*/ 0 h 1238250"/>
                    <a:gd name="connsiteX107" fmla="*/ 334962 w 1123950"/>
                    <a:gd name="connsiteY107" fmla="*/ 0 h 1238250"/>
                    <a:gd name="connsiteX108" fmla="*/ 444500 w 1123950"/>
                    <a:gd name="connsiteY108" fmla="*/ 0 h 1238250"/>
                    <a:gd name="connsiteX109" fmla="*/ 476250 w 1123950"/>
                    <a:gd name="connsiteY109" fmla="*/ 0 h 1238250"/>
                    <a:gd name="connsiteX110" fmla="*/ 477837 w 1123950"/>
                    <a:gd name="connsiteY110" fmla="*/ 0 h 1238250"/>
                    <a:gd name="connsiteX111" fmla="*/ 477837 w 1123950"/>
                    <a:gd name="connsiteY111" fmla="*/ 392112 h 1238250"/>
                    <a:gd name="connsiteX112" fmla="*/ 498475 w 1123950"/>
                    <a:gd name="connsiteY112" fmla="*/ 407987 h 1238250"/>
                    <a:gd name="connsiteX113" fmla="*/ 531812 w 1123950"/>
                    <a:gd name="connsiteY113" fmla="*/ 434975 h 1238250"/>
                    <a:gd name="connsiteX114" fmla="*/ 587375 w 1123950"/>
                    <a:gd name="connsiteY114" fmla="*/ 481012 h 1238250"/>
                    <a:gd name="connsiteX115" fmla="*/ 600075 w 1123950"/>
                    <a:gd name="connsiteY115" fmla="*/ 493712 h 1238250"/>
                    <a:gd name="connsiteX116" fmla="*/ 655638 w 1123950"/>
                    <a:gd name="connsiteY116" fmla="*/ 541337 h 1238250"/>
                    <a:gd name="connsiteX117" fmla="*/ 674688 w 1123950"/>
                    <a:gd name="connsiteY117" fmla="*/ 557212 h 1238250"/>
                    <a:gd name="connsiteX118" fmla="*/ 709613 w 1123950"/>
                    <a:gd name="connsiteY118" fmla="*/ 585787 h 1238250"/>
                    <a:gd name="connsiteX119" fmla="*/ 725488 w 1123950"/>
                    <a:gd name="connsiteY119" fmla="*/ 601662 h 1238250"/>
                    <a:gd name="connsiteX120" fmla="*/ 744538 w 1123950"/>
                    <a:gd name="connsiteY120" fmla="*/ 617537 h 1238250"/>
                    <a:gd name="connsiteX121" fmla="*/ 760413 w 1123950"/>
                    <a:gd name="connsiteY121" fmla="*/ 631825 h 1238250"/>
                    <a:gd name="connsiteX122" fmla="*/ 777875 w 1123950"/>
                    <a:gd name="connsiteY122" fmla="*/ 647700 h 1238250"/>
                    <a:gd name="connsiteX123" fmla="*/ 796925 w 1123950"/>
                    <a:gd name="connsiteY123" fmla="*/ 663575 h 1238250"/>
                    <a:gd name="connsiteX124" fmla="*/ 814388 w 1123950"/>
                    <a:gd name="connsiteY124" fmla="*/ 679450 h 1238250"/>
                    <a:gd name="connsiteX125" fmla="*/ 830263 w 1123950"/>
                    <a:gd name="connsiteY125" fmla="*/ 692150 h 1238250"/>
                    <a:gd name="connsiteX126" fmla="*/ 844550 w 1123950"/>
                    <a:gd name="connsiteY126" fmla="*/ 708025 h 1238250"/>
                    <a:gd name="connsiteX127" fmla="*/ 863600 w 1123950"/>
                    <a:gd name="connsiteY127" fmla="*/ 723900 h 1238250"/>
                    <a:gd name="connsiteX128" fmla="*/ 893763 w 1123950"/>
                    <a:gd name="connsiteY128" fmla="*/ 752475 h 1238250"/>
                    <a:gd name="connsiteX129" fmla="*/ 914400 w 1123950"/>
                    <a:gd name="connsiteY129" fmla="*/ 769937 h 1238250"/>
                    <a:gd name="connsiteX130" fmla="*/ 931863 w 1123950"/>
                    <a:gd name="connsiteY130" fmla="*/ 788987 h 1238250"/>
                    <a:gd name="connsiteX131" fmla="*/ 942975 w 1123950"/>
                    <a:gd name="connsiteY131" fmla="*/ 800100 h 1238250"/>
                    <a:gd name="connsiteX132" fmla="*/ 965200 w 1123950"/>
                    <a:gd name="connsiteY132" fmla="*/ 819150 h 1238250"/>
                    <a:gd name="connsiteX133" fmla="*/ 998538 w 1123950"/>
                    <a:gd name="connsiteY133" fmla="*/ 850900 h 1238250"/>
                    <a:gd name="connsiteX134" fmla="*/ 1012825 w 1123950"/>
                    <a:gd name="connsiteY134" fmla="*/ 863600 h 1238250"/>
                    <a:gd name="connsiteX135" fmla="*/ 1027113 w 1123950"/>
                    <a:gd name="connsiteY135" fmla="*/ 877887 h 1238250"/>
                    <a:gd name="connsiteX136" fmla="*/ 1063625 w 1123950"/>
                    <a:gd name="connsiteY136" fmla="*/ 912812 h 1238250"/>
                    <a:gd name="connsiteX137" fmla="*/ 1068388 w 1123950"/>
                    <a:gd name="connsiteY137" fmla="*/ 917575 h 1238250"/>
                    <a:gd name="connsiteX138" fmla="*/ 1068388 w 1123950"/>
                    <a:gd name="connsiteY138" fmla="*/ 930275 h 1238250"/>
                    <a:gd name="connsiteX139" fmla="*/ 1068388 w 1123950"/>
                    <a:gd name="connsiteY139" fmla="*/ 933450 h 1238250"/>
                    <a:gd name="connsiteX140" fmla="*/ 1074738 w 1123950"/>
                    <a:gd name="connsiteY140" fmla="*/ 939800 h 1238250"/>
                    <a:gd name="connsiteX141" fmla="*/ 1081088 w 1123950"/>
                    <a:gd name="connsiteY141" fmla="*/ 947737 h 1238250"/>
                    <a:gd name="connsiteX142" fmla="*/ 1085850 w 1123950"/>
                    <a:gd name="connsiteY142" fmla="*/ 955675 h 1238250"/>
                    <a:gd name="connsiteX143" fmla="*/ 1090613 w 1123950"/>
                    <a:gd name="connsiteY143" fmla="*/ 963612 h 1238250"/>
                    <a:gd name="connsiteX144" fmla="*/ 1095375 w 1123950"/>
                    <a:gd name="connsiteY144" fmla="*/ 974725 h 1238250"/>
                    <a:gd name="connsiteX145" fmla="*/ 1095375 w 1123950"/>
                    <a:gd name="connsiteY145" fmla="*/ 977900 h 1238250"/>
                    <a:gd name="connsiteX146" fmla="*/ 1095375 w 1123950"/>
                    <a:gd name="connsiteY146" fmla="*/ 979487 h 1238250"/>
                    <a:gd name="connsiteX147" fmla="*/ 1098550 w 1123950"/>
                    <a:gd name="connsiteY147" fmla="*/ 985837 h 1238250"/>
                    <a:gd name="connsiteX148" fmla="*/ 1106488 w 1123950"/>
                    <a:gd name="connsiteY148" fmla="*/ 990600 h 1238250"/>
                    <a:gd name="connsiteX149" fmla="*/ 1108075 w 1123950"/>
                    <a:gd name="connsiteY149" fmla="*/ 993775 h 1238250"/>
                    <a:gd name="connsiteX150" fmla="*/ 1109663 w 1123950"/>
                    <a:gd name="connsiteY150" fmla="*/ 995362 h 1238250"/>
                    <a:gd name="connsiteX151" fmla="*/ 1114425 w 1123950"/>
                    <a:gd name="connsiteY151" fmla="*/ 996950 h 1238250"/>
                    <a:gd name="connsiteX152" fmla="*/ 1117600 w 1123950"/>
                    <a:gd name="connsiteY152" fmla="*/ 1000125 h 1238250"/>
                    <a:gd name="connsiteX153" fmla="*/ 1119188 w 1123950"/>
                    <a:gd name="connsiteY153" fmla="*/ 1000125 h 1238250"/>
                    <a:gd name="connsiteX154" fmla="*/ 1119188 w 1123950"/>
                    <a:gd name="connsiteY154" fmla="*/ 1001712 h 1238250"/>
                    <a:gd name="connsiteX155" fmla="*/ 1120775 w 1123950"/>
                    <a:gd name="connsiteY155" fmla="*/ 1004887 h 1238250"/>
                    <a:gd name="connsiteX156" fmla="*/ 1123950 w 1123950"/>
                    <a:gd name="connsiteY156" fmla="*/ 1006475 h 1238250"/>
                    <a:gd name="connsiteX157" fmla="*/ 1123950 w 1123950"/>
                    <a:gd name="connsiteY157" fmla="*/ 1008062 h 1238250"/>
                    <a:gd name="connsiteX158" fmla="*/ 1123950 w 1123950"/>
                    <a:gd name="connsiteY158" fmla="*/ 1011237 h 1238250"/>
                    <a:gd name="connsiteX159" fmla="*/ 1112838 w 1123950"/>
                    <a:gd name="connsiteY159" fmla="*/ 1019175 h 1238250"/>
                    <a:gd name="connsiteX160" fmla="*/ 1109663 w 1123950"/>
                    <a:gd name="connsiteY160" fmla="*/ 1022350 h 1238250"/>
                    <a:gd name="connsiteX161" fmla="*/ 1101725 w 1123950"/>
                    <a:gd name="connsiteY161" fmla="*/ 1028700 h 1238250"/>
                    <a:gd name="connsiteX162" fmla="*/ 1096963 w 1123950"/>
                    <a:gd name="connsiteY162" fmla="*/ 1030287 h 1238250"/>
                    <a:gd name="connsiteX163" fmla="*/ 1095375 w 1123950"/>
                    <a:gd name="connsiteY163" fmla="*/ 1030287 h 1238250"/>
                    <a:gd name="connsiteX164" fmla="*/ 1092200 w 1123950"/>
                    <a:gd name="connsiteY164" fmla="*/ 1033462 h 1238250"/>
                    <a:gd name="connsiteX165" fmla="*/ 1092200 w 1123950"/>
                    <a:gd name="connsiteY165" fmla="*/ 1035050 h 1238250"/>
                    <a:gd name="connsiteX166" fmla="*/ 1090613 w 1123950"/>
                    <a:gd name="connsiteY166" fmla="*/ 1041400 h 1238250"/>
                    <a:gd name="connsiteX167" fmla="*/ 1090613 w 1123950"/>
                    <a:gd name="connsiteY167" fmla="*/ 1044575 h 1238250"/>
                    <a:gd name="connsiteX168" fmla="*/ 1087438 w 1123950"/>
                    <a:gd name="connsiteY168" fmla="*/ 1046162 h 1238250"/>
                    <a:gd name="connsiteX169" fmla="*/ 1085850 w 1123950"/>
                    <a:gd name="connsiteY169" fmla="*/ 1046162 h 1238250"/>
                    <a:gd name="connsiteX170" fmla="*/ 1084263 w 1123950"/>
                    <a:gd name="connsiteY170" fmla="*/ 1049337 h 1238250"/>
                    <a:gd name="connsiteX171" fmla="*/ 1081088 w 1123950"/>
                    <a:gd name="connsiteY171" fmla="*/ 1050925 h 1238250"/>
                    <a:gd name="connsiteX172" fmla="*/ 1079500 w 1123950"/>
                    <a:gd name="connsiteY172" fmla="*/ 1050925 h 1238250"/>
                    <a:gd name="connsiteX173" fmla="*/ 1079500 w 1123950"/>
                    <a:gd name="connsiteY173" fmla="*/ 1052512 h 1238250"/>
                    <a:gd name="connsiteX174" fmla="*/ 1081088 w 1123950"/>
                    <a:gd name="connsiteY174" fmla="*/ 1063625 h 1238250"/>
                    <a:gd name="connsiteX175" fmla="*/ 1081088 w 1123950"/>
                    <a:gd name="connsiteY175" fmla="*/ 1074737 h 1238250"/>
                    <a:gd name="connsiteX176" fmla="*/ 1084263 w 1123950"/>
                    <a:gd name="connsiteY176" fmla="*/ 1084262 h 1238250"/>
                    <a:gd name="connsiteX177" fmla="*/ 1079500 w 1123950"/>
                    <a:gd name="connsiteY177" fmla="*/ 1104900 h 1238250"/>
                    <a:gd name="connsiteX178" fmla="*/ 1068388 w 1123950"/>
                    <a:gd name="connsiteY178" fmla="*/ 1122362 h 1238250"/>
                    <a:gd name="connsiteX179" fmla="*/ 1065213 w 1123950"/>
                    <a:gd name="connsiteY179" fmla="*/ 1122362 h 1238250"/>
                    <a:gd name="connsiteX180" fmla="*/ 1063625 w 1123950"/>
                    <a:gd name="connsiteY180" fmla="*/ 1122362 h 1238250"/>
                    <a:gd name="connsiteX181" fmla="*/ 1057275 w 1123950"/>
                    <a:gd name="connsiteY181" fmla="*/ 1123950 h 1238250"/>
                    <a:gd name="connsiteX182" fmla="*/ 1057275 w 1123950"/>
                    <a:gd name="connsiteY182" fmla="*/ 1135062 h 1238250"/>
                    <a:gd name="connsiteX183" fmla="*/ 1058863 w 1123950"/>
                    <a:gd name="connsiteY183" fmla="*/ 1139825 h 1238250"/>
                    <a:gd name="connsiteX184" fmla="*/ 1060450 w 1123950"/>
                    <a:gd name="connsiteY184" fmla="*/ 1144587 h 1238250"/>
                    <a:gd name="connsiteX185" fmla="*/ 1063625 w 1123950"/>
                    <a:gd name="connsiteY185" fmla="*/ 1149350 h 1238250"/>
                    <a:gd name="connsiteX186" fmla="*/ 1063625 w 1123950"/>
                    <a:gd name="connsiteY186" fmla="*/ 1150937 h 1238250"/>
                    <a:gd name="connsiteX187" fmla="*/ 1063625 w 1123950"/>
                    <a:gd name="connsiteY187" fmla="*/ 1155700 h 1238250"/>
                    <a:gd name="connsiteX188" fmla="*/ 1060450 w 1123950"/>
                    <a:gd name="connsiteY188" fmla="*/ 1157287 h 1238250"/>
                    <a:gd name="connsiteX189" fmla="*/ 1060450 w 1123950"/>
                    <a:gd name="connsiteY189" fmla="*/ 1160462 h 1238250"/>
                    <a:gd name="connsiteX190" fmla="*/ 1058863 w 1123950"/>
                    <a:gd name="connsiteY190" fmla="*/ 1162050 h 1238250"/>
                    <a:gd name="connsiteX191" fmla="*/ 1058863 w 1123950"/>
                    <a:gd name="connsiteY191" fmla="*/ 1163637 h 1238250"/>
                    <a:gd name="connsiteX192" fmla="*/ 1058863 w 1123950"/>
                    <a:gd name="connsiteY192" fmla="*/ 1166812 h 1238250"/>
                    <a:gd name="connsiteX193" fmla="*/ 1060450 w 1123950"/>
                    <a:gd name="connsiteY193" fmla="*/ 1168400 h 1238250"/>
                    <a:gd name="connsiteX194" fmla="*/ 1063625 w 1123950"/>
                    <a:gd name="connsiteY194" fmla="*/ 1171575 h 1238250"/>
                    <a:gd name="connsiteX195" fmla="*/ 1063625 w 1123950"/>
                    <a:gd name="connsiteY195" fmla="*/ 1173163 h 1238250"/>
                    <a:gd name="connsiteX196" fmla="*/ 1069975 w 1123950"/>
                    <a:gd name="connsiteY196" fmla="*/ 1173163 h 1238250"/>
                    <a:gd name="connsiteX197" fmla="*/ 1071563 w 1123950"/>
                    <a:gd name="connsiteY197" fmla="*/ 1173163 h 1238250"/>
                    <a:gd name="connsiteX198" fmla="*/ 1074738 w 1123950"/>
                    <a:gd name="connsiteY198" fmla="*/ 1173163 h 1238250"/>
                    <a:gd name="connsiteX199" fmla="*/ 1076325 w 1123950"/>
                    <a:gd name="connsiteY199" fmla="*/ 1173163 h 1238250"/>
                    <a:gd name="connsiteX200" fmla="*/ 1079500 w 1123950"/>
                    <a:gd name="connsiteY200" fmla="*/ 1173163 h 1238250"/>
                    <a:gd name="connsiteX201" fmla="*/ 1081088 w 1123950"/>
                    <a:gd name="connsiteY201" fmla="*/ 1176338 h 1238250"/>
                    <a:gd name="connsiteX202" fmla="*/ 1085850 w 1123950"/>
                    <a:gd name="connsiteY202" fmla="*/ 1182688 h 1238250"/>
                    <a:gd name="connsiteX203" fmla="*/ 1085850 w 1123950"/>
                    <a:gd name="connsiteY203" fmla="*/ 1193800 h 1238250"/>
                    <a:gd name="connsiteX204" fmla="*/ 1085850 w 1123950"/>
                    <a:gd name="connsiteY204" fmla="*/ 1195388 h 1238250"/>
                    <a:gd name="connsiteX205" fmla="*/ 1085850 w 1123950"/>
                    <a:gd name="connsiteY205" fmla="*/ 1198563 h 1238250"/>
                    <a:gd name="connsiteX206" fmla="*/ 1079500 w 1123950"/>
                    <a:gd name="connsiteY206" fmla="*/ 1211263 h 1238250"/>
                    <a:gd name="connsiteX207" fmla="*/ 1076325 w 1123950"/>
                    <a:gd name="connsiteY207" fmla="*/ 1212850 h 1238250"/>
                    <a:gd name="connsiteX208" fmla="*/ 1074738 w 1123950"/>
                    <a:gd name="connsiteY208" fmla="*/ 1212850 h 1238250"/>
                    <a:gd name="connsiteX209" fmla="*/ 1069975 w 1123950"/>
                    <a:gd name="connsiteY209" fmla="*/ 1212850 h 1238250"/>
                    <a:gd name="connsiteX210" fmla="*/ 1068388 w 1123950"/>
                    <a:gd name="connsiteY210" fmla="*/ 1212850 h 1238250"/>
                    <a:gd name="connsiteX211" fmla="*/ 1065213 w 1123950"/>
                    <a:gd name="connsiteY211" fmla="*/ 1211263 h 1238250"/>
                    <a:gd name="connsiteX212" fmla="*/ 1063625 w 1123950"/>
                    <a:gd name="connsiteY212" fmla="*/ 1211263 h 1238250"/>
                    <a:gd name="connsiteX213" fmla="*/ 1060450 w 1123950"/>
                    <a:gd name="connsiteY213" fmla="*/ 1211263 h 1238250"/>
                    <a:gd name="connsiteX214" fmla="*/ 1058863 w 1123950"/>
                    <a:gd name="connsiteY214" fmla="*/ 1211263 h 1238250"/>
                    <a:gd name="connsiteX215" fmla="*/ 1057275 w 1123950"/>
                    <a:gd name="connsiteY215" fmla="*/ 1216025 h 1238250"/>
                    <a:gd name="connsiteX216" fmla="*/ 1041400 w 1123950"/>
                    <a:gd name="connsiteY216" fmla="*/ 1216025 h 1238250"/>
                    <a:gd name="connsiteX217" fmla="*/ 1023938 w 1123950"/>
                    <a:gd name="connsiteY217" fmla="*/ 1217613 h 1238250"/>
                    <a:gd name="connsiteX218" fmla="*/ 1003300 w 1123950"/>
                    <a:gd name="connsiteY218" fmla="*/ 1220788 h 1238250"/>
                    <a:gd name="connsiteX219" fmla="*/ 982663 w 1123950"/>
                    <a:gd name="connsiteY219" fmla="*/ 1220788 h 1238250"/>
                    <a:gd name="connsiteX220" fmla="*/ 960438 w 1123950"/>
                    <a:gd name="connsiteY220" fmla="*/ 1222375 h 1238250"/>
                    <a:gd name="connsiteX221" fmla="*/ 927100 w 1123950"/>
                    <a:gd name="connsiteY221" fmla="*/ 1227138 h 1238250"/>
                    <a:gd name="connsiteX222" fmla="*/ 890588 w 1123950"/>
                    <a:gd name="connsiteY222" fmla="*/ 1228725 h 1238250"/>
                    <a:gd name="connsiteX223" fmla="*/ 863600 w 1123950"/>
                    <a:gd name="connsiteY223" fmla="*/ 1231900 h 1238250"/>
                    <a:gd name="connsiteX224" fmla="*/ 860425 w 1123950"/>
                    <a:gd name="connsiteY224" fmla="*/ 1231900 h 1238250"/>
                    <a:gd name="connsiteX225" fmla="*/ 838200 w 1123950"/>
                    <a:gd name="connsiteY225" fmla="*/ 1233488 h 1238250"/>
                    <a:gd name="connsiteX226" fmla="*/ 815975 w 1123950"/>
                    <a:gd name="connsiteY226" fmla="*/ 1235075 h 1238250"/>
                    <a:gd name="connsiteX227" fmla="*/ 796925 w 1123950"/>
                    <a:gd name="connsiteY227" fmla="*/ 1238250 h 1238250"/>
                    <a:gd name="connsiteX228" fmla="*/ 793750 w 1123950"/>
                    <a:gd name="connsiteY228" fmla="*/ 1238250 h 1238250"/>
                    <a:gd name="connsiteX229" fmla="*/ 792163 w 1123950"/>
                    <a:gd name="connsiteY229" fmla="*/ 1235075 h 1238250"/>
                    <a:gd name="connsiteX230" fmla="*/ 788988 w 1123950"/>
                    <a:gd name="connsiteY230" fmla="*/ 1228725 h 1238250"/>
                    <a:gd name="connsiteX231" fmla="*/ 787400 w 1123950"/>
                    <a:gd name="connsiteY231" fmla="*/ 1222375 h 1238250"/>
                    <a:gd name="connsiteX232" fmla="*/ 785813 w 1123950"/>
                    <a:gd name="connsiteY232" fmla="*/ 1220788 h 1238250"/>
                    <a:gd name="connsiteX233" fmla="*/ 782638 w 1123950"/>
                    <a:gd name="connsiteY233" fmla="*/ 1220788 h 1238250"/>
                    <a:gd name="connsiteX234" fmla="*/ 785813 w 1123950"/>
                    <a:gd name="connsiteY234" fmla="*/ 1217613 h 1238250"/>
                    <a:gd name="connsiteX235" fmla="*/ 787400 w 1123950"/>
                    <a:gd name="connsiteY235" fmla="*/ 1220788 h 1238250"/>
                    <a:gd name="connsiteX236" fmla="*/ 788988 w 1123950"/>
                    <a:gd name="connsiteY236" fmla="*/ 1227138 h 1238250"/>
                    <a:gd name="connsiteX237" fmla="*/ 792163 w 1123950"/>
                    <a:gd name="connsiteY237" fmla="*/ 1228725 h 1238250"/>
                    <a:gd name="connsiteX238" fmla="*/ 793750 w 1123950"/>
                    <a:gd name="connsiteY238" fmla="*/ 1228725 h 1238250"/>
                    <a:gd name="connsiteX239" fmla="*/ 793750 w 1123950"/>
                    <a:gd name="connsiteY239" fmla="*/ 1227138 h 1238250"/>
                    <a:gd name="connsiteX240" fmla="*/ 793750 w 1123950"/>
                    <a:gd name="connsiteY240" fmla="*/ 1223963 h 1238250"/>
                    <a:gd name="connsiteX241" fmla="*/ 792163 w 1123950"/>
                    <a:gd name="connsiteY241" fmla="*/ 1220788 h 1238250"/>
                    <a:gd name="connsiteX242" fmla="*/ 792163 w 1123950"/>
                    <a:gd name="connsiteY242" fmla="*/ 1217613 h 1238250"/>
                    <a:gd name="connsiteX243" fmla="*/ 787400 w 1123950"/>
                    <a:gd name="connsiteY243" fmla="*/ 1212850 h 1238250"/>
                    <a:gd name="connsiteX244" fmla="*/ 785813 w 1123950"/>
                    <a:gd name="connsiteY244" fmla="*/ 1212850 h 1238250"/>
                    <a:gd name="connsiteX245" fmla="*/ 782638 w 1123950"/>
                    <a:gd name="connsiteY245" fmla="*/ 1212850 h 1238250"/>
                    <a:gd name="connsiteX246" fmla="*/ 782638 w 1123950"/>
                    <a:gd name="connsiteY246" fmla="*/ 1216025 h 1238250"/>
                    <a:gd name="connsiteX247" fmla="*/ 781050 w 1123950"/>
                    <a:gd name="connsiteY247" fmla="*/ 1216025 h 1238250"/>
                    <a:gd name="connsiteX248" fmla="*/ 781050 w 1123950"/>
                    <a:gd name="connsiteY248" fmla="*/ 1217613 h 1238250"/>
                    <a:gd name="connsiteX249" fmla="*/ 781050 w 1123950"/>
                    <a:gd name="connsiteY249" fmla="*/ 1220788 h 1238250"/>
                    <a:gd name="connsiteX250" fmla="*/ 781050 w 1123950"/>
                    <a:gd name="connsiteY250" fmla="*/ 1222375 h 1238250"/>
                    <a:gd name="connsiteX251" fmla="*/ 777875 w 1123950"/>
                    <a:gd name="connsiteY251" fmla="*/ 1222375 h 1238250"/>
                    <a:gd name="connsiteX252" fmla="*/ 777875 w 1123950"/>
                    <a:gd name="connsiteY252" fmla="*/ 1217613 h 1238250"/>
                    <a:gd name="connsiteX253" fmla="*/ 777875 w 1123950"/>
                    <a:gd name="connsiteY253" fmla="*/ 1216025 h 1238250"/>
                    <a:gd name="connsiteX254" fmla="*/ 777875 w 1123950"/>
                    <a:gd name="connsiteY254" fmla="*/ 1206500 h 1238250"/>
                    <a:gd name="connsiteX255" fmla="*/ 776288 w 1123950"/>
                    <a:gd name="connsiteY255" fmla="*/ 1200150 h 1238250"/>
                    <a:gd name="connsiteX256" fmla="*/ 777875 w 1123950"/>
                    <a:gd name="connsiteY256" fmla="*/ 1198563 h 1238250"/>
                    <a:gd name="connsiteX257" fmla="*/ 781050 w 1123950"/>
                    <a:gd name="connsiteY257" fmla="*/ 1195388 h 1238250"/>
                    <a:gd name="connsiteX258" fmla="*/ 781050 w 1123950"/>
                    <a:gd name="connsiteY258" fmla="*/ 1190625 h 1238250"/>
                    <a:gd name="connsiteX259" fmla="*/ 777875 w 1123950"/>
                    <a:gd name="connsiteY259" fmla="*/ 1182688 h 1238250"/>
                    <a:gd name="connsiteX260" fmla="*/ 777875 w 1123950"/>
                    <a:gd name="connsiteY260" fmla="*/ 1179513 h 1238250"/>
                    <a:gd name="connsiteX261" fmla="*/ 771525 w 1123950"/>
                    <a:gd name="connsiteY261" fmla="*/ 1163637 h 1238250"/>
                    <a:gd name="connsiteX262" fmla="*/ 771525 w 1123950"/>
                    <a:gd name="connsiteY262" fmla="*/ 1162050 h 1238250"/>
                    <a:gd name="connsiteX263" fmla="*/ 769938 w 1123950"/>
                    <a:gd name="connsiteY263" fmla="*/ 1160462 h 1238250"/>
                    <a:gd name="connsiteX264" fmla="*/ 763588 w 1123950"/>
                    <a:gd name="connsiteY264" fmla="*/ 1146175 h 1238250"/>
                    <a:gd name="connsiteX265" fmla="*/ 754063 w 1123950"/>
                    <a:gd name="connsiteY265" fmla="*/ 1135062 h 1238250"/>
                    <a:gd name="connsiteX266" fmla="*/ 754063 w 1123950"/>
                    <a:gd name="connsiteY266" fmla="*/ 1133475 h 1238250"/>
                    <a:gd name="connsiteX267" fmla="*/ 738188 w 1123950"/>
                    <a:gd name="connsiteY267" fmla="*/ 1119187 h 1238250"/>
                    <a:gd name="connsiteX268" fmla="*/ 733425 w 1123950"/>
                    <a:gd name="connsiteY268" fmla="*/ 1116012 h 1238250"/>
                    <a:gd name="connsiteX269" fmla="*/ 722313 w 1123950"/>
                    <a:gd name="connsiteY269" fmla="*/ 1106487 h 1238250"/>
                    <a:gd name="connsiteX270" fmla="*/ 714375 w 1123950"/>
                    <a:gd name="connsiteY270" fmla="*/ 1100137 h 1238250"/>
                    <a:gd name="connsiteX271" fmla="*/ 711200 w 1123950"/>
                    <a:gd name="connsiteY271" fmla="*/ 1100137 h 1238250"/>
                    <a:gd name="connsiteX272" fmla="*/ 709613 w 1123950"/>
                    <a:gd name="connsiteY272" fmla="*/ 1100137 h 1238250"/>
                    <a:gd name="connsiteX273" fmla="*/ 708025 w 1123950"/>
                    <a:gd name="connsiteY273" fmla="*/ 1096962 h 1238250"/>
                    <a:gd name="connsiteX274" fmla="*/ 704850 w 1123950"/>
                    <a:gd name="connsiteY274" fmla="*/ 1095375 h 1238250"/>
                    <a:gd name="connsiteX275" fmla="*/ 703263 w 1123950"/>
                    <a:gd name="connsiteY275" fmla="*/ 1095375 h 1238250"/>
                    <a:gd name="connsiteX276" fmla="*/ 700088 w 1123950"/>
                    <a:gd name="connsiteY276" fmla="*/ 1093787 h 1238250"/>
                    <a:gd name="connsiteX277" fmla="*/ 698500 w 1123950"/>
                    <a:gd name="connsiteY277" fmla="*/ 1090612 h 1238250"/>
                    <a:gd name="connsiteX278" fmla="*/ 696913 w 1123950"/>
                    <a:gd name="connsiteY278" fmla="*/ 1085850 h 1238250"/>
                    <a:gd name="connsiteX279" fmla="*/ 693738 w 1123950"/>
                    <a:gd name="connsiteY279" fmla="*/ 1085850 h 1238250"/>
                    <a:gd name="connsiteX280" fmla="*/ 693738 w 1123950"/>
                    <a:gd name="connsiteY280" fmla="*/ 1084262 h 1238250"/>
                    <a:gd name="connsiteX281" fmla="*/ 688975 w 1123950"/>
                    <a:gd name="connsiteY281" fmla="*/ 1079500 h 1238250"/>
                    <a:gd name="connsiteX282" fmla="*/ 687388 w 1123950"/>
                    <a:gd name="connsiteY282" fmla="*/ 1079500 h 1238250"/>
                    <a:gd name="connsiteX283" fmla="*/ 685800 w 1123950"/>
                    <a:gd name="connsiteY283" fmla="*/ 1077912 h 1238250"/>
                    <a:gd name="connsiteX284" fmla="*/ 682625 w 1123950"/>
                    <a:gd name="connsiteY284" fmla="*/ 1077912 h 1238250"/>
                    <a:gd name="connsiteX285" fmla="*/ 674688 w 1123950"/>
                    <a:gd name="connsiteY285" fmla="*/ 1074737 h 1238250"/>
                    <a:gd name="connsiteX286" fmla="*/ 669925 w 1123950"/>
                    <a:gd name="connsiteY286" fmla="*/ 1074737 h 1238250"/>
                    <a:gd name="connsiteX287" fmla="*/ 669925 w 1123950"/>
                    <a:gd name="connsiteY287" fmla="*/ 1077912 h 1238250"/>
                    <a:gd name="connsiteX288" fmla="*/ 666750 w 1123950"/>
                    <a:gd name="connsiteY288" fmla="*/ 1077912 h 1238250"/>
                    <a:gd name="connsiteX289" fmla="*/ 666750 w 1123950"/>
                    <a:gd name="connsiteY289" fmla="*/ 1079500 h 1238250"/>
                    <a:gd name="connsiteX290" fmla="*/ 669925 w 1123950"/>
                    <a:gd name="connsiteY290" fmla="*/ 1079500 h 1238250"/>
                    <a:gd name="connsiteX291" fmla="*/ 669925 w 1123950"/>
                    <a:gd name="connsiteY291" fmla="*/ 1082675 h 1238250"/>
                    <a:gd name="connsiteX292" fmla="*/ 666750 w 1123950"/>
                    <a:gd name="connsiteY292" fmla="*/ 1082675 h 1238250"/>
                    <a:gd name="connsiteX293" fmla="*/ 666750 w 1123950"/>
                    <a:gd name="connsiteY293" fmla="*/ 1084262 h 1238250"/>
                    <a:gd name="connsiteX294" fmla="*/ 665163 w 1123950"/>
                    <a:gd name="connsiteY294" fmla="*/ 1084262 h 1238250"/>
                    <a:gd name="connsiteX295" fmla="*/ 661988 w 1123950"/>
                    <a:gd name="connsiteY295" fmla="*/ 1084262 h 1238250"/>
                    <a:gd name="connsiteX296" fmla="*/ 654050 w 1123950"/>
                    <a:gd name="connsiteY296" fmla="*/ 1079500 h 1238250"/>
                    <a:gd name="connsiteX297" fmla="*/ 654050 w 1123950"/>
                    <a:gd name="connsiteY297" fmla="*/ 1077912 h 1238250"/>
                    <a:gd name="connsiteX298" fmla="*/ 650875 w 1123950"/>
                    <a:gd name="connsiteY298" fmla="*/ 1077912 h 1238250"/>
                    <a:gd name="connsiteX299" fmla="*/ 650875 w 1123950"/>
                    <a:gd name="connsiteY299" fmla="*/ 1074737 h 1238250"/>
                    <a:gd name="connsiteX300" fmla="*/ 654050 w 1123950"/>
                    <a:gd name="connsiteY300" fmla="*/ 1071562 h 1238250"/>
                    <a:gd name="connsiteX301" fmla="*/ 655638 w 1123950"/>
                    <a:gd name="connsiteY301" fmla="*/ 1068387 h 1238250"/>
                    <a:gd name="connsiteX302" fmla="*/ 655638 w 1123950"/>
                    <a:gd name="connsiteY302" fmla="*/ 1066800 h 1238250"/>
                    <a:gd name="connsiteX303" fmla="*/ 650875 w 1123950"/>
                    <a:gd name="connsiteY303" fmla="*/ 1057275 h 1238250"/>
                    <a:gd name="connsiteX304" fmla="*/ 649288 w 1123950"/>
                    <a:gd name="connsiteY304" fmla="*/ 1055687 h 1238250"/>
                    <a:gd name="connsiteX305" fmla="*/ 647700 w 1123950"/>
                    <a:gd name="connsiteY305" fmla="*/ 1050925 h 1238250"/>
                    <a:gd name="connsiteX306" fmla="*/ 647700 w 1123950"/>
                    <a:gd name="connsiteY306" fmla="*/ 1049337 h 1238250"/>
                    <a:gd name="connsiteX307" fmla="*/ 642938 w 1123950"/>
                    <a:gd name="connsiteY307" fmla="*/ 1041400 h 1238250"/>
                    <a:gd name="connsiteX308" fmla="*/ 639763 w 1123950"/>
                    <a:gd name="connsiteY308" fmla="*/ 1039812 h 1238250"/>
                    <a:gd name="connsiteX309" fmla="*/ 638175 w 1123950"/>
                    <a:gd name="connsiteY309" fmla="*/ 1039812 h 1238250"/>
                    <a:gd name="connsiteX310" fmla="*/ 636588 w 1123950"/>
                    <a:gd name="connsiteY310" fmla="*/ 1039812 h 1238250"/>
                    <a:gd name="connsiteX311" fmla="*/ 625475 w 1123950"/>
                    <a:gd name="connsiteY311" fmla="*/ 1039812 h 1238250"/>
                    <a:gd name="connsiteX312" fmla="*/ 620712 w 1123950"/>
                    <a:gd name="connsiteY312" fmla="*/ 1039812 h 1238250"/>
                    <a:gd name="connsiteX313" fmla="*/ 615950 w 1123950"/>
                    <a:gd name="connsiteY313" fmla="*/ 1041400 h 1238250"/>
                    <a:gd name="connsiteX314" fmla="*/ 614362 w 1123950"/>
                    <a:gd name="connsiteY314" fmla="*/ 1041400 h 1238250"/>
                    <a:gd name="connsiteX315" fmla="*/ 611187 w 1123950"/>
                    <a:gd name="connsiteY315" fmla="*/ 1041400 h 1238250"/>
                    <a:gd name="connsiteX316" fmla="*/ 606425 w 1123950"/>
                    <a:gd name="connsiteY316" fmla="*/ 1041400 h 1238250"/>
                    <a:gd name="connsiteX317" fmla="*/ 595312 w 1123950"/>
                    <a:gd name="connsiteY317" fmla="*/ 1039812 h 1238250"/>
                    <a:gd name="connsiteX318" fmla="*/ 592137 w 1123950"/>
                    <a:gd name="connsiteY318" fmla="*/ 1038225 h 1238250"/>
                    <a:gd name="connsiteX319" fmla="*/ 588962 w 1123950"/>
                    <a:gd name="connsiteY319" fmla="*/ 1038225 h 1238250"/>
                    <a:gd name="connsiteX320" fmla="*/ 573087 w 1123950"/>
                    <a:gd name="connsiteY320" fmla="*/ 1030287 h 1238250"/>
                    <a:gd name="connsiteX321" fmla="*/ 569912 w 1123950"/>
                    <a:gd name="connsiteY321" fmla="*/ 1028700 h 1238250"/>
                    <a:gd name="connsiteX322" fmla="*/ 565150 w 1123950"/>
                    <a:gd name="connsiteY322" fmla="*/ 1027112 h 1238250"/>
                    <a:gd name="connsiteX323" fmla="*/ 565150 w 1123950"/>
                    <a:gd name="connsiteY323" fmla="*/ 1023937 h 1238250"/>
                    <a:gd name="connsiteX324" fmla="*/ 560387 w 1123950"/>
                    <a:gd name="connsiteY324" fmla="*/ 1017587 h 1238250"/>
                    <a:gd name="connsiteX325" fmla="*/ 554037 w 1123950"/>
                    <a:gd name="connsiteY325" fmla="*/ 1008062 h 1238250"/>
                    <a:gd name="connsiteX326" fmla="*/ 542925 w 1123950"/>
                    <a:gd name="connsiteY326" fmla="*/ 1000125 h 1238250"/>
                    <a:gd name="connsiteX327" fmla="*/ 539750 w 1123950"/>
                    <a:gd name="connsiteY327" fmla="*/ 996950 h 1238250"/>
                    <a:gd name="connsiteX328" fmla="*/ 528637 w 1123950"/>
                    <a:gd name="connsiteY328" fmla="*/ 993775 h 1238250"/>
                    <a:gd name="connsiteX329" fmla="*/ 525462 w 1123950"/>
                    <a:gd name="connsiteY329" fmla="*/ 990600 h 1238250"/>
                    <a:gd name="connsiteX330" fmla="*/ 522287 w 1123950"/>
                    <a:gd name="connsiteY330" fmla="*/ 990600 h 1238250"/>
                    <a:gd name="connsiteX331" fmla="*/ 520700 w 1123950"/>
                    <a:gd name="connsiteY331" fmla="*/ 990600 h 1238250"/>
                    <a:gd name="connsiteX332" fmla="*/ 500062 w 1123950"/>
                    <a:gd name="connsiteY332" fmla="*/ 990600 h 1238250"/>
                    <a:gd name="connsiteX333" fmla="*/ 477837 w 1123950"/>
                    <a:gd name="connsiteY333" fmla="*/ 985837 h 1238250"/>
                    <a:gd name="connsiteX334" fmla="*/ 465137 w 1123950"/>
                    <a:gd name="connsiteY334" fmla="*/ 984250 h 1238250"/>
                    <a:gd name="connsiteX335" fmla="*/ 461962 w 1123950"/>
                    <a:gd name="connsiteY335" fmla="*/ 984250 h 1238250"/>
                    <a:gd name="connsiteX336" fmla="*/ 450850 w 1123950"/>
                    <a:gd name="connsiteY336" fmla="*/ 984250 h 1238250"/>
                    <a:gd name="connsiteX337" fmla="*/ 439737 w 1123950"/>
                    <a:gd name="connsiteY337" fmla="*/ 985837 h 1238250"/>
                    <a:gd name="connsiteX338" fmla="*/ 431800 w 1123950"/>
                    <a:gd name="connsiteY338" fmla="*/ 985837 h 1238250"/>
                    <a:gd name="connsiteX339" fmla="*/ 428625 w 1123950"/>
                    <a:gd name="connsiteY339" fmla="*/ 985837 h 1238250"/>
                    <a:gd name="connsiteX340" fmla="*/ 427037 w 1123950"/>
                    <a:gd name="connsiteY340" fmla="*/ 982662 h 1238250"/>
                    <a:gd name="connsiteX341" fmla="*/ 423862 w 1123950"/>
                    <a:gd name="connsiteY341" fmla="*/ 979487 h 1238250"/>
                    <a:gd name="connsiteX342" fmla="*/ 423862 w 1123950"/>
                    <a:gd name="connsiteY342" fmla="*/ 977900 h 1238250"/>
                    <a:gd name="connsiteX343" fmla="*/ 417512 w 1123950"/>
                    <a:gd name="connsiteY343" fmla="*/ 973137 h 1238250"/>
                    <a:gd name="connsiteX344" fmla="*/ 415925 w 1123950"/>
                    <a:gd name="connsiteY344" fmla="*/ 973137 h 1238250"/>
                    <a:gd name="connsiteX345" fmla="*/ 412750 w 1123950"/>
                    <a:gd name="connsiteY345" fmla="*/ 973137 h 1238250"/>
                    <a:gd name="connsiteX346" fmla="*/ 411162 w 1123950"/>
                    <a:gd name="connsiteY346" fmla="*/ 973137 h 1238250"/>
                    <a:gd name="connsiteX347" fmla="*/ 409575 w 1123950"/>
                    <a:gd name="connsiteY347" fmla="*/ 971550 h 1238250"/>
                    <a:gd name="connsiteX348" fmla="*/ 409575 w 1123950"/>
                    <a:gd name="connsiteY348" fmla="*/ 968375 h 1238250"/>
                    <a:gd name="connsiteX349" fmla="*/ 411162 w 1123950"/>
                    <a:gd name="connsiteY349" fmla="*/ 962025 h 1238250"/>
                    <a:gd name="connsiteX350" fmla="*/ 412750 w 1123950"/>
                    <a:gd name="connsiteY350" fmla="*/ 958850 h 1238250"/>
                    <a:gd name="connsiteX351" fmla="*/ 412750 w 1123950"/>
                    <a:gd name="connsiteY351" fmla="*/ 957262 h 1238250"/>
                    <a:gd name="connsiteX352" fmla="*/ 412750 w 1123950"/>
                    <a:gd name="connsiteY352" fmla="*/ 955675 h 1238250"/>
                    <a:gd name="connsiteX353" fmla="*/ 412750 w 1123950"/>
                    <a:gd name="connsiteY353" fmla="*/ 952500 h 1238250"/>
                    <a:gd name="connsiteX354" fmla="*/ 412750 w 1123950"/>
                    <a:gd name="connsiteY354" fmla="*/ 935037 h 1238250"/>
                    <a:gd name="connsiteX355" fmla="*/ 412750 w 1123950"/>
                    <a:gd name="connsiteY355" fmla="*/ 933450 h 1238250"/>
                    <a:gd name="connsiteX356" fmla="*/ 411162 w 1123950"/>
                    <a:gd name="connsiteY356" fmla="*/ 928687 h 1238250"/>
                    <a:gd name="connsiteX357" fmla="*/ 411162 w 1123950"/>
                    <a:gd name="connsiteY357" fmla="*/ 914400 h 1238250"/>
                    <a:gd name="connsiteX358" fmla="*/ 411162 w 1123950"/>
                    <a:gd name="connsiteY358" fmla="*/ 912812 h 1238250"/>
                    <a:gd name="connsiteX359" fmla="*/ 412750 w 1123950"/>
                    <a:gd name="connsiteY359" fmla="*/ 903287 h 1238250"/>
                    <a:gd name="connsiteX360" fmla="*/ 412750 w 1123950"/>
                    <a:gd name="connsiteY360" fmla="*/ 901700 h 1238250"/>
                    <a:gd name="connsiteX361" fmla="*/ 411162 w 1123950"/>
                    <a:gd name="connsiteY361" fmla="*/ 896937 h 1238250"/>
                    <a:gd name="connsiteX362" fmla="*/ 404812 w 1123950"/>
                    <a:gd name="connsiteY362" fmla="*/ 892175 h 1238250"/>
                    <a:gd name="connsiteX363" fmla="*/ 401637 w 1123950"/>
                    <a:gd name="connsiteY363" fmla="*/ 892175 h 1238250"/>
                    <a:gd name="connsiteX364" fmla="*/ 400050 w 1123950"/>
                    <a:gd name="connsiteY364" fmla="*/ 892175 h 1238250"/>
                    <a:gd name="connsiteX365" fmla="*/ 398462 w 1123950"/>
                    <a:gd name="connsiteY365" fmla="*/ 892175 h 1238250"/>
                    <a:gd name="connsiteX366" fmla="*/ 398462 w 1123950"/>
                    <a:gd name="connsiteY366" fmla="*/ 895350 h 1238250"/>
                    <a:gd name="connsiteX367" fmla="*/ 387350 w 1123950"/>
                    <a:gd name="connsiteY367" fmla="*/ 889000 h 1238250"/>
                    <a:gd name="connsiteX368" fmla="*/ 384175 w 1123950"/>
                    <a:gd name="connsiteY368" fmla="*/ 885825 h 1238250"/>
                    <a:gd name="connsiteX369" fmla="*/ 384175 w 1123950"/>
                    <a:gd name="connsiteY369" fmla="*/ 881062 h 1238250"/>
                    <a:gd name="connsiteX370" fmla="*/ 382587 w 1123950"/>
                    <a:gd name="connsiteY370" fmla="*/ 881062 h 1238250"/>
                    <a:gd name="connsiteX371" fmla="*/ 384175 w 1123950"/>
                    <a:gd name="connsiteY371" fmla="*/ 879475 h 1238250"/>
                    <a:gd name="connsiteX372" fmla="*/ 384175 w 1123950"/>
                    <a:gd name="connsiteY372" fmla="*/ 877887 h 1238250"/>
                    <a:gd name="connsiteX373" fmla="*/ 384175 w 1123950"/>
                    <a:gd name="connsiteY373" fmla="*/ 874712 h 1238250"/>
                    <a:gd name="connsiteX374" fmla="*/ 387350 w 1123950"/>
                    <a:gd name="connsiteY374" fmla="*/ 868362 h 1238250"/>
                    <a:gd name="connsiteX375" fmla="*/ 377825 w 1123950"/>
                    <a:gd name="connsiteY375" fmla="*/ 857250 h 1238250"/>
                    <a:gd name="connsiteX376" fmla="*/ 373062 w 1123950"/>
                    <a:gd name="connsiteY376" fmla="*/ 855662 h 1238250"/>
                    <a:gd name="connsiteX377" fmla="*/ 371475 w 1123950"/>
                    <a:gd name="connsiteY377" fmla="*/ 855662 h 1238250"/>
                    <a:gd name="connsiteX378" fmla="*/ 368300 w 1123950"/>
                    <a:gd name="connsiteY378" fmla="*/ 852487 h 1238250"/>
                    <a:gd name="connsiteX379" fmla="*/ 365125 w 1123950"/>
                    <a:gd name="connsiteY379" fmla="*/ 847725 h 1238250"/>
                    <a:gd name="connsiteX380" fmla="*/ 365125 w 1123950"/>
                    <a:gd name="connsiteY380" fmla="*/ 846137 h 1238250"/>
                    <a:gd name="connsiteX381" fmla="*/ 350837 w 1123950"/>
                    <a:gd name="connsiteY381" fmla="*/ 830262 h 1238250"/>
                    <a:gd name="connsiteX382" fmla="*/ 339725 w 1123950"/>
                    <a:gd name="connsiteY382" fmla="*/ 825500 h 1238250"/>
                    <a:gd name="connsiteX383" fmla="*/ 339725 w 1123950"/>
                    <a:gd name="connsiteY383" fmla="*/ 823912 h 1238250"/>
                    <a:gd name="connsiteX384" fmla="*/ 338137 w 1123950"/>
                    <a:gd name="connsiteY384" fmla="*/ 817562 h 1238250"/>
                    <a:gd name="connsiteX385" fmla="*/ 338137 w 1123950"/>
                    <a:gd name="connsiteY385" fmla="*/ 814387 h 1238250"/>
                    <a:gd name="connsiteX386" fmla="*/ 334962 w 1123950"/>
                    <a:gd name="connsiteY386" fmla="*/ 814387 h 1238250"/>
                    <a:gd name="connsiteX387" fmla="*/ 333375 w 1123950"/>
                    <a:gd name="connsiteY387" fmla="*/ 812800 h 1238250"/>
                    <a:gd name="connsiteX388" fmla="*/ 328612 w 1123950"/>
                    <a:gd name="connsiteY388" fmla="*/ 808037 h 1238250"/>
                    <a:gd name="connsiteX389" fmla="*/ 322262 w 1123950"/>
                    <a:gd name="connsiteY389" fmla="*/ 800100 h 1238250"/>
                    <a:gd name="connsiteX390" fmla="*/ 320675 w 1123950"/>
                    <a:gd name="connsiteY390" fmla="*/ 796925 h 1238250"/>
                    <a:gd name="connsiteX391" fmla="*/ 320675 w 1123950"/>
                    <a:gd name="connsiteY391" fmla="*/ 795337 h 1238250"/>
                    <a:gd name="connsiteX392" fmla="*/ 320675 w 1123950"/>
                    <a:gd name="connsiteY392" fmla="*/ 788987 h 1238250"/>
                    <a:gd name="connsiteX393" fmla="*/ 317500 w 1123950"/>
                    <a:gd name="connsiteY393" fmla="*/ 785812 h 1238250"/>
                    <a:gd name="connsiteX394" fmla="*/ 317500 w 1123950"/>
                    <a:gd name="connsiteY394" fmla="*/ 784225 h 1238250"/>
                    <a:gd name="connsiteX395" fmla="*/ 298450 w 1123950"/>
                    <a:gd name="connsiteY395" fmla="*/ 762000 h 1238250"/>
                    <a:gd name="connsiteX396" fmla="*/ 295275 w 1123950"/>
                    <a:gd name="connsiteY396" fmla="*/ 758825 h 1238250"/>
                    <a:gd name="connsiteX397" fmla="*/ 287337 w 1123950"/>
                    <a:gd name="connsiteY397" fmla="*/ 754062 h 1238250"/>
                    <a:gd name="connsiteX398" fmla="*/ 284162 w 1123950"/>
                    <a:gd name="connsiteY398" fmla="*/ 754062 h 1238250"/>
                    <a:gd name="connsiteX399" fmla="*/ 282575 w 1123950"/>
                    <a:gd name="connsiteY399" fmla="*/ 752475 h 1238250"/>
                    <a:gd name="connsiteX400" fmla="*/ 276225 w 1123950"/>
                    <a:gd name="connsiteY400" fmla="*/ 742950 h 1238250"/>
                    <a:gd name="connsiteX401" fmla="*/ 273050 w 1123950"/>
                    <a:gd name="connsiteY401" fmla="*/ 742950 h 1238250"/>
                    <a:gd name="connsiteX402" fmla="*/ 273050 w 1123950"/>
                    <a:gd name="connsiteY402" fmla="*/ 741362 h 1238250"/>
                    <a:gd name="connsiteX403" fmla="*/ 276225 w 1123950"/>
                    <a:gd name="connsiteY403" fmla="*/ 741362 h 1238250"/>
                    <a:gd name="connsiteX404" fmla="*/ 276225 w 1123950"/>
                    <a:gd name="connsiteY404" fmla="*/ 739775 h 1238250"/>
                    <a:gd name="connsiteX405" fmla="*/ 273050 w 1123950"/>
                    <a:gd name="connsiteY405" fmla="*/ 735012 h 1238250"/>
                    <a:gd name="connsiteX406" fmla="*/ 273050 w 1123950"/>
                    <a:gd name="connsiteY406" fmla="*/ 731837 h 1238250"/>
                    <a:gd name="connsiteX407" fmla="*/ 273050 w 1123950"/>
                    <a:gd name="connsiteY407" fmla="*/ 728662 h 1238250"/>
                    <a:gd name="connsiteX408" fmla="*/ 271462 w 1123950"/>
                    <a:gd name="connsiteY408" fmla="*/ 723900 h 1238250"/>
                    <a:gd name="connsiteX409" fmla="*/ 268287 w 1123950"/>
                    <a:gd name="connsiteY409" fmla="*/ 717550 h 1238250"/>
                    <a:gd name="connsiteX410" fmla="*/ 265112 w 1123950"/>
                    <a:gd name="connsiteY410" fmla="*/ 708025 h 1238250"/>
                    <a:gd name="connsiteX411" fmla="*/ 266700 w 1123950"/>
                    <a:gd name="connsiteY411" fmla="*/ 708025 h 1238250"/>
                    <a:gd name="connsiteX412" fmla="*/ 266700 w 1123950"/>
                    <a:gd name="connsiteY412" fmla="*/ 706437 h 1238250"/>
                    <a:gd name="connsiteX413" fmla="*/ 268287 w 1123950"/>
                    <a:gd name="connsiteY413" fmla="*/ 701675 h 1238250"/>
                    <a:gd name="connsiteX414" fmla="*/ 271462 w 1123950"/>
                    <a:gd name="connsiteY414" fmla="*/ 701675 h 1238250"/>
                    <a:gd name="connsiteX415" fmla="*/ 273050 w 1123950"/>
                    <a:gd name="connsiteY415" fmla="*/ 701675 h 1238250"/>
                    <a:gd name="connsiteX416" fmla="*/ 273050 w 1123950"/>
                    <a:gd name="connsiteY416" fmla="*/ 703262 h 1238250"/>
                    <a:gd name="connsiteX417" fmla="*/ 276225 w 1123950"/>
                    <a:gd name="connsiteY417" fmla="*/ 703262 h 1238250"/>
                    <a:gd name="connsiteX418" fmla="*/ 277812 w 1123950"/>
                    <a:gd name="connsiteY418" fmla="*/ 703262 h 1238250"/>
                    <a:gd name="connsiteX419" fmla="*/ 279400 w 1123950"/>
                    <a:gd name="connsiteY419" fmla="*/ 701675 h 1238250"/>
                    <a:gd name="connsiteX420" fmla="*/ 279400 w 1123950"/>
                    <a:gd name="connsiteY420" fmla="*/ 698500 h 1238250"/>
                    <a:gd name="connsiteX421" fmla="*/ 282575 w 1123950"/>
                    <a:gd name="connsiteY421" fmla="*/ 696912 h 1238250"/>
                    <a:gd name="connsiteX422" fmla="*/ 284162 w 1123950"/>
                    <a:gd name="connsiteY422" fmla="*/ 685800 h 1238250"/>
                    <a:gd name="connsiteX423" fmla="*/ 284162 w 1123950"/>
                    <a:gd name="connsiteY423" fmla="*/ 679450 h 1238250"/>
                    <a:gd name="connsiteX424" fmla="*/ 282575 w 1123950"/>
                    <a:gd name="connsiteY424" fmla="*/ 669925 h 1238250"/>
                    <a:gd name="connsiteX425" fmla="*/ 282575 w 1123950"/>
                    <a:gd name="connsiteY425" fmla="*/ 668337 h 1238250"/>
                    <a:gd name="connsiteX426" fmla="*/ 276225 w 1123950"/>
                    <a:gd name="connsiteY426" fmla="*/ 661987 h 1238250"/>
                    <a:gd name="connsiteX427" fmla="*/ 276225 w 1123950"/>
                    <a:gd name="connsiteY427" fmla="*/ 658812 h 1238250"/>
                    <a:gd name="connsiteX428" fmla="*/ 273050 w 1123950"/>
                    <a:gd name="connsiteY428" fmla="*/ 658812 h 1238250"/>
                    <a:gd name="connsiteX429" fmla="*/ 271462 w 1123950"/>
                    <a:gd name="connsiteY429" fmla="*/ 657225 h 1238250"/>
                    <a:gd name="connsiteX430" fmla="*/ 268287 w 1123950"/>
                    <a:gd name="connsiteY430" fmla="*/ 657225 h 1238250"/>
                    <a:gd name="connsiteX431" fmla="*/ 261937 w 1123950"/>
                    <a:gd name="connsiteY431" fmla="*/ 657225 h 1238250"/>
                    <a:gd name="connsiteX432" fmla="*/ 257175 w 1123950"/>
                    <a:gd name="connsiteY432" fmla="*/ 658812 h 1238250"/>
                    <a:gd name="connsiteX433" fmla="*/ 255587 w 1123950"/>
                    <a:gd name="connsiteY433" fmla="*/ 658812 h 1238250"/>
                    <a:gd name="connsiteX434" fmla="*/ 252412 w 1123950"/>
                    <a:gd name="connsiteY434" fmla="*/ 658812 h 1238250"/>
                    <a:gd name="connsiteX435" fmla="*/ 250825 w 1123950"/>
                    <a:gd name="connsiteY435" fmla="*/ 658812 h 1238250"/>
                    <a:gd name="connsiteX436" fmla="*/ 244475 w 1123950"/>
                    <a:gd name="connsiteY436" fmla="*/ 654050 h 1238250"/>
                    <a:gd name="connsiteX437" fmla="*/ 241300 w 1123950"/>
                    <a:gd name="connsiteY437" fmla="*/ 654050 h 1238250"/>
                    <a:gd name="connsiteX438" fmla="*/ 239712 w 1123950"/>
                    <a:gd name="connsiteY438" fmla="*/ 652462 h 1238250"/>
                    <a:gd name="connsiteX439" fmla="*/ 239712 w 1123950"/>
                    <a:gd name="connsiteY439" fmla="*/ 650875 h 1238250"/>
                    <a:gd name="connsiteX440" fmla="*/ 217487 w 1123950"/>
                    <a:gd name="connsiteY440" fmla="*/ 628650 h 1238250"/>
                    <a:gd name="connsiteX441" fmla="*/ 217487 w 1123950"/>
                    <a:gd name="connsiteY441" fmla="*/ 625475 h 1238250"/>
                    <a:gd name="connsiteX442" fmla="*/ 217487 w 1123950"/>
                    <a:gd name="connsiteY442" fmla="*/ 623887 h 1238250"/>
                    <a:gd name="connsiteX443" fmla="*/ 215900 w 1123950"/>
                    <a:gd name="connsiteY443" fmla="*/ 623887 h 1238250"/>
                    <a:gd name="connsiteX444" fmla="*/ 215900 w 1123950"/>
                    <a:gd name="connsiteY444" fmla="*/ 620712 h 1238250"/>
                    <a:gd name="connsiteX445" fmla="*/ 217487 w 1123950"/>
                    <a:gd name="connsiteY445" fmla="*/ 619125 h 1238250"/>
                    <a:gd name="connsiteX446" fmla="*/ 217487 w 1123950"/>
                    <a:gd name="connsiteY446" fmla="*/ 617537 h 1238250"/>
                    <a:gd name="connsiteX447" fmla="*/ 217487 w 1123950"/>
                    <a:gd name="connsiteY447" fmla="*/ 612775 h 1238250"/>
                    <a:gd name="connsiteX448" fmla="*/ 219075 w 1123950"/>
                    <a:gd name="connsiteY448" fmla="*/ 609600 h 1238250"/>
                    <a:gd name="connsiteX449" fmla="*/ 217487 w 1123950"/>
                    <a:gd name="connsiteY449" fmla="*/ 606425 h 1238250"/>
                    <a:gd name="connsiteX450" fmla="*/ 217487 w 1123950"/>
                    <a:gd name="connsiteY450" fmla="*/ 603250 h 1238250"/>
                    <a:gd name="connsiteX451" fmla="*/ 212725 w 1123950"/>
                    <a:gd name="connsiteY451" fmla="*/ 592137 h 1238250"/>
                    <a:gd name="connsiteX452" fmla="*/ 212725 w 1123950"/>
                    <a:gd name="connsiteY452" fmla="*/ 590550 h 1238250"/>
                    <a:gd name="connsiteX453" fmla="*/ 211137 w 1123950"/>
                    <a:gd name="connsiteY453" fmla="*/ 587375 h 1238250"/>
                    <a:gd name="connsiteX454" fmla="*/ 207962 w 1123950"/>
                    <a:gd name="connsiteY454" fmla="*/ 587375 h 1238250"/>
                    <a:gd name="connsiteX455" fmla="*/ 206375 w 1123950"/>
                    <a:gd name="connsiteY455" fmla="*/ 587375 h 1238250"/>
                    <a:gd name="connsiteX456" fmla="*/ 206375 w 1123950"/>
                    <a:gd name="connsiteY456" fmla="*/ 585787 h 1238250"/>
                    <a:gd name="connsiteX457" fmla="*/ 206375 w 1123950"/>
                    <a:gd name="connsiteY457" fmla="*/ 584200 h 1238250"/>
                    <a:gd name="connsiteX458" fmla="*/ 204787 w 1123950"/>
                    <a:gd name="connsiteY458" fmla="*/ 579437 h 1238250"/>
                    <a:gd name="connsiteX459" fmla="*/ 204787 w 1123950"/>
                    <a:gd name="connsiteY459" fmla="*/ 576262 h 1238250"/>
                    <a:gd name="connsiteX460" fmla="*/ 206375 w 1123950"/>
                    <a:gd name="connsiteY460" fmla="*/ 554037 h 1238250"/>
                    <a:gd name="connsiteX461" fmla="*/ 206375 w 1123950"/>
                    <a:gd name="connsiteY461" fmla="*/ 552450 h 1238250"/>
                    <a:gd name="connsiteX462" fmla="*/ 206375 w 1123950"/>
                    <a:gd name="connsiteY462" fmla="*/ 549275 h 1238250"/>
                    <a:gd name="connsiteX463" fmla="*/ 207962 w 1123950"/>
                    <a:gd name="connsiteY463" fmla="*/ 547687 h 1238250"/>
                    <a:gd name="connsiteX464" fmla="*/ 211137 w 1123950"/>
                    <a:gd name="connsiteY464" fmla="*/ 547687 h 1238250"/>
                    <a:gd name="connsiteX465" fmla="*/ 217487 w 1123950"/>
                    <a:gd name="connsiteY465" fmla="*/ 547687 h 1238250"/>
                    <a:gd name="connsiteX466" fmla="*/ 219075 w 1123950"/>
                    <a:gd name="connsiteY466" fmla="*/ 549275 h 1238250"/>
                    <a:gd name="connsiteX467" fmla="*/ 219075 w 1123950"/>
                    <a:gd name="connsiteY467" fmla="*/ 552450 h 1238250"/>
                    <a:gd name="connsiteX468" fmla="*/ 222250 w 1123950"/>
                    <a:gd name="connsiteY468" fmla="*/ 558800 h 1238250"/>
                    <a:gd name="connsiteX469" fmla="*/ 219075 w 1123950"/>
                    <a:gd name="connsiteY469" fmla="*/ 563562 h 1238250"/>
                    <a:gd name="connsiteX470" fmla="*/ 219075 w 1123950"/>
                    <a:gd name="connsiteY470" fmla="*/ 568325 h 1238250"/>
                    <a:gd name="connsiteX471" fmla="*/ 219075 w 1123950"/>
                    <a:gd name="connsiteY471" fmla="*/ 573087 h 1238250"/>
                    <a:gd name="connsiteX472" fmla="*/ 219075 w 1123950"/>
                    <a:gd name="connsiteY472" fmla="*/ 574675 h 1238250"/>
                    <a:gd name="connsiteX473" fmla="*/ 250825 w 1123950"/>
                    <a:gd name="connsiteY473" fmla="*/ 592137 h 1238250"/>
                    <a:gd name="connsiteX474" fmla="*/ 250825 w 1123950"/>
                    <a:gd name="connsiteY474" fmla="*/ 595312 h 1238250"/>
                    <a:gd name="connsiteX475" fmla="*/ 252412 w 1123950"/>
                    <a:gd name="connsiteY475" fmla="*/ 595312 h 1238250"/>
                    <a:gd name="connsiteX476" fmla="*/ 255587 w 1123950"/>
                    <a:gd name="connsiteY476" fmla="*/ 595312 h 1238250"/>
                    <a:gd name="connsiteX477" fmla="*/ 257175 w 1123950"/>
                    <a:gd name="connsiteY477" fmla="*/ 595312 h 1238250"/>
                    <a:gd name="connsiteX478" fmla="*/ 260350 w 1123950"/>
                    <a:gd name="connsiteY478" fmla="*/ 592137 h 1238250"/>
                    <a:gd name="connsiteX479" fmla="*/ 255587 w 1123950"/>
                    <a:gd name="connsiteY479" fmla="*/ 590550 h 1238250"/>
                    <a:gd name="connsiteX480" fmla="*/ 250825 w 1123950"/>
                    <a:gd name="connsiteY480" fmla="*/ 587375 h 1238250"/>
                    <a:gd name="connsiteX481" fmla="*/ 246062 w 1123950"/>
                    <a:gd name="connsiteY481" fmla="*/ 576262 h 1238250"/>
                    <a:gd name="connsiteX482" fmla="*/ 246062 w 1123950"/>
                    <a:gd name="connsiteY482" fmla="*/ 574675 h 1238250"/>
                    <a:gd name="connsiteX483" fmla="*/ 244475 w 1123950"/>
                    <a:gd name="connsiteY483" fmla="*/ 573087 h 1238250"/>
                    <a:gd name="connsiteX484" fmla="*/ 244475 w 1123950"/>
                    <a:gd name="connsiteY484" fmla="*/ 569912 h 1238250"/>
                    <a:gd name="connsiteX485" fmla="*/ 244475 w 1123950"/>
                    <a:gd name="connsiteY485" fmla="*/ 568325 h 1238250"/>
                    <a:gd name="connsiteX486" fmla="*/ 244475 w 1123950"/>
                    <a:gd name="connsiteY486" fmla="*/ 565150 h 1238250"/>
                    <a:gd name="connsiteX487" fmla="*/ 241300 w 1123950"/>
                    <a:gd name="connsiteY487" fmla="*/ 563562 h 1238250"/>
                    <a:gd name="connsiteX488" fmla="*/ 239712 w 1123950"/>
                    <a:gd name="connsiteY488" fmla="*/ 561975 h 1238250"/>
                    <a:gd name="connsiteX489" fmla="*/ 233362 w 1123950"/>
                    <a:gd name="connsiteY489" fmla="*/ 554037 h 1238250"/>
                    <a:gd name="connsiteX490" fmla="*/ 227012 w 1123950"/>
                    <a:gd name="connsiteY490" fmla="*/ 546100 h 1238250"/>
                    <a:gd name="connsiteX491" fmla="*/ 217487 w 1123950"/>
                    <a:gd name="connsiteY491" fmla="*/ 530225 h 1238250"/>
                    <a:gd name="connsiteX492" fmla="*/ 215900 w 1123950"/>
                    <a:gd name="connsiteY492" fmla="*/ 527050 h 1238250"/>
                    <a:gd name="connsiteX493" fmla="*/ 219075 w 1123950"/>
                    <a:gd name="connsiteY493" fmla="*/ 523875 h 1238250"/>
                    <a:gd name="connsiteX494" fmla="*/ 233362 w 1123950"/>
                    <a:gd name="connsiteY494" fmla="*/ 514350 h 1238250"/>
                    <a:gd name="connsiteX495" fmla="*/ 234950 w 1123950"/>
                    <a:gd name="connsiteY495" fmla="*/ 514350 h 1238250"/>
                    <a:gd name="connsiteX496" fmla="*/ 241300 w 1123950"/>
                    <a:gd name="connsiteY496" fmla="*/ 515937 h 1238250"/>
                    <a:gd name="connsiteX497" fmla="*/ 246062 w 1123950"/>
                    <a:gd name="connsiteY497" fmla="*/ 519112 h 1238250"/>
                    <a:gd name="connsiteX498" fmla="*/ 257175 w 1123950"/>
                    <a:gd name="connsiteY498" fmla="*/ 514350 h 1238250"/>
                    <a:gd name="connsiteX499" fmla="*/ 260350 w 1123950"/>
                    <a:gd name="connsiteY499" fmla="*/ 514350 h 1238250"/>
                    <a:gd name="connsiteX500" fmla="*/ 268287 w 1123950"/>
                    <a:gd name="connsiteY500" fmla="*/ 515937 h 1238250"/>
                    <a:gd name="connsiteX501" fmla="*/ 276225 w 1123950"/>
                    <a:gd name="connsiteY501" fmla="*/ 515937 h 1238250"/>
                    <a:gd name="connsiteX502" fmla="*/ 277812 w 1123950"/>
                    <a:gd name="connsiteY502" fmla="*/ 519112 h 1238250"/>
                    <a:gd name="connsiteX503" fmla="*/ 293687 w 1123950"/>
                    <a:gd name="connsiteY503" fmla="*/ 520700 h 1238250"/>
                    <a:gd name="connsiteX504" fmla="*/ 295275 w 1123950"/>
                    <a:gd name="connsiteY504" fmla="*/ 520700 h 1238250"/>
                    <a:gd name="connsiteX505" fmla="*/ 298450 w 1123950"/>
                    <a:gd name="connsiteY505" fmla="*/ 519112 h 1238250"/>
                    <a:gd name="connsiteX506" fmla="*/ 298450 w 1123950"/>
                    <a:gd name="connsiteY506" fmla="*/ 515937 h 1238250"/>
                    <a:gd name="connsiteX507" fmla="*/ 298450 w 1123950"/>
                    <a:gd name="connsiteY507" fmla="*/ 514350 h 1238250"/>
                    <a:gd name="connsiteX508" fmla="*/ 298450 w 1123950"/>
                    <a:gd name="connsiteY508" fmla="*/ 512762 h 1238250"/>
                    <a:gd name="connsiteX509" fmla="*/ 300037 w 1123950"/>
                    <a:gd name="connsiteY509" fmla="*/ 512762 h 1238250"/>
                    <a:gd name="connsiteX510" fmla="*/ 301625 w 1123950"/>
                    <a:gd name="connsiteY510" fmla="*/ 509587 h 1238250"/>
                    <a:gd name="connsiteX511" fmla="*/ 304800 w 1123950"/>
                    <a:gd name="connsiteY511" fmla="*/ 509587 h 1238250"/>
                    <a:gd name="connsiteX512" fmla="*/ 306387 w 1123950"/>
                    <a:gd name="connsiteY512" fmla="*/ 509587 h 1238250"/>
                    <a:gd name="connsiteX513" fmla="*/ 315912 w 1123950"/>
                    <a:gd name="connsiteY513" fmla="*/ 515937 h 1238250"/>
                    <a:gd name="connsiteX514" fmla="*/ 320675 w 1123950"/>
                    <a:gd name="connsiteY514" fmla="*/ 520700 h 1238250"/>
                    <a:gd name="connsiteX515" fmla="*/ 322262 w 1123950"/>
                    <a:gd name="connsiteY515" fmla="*/ 523875 h 1238250"/>
                    <a:gd name="connsiteX516" fmla="*/ 322262 w 1123950"/>
                    <a:gd name="connsiteY516" fmla="*/ 520700 h 1238250"/>
                    <a:gd name="connsiteX517" fmla="*/ 322262 w 1123950"/>
                    <a:gd name="connsiteY517" fmla="*/ 519112 h 1238250"/>
                    <a:gd name="connsiteX518" fmla="*/ 317500 w 1123950"/>
                    <a:gd name="connsiteY518" fmla="*/ 515937 h 1238250"/>
                    <a:gd name="connsiteX519" fmla="*/ 309562 w 1123950"/>
                    <a:gd name="connsiteY519" fmla="*/ 508000 h 1238250"/>
                    <a:gd name="connsiteX520" fmla="*/ 306387 w 1123950"/>
                    <a:gd name="connsiteY520" fmla="*/ 508000 h 1238250"/>
                    <a:gd name="connsiteX521" fmla="*/ 304800 w 1123950"/>
                    <a:gd name="connsiteY521" fmla="*/ 508000 h 1238250"/>
                    <a:gd name="connsiteX522" fmla="*/ 298450 w 1123950"/>
                    <a:gd name="connsiteY522" fmla="*/ 509587 h 1238250"/>
                    <a:gd name="connsiteX523" fmla="*/ 295275 w 1123950"/>
                    <a:gd name="connsiteY523" fmla="*/ 509587 h 1238250"/>
                    <a:gd name="connsiteX524" fmla="*/ 295275 w 1123950"/>
                    <a:gd name="connsiteY524" fmla="*/ 512762 h 1238250"/>
                    <a:gd name="connsiteX525" fmla="*/ 295275 w 1123950"/>
                    <a:gd name="connsiteY525" fmla="*/ 514350 h 1238250"/>
                    <a:gd name="connsiteX526" fmla="*/ 293687 w 1123950"/>
                    <a:gd name="connsiteY526" fmla="*/ 514350 h 1238250"/>
                    <a:gd name="connsiteX527" fmla="*/ 290512 w 1123950"/>
                    <a:gd name="connsiteY527" fmla="*/ 515937 h 1238250"/>
                    <a:gd name="connsiteX528" fmla="*/ 288925 w 1123950"/>
                    <a:gd name="connsiteY528" fmla="*/ 515937 h 1238250"/>
                    <a:gd name="connsiteX529" fmla="*/ 279400 w 1123950"/>
                    <a:gd name="connsiteY529" fmla="*/ 512762 h 1238250"/>
                    <a:gd name="connsiteX530" fmla="*/ 271462 w 1123950"/>
                    <a:gd name="connsiteY530" fmla="*/ 514350 h 1238250"/>
                    <a:gd name="connsiteX531" fmla="*/ 261937 w 1123950"/>
                    <a:gd name="connsiteY531" fmla="*/ 509587 h 1238250"/>
                    <a:gd name="connsiteX532" fmla="*/ 257175 w 1123950"/>
                    <a:gd name="connsiteY532" fmla="*/ 503237 h 1238250"/>
                    <a:gd name="connsiteX533" fmla="*/ 252412 w 1123950"/>
                    <a:gd name="connsiteY533" fmla="*/ 508000 h 1238250"/>
                    <a:gd name="connsiteX534" fmla="*/ 246062 w 1123950"/>
                    <a:gd name="connsiteY534" fmla="*/ 514350 h 1238250"/>
                    <a:gd name="connsiteX535" fmla="*/ 230187 w 1123950"/>
                    <a:gd name="connsiteY535" fmla="*/ 508000 h 1238250"/>
                    <a:gd name="connsiteX536" fmla="*/ 228600 w 1123950"/>
                    <a:gd name="connsiteY536" fmla="*/ 508000 h 1238250"/>
                    <a:gd name="connsiteX537" fmla="*/ 227012 w 1123950"/>
                    <a:gd name="connsiteY537" fmla="*/ 504825 h 1238250"/>
                    <a:gd name="connsiteX538" fmla="*/ 219075 w 1123950"/>
                    <a:gd name="connsiteY538" fmla="*/ 503237 h 1238250"/>
                    <a:gd name="connsiteX539" fmla="*/ 217487 w 1123950"/>
                    <a:gd name="connsiteY539" fmla="*/ 503237 h 1238250"/>
                    <a:gd name="connsiteX540" fmla="*/ 206375 w 1123950"/>
                    <a:gd name="connsiteY540" fmla="*/ 508000 h 1238250"/>
                    <a:gd name="connsiteX541" fmla="*/ 206375 w 1123950"/>
                    <a:gd name="connsiteY541" fmla="*/ 530225 h 1238250"/>
                    <a:gd name="connsiteX542" fmla="*/ 206375 w 1123950"/>
                    <a:gd name="connsiteY542" fmla="*/ 531812 h 1238250"/>
                    <a:gd name="connsiteX543" fmla="*/ 211137 w 1123950"/>
                    <a:gd name="connsiteY543" fmla="*/ 534987 h 1238250"/>
                    <a:gd name="connsiteX544" fmla="*/ 212725 w 1123950"/>
                    <a:gd name="connsiteY544" fmla="*/ 536575 h 1238250"/>
                    <a:gd name="connsiteX545" fmla="*/ 212725 w 1123950"/>
                    <a:gd name="connsiteY545" fmla="*/ 538162 h 1238250"/>
                    <a:gd name="connsiteX546" fmla="*/ 211137 w 1123950"/>
                    <a:gd name="connsiteY546" fmla="*/ 542925 h 1238250"/>
                    <a:gd name="connsiteX547" fmla="*/ 207962 w 1123950"/>
                    <a:gd name="connsiteY547" fmla="*/ 546100 h 1238250"/>
                    <a:gd name="connsiteX548" fmla="*/ 206375 w 1123950"/>
                    <a:gd name="connsiteY548" fmla="*/ 546100 h 1238250"/>
                    <a:gd name="connsiteX549" fmla="*/ 204787 w 1123950"/>
                    <a:gd name="connsiteY549" fmla="*/ 546100 h 1238250"/>
                    <a:gd name="connsiteX550" fmla="*/ 188912 w 1123950"/>
                    <a:gd name="connsiteY550" fmla="*/ 534987 h 1238250"/>
                    <a:gd name="connsiteX551" fmla="*/ 174625 w 1123950"/>
                    <a:gd name="connsiteY551" fmla="*/ 523875 h 1238250"/>
                    <a:gd name="connsiteX552" fmla="*/ 173037 w 1123950"/>
                    <a:gd name="connsiteY552" fmla="*/ 523875 h 1238250"/>
                    <a:gd name="connsiteX553" fmla="*/ 173037 w 1123950"/>
                    <a:gd name="connsiteY553" fmla="*/ 520700 h 1238250"/>
                    <a:gd name="connsiteX554" fmla="*/ 171450 w 1123950"/>
                    <a:gd name="connsiteY554" fmla="*/ 520700 h 1238250"/>
                    <a:gd name="connsiteX555" fmla="*/ 161925 w 1123950"/>
                    <a:gd name="connsiteY555" fmla="*/ 515937 h 1238250"/>
                    <a:gd name="connsiteX556" fmla="*/ 160337 w 1123950"/>
                    <a:gd name="connsiteY556" fmla="*/ 514350 h 1238250"/>
                    <a:gd name="connsiteX557" fmla="*/ 157162 w 1123950"/>
                    <a:gd name="connsiteY557" fmla="*/ 515937 h 1238250"/>
                    <a:gd name="connsiteX558" fmla="*/ 155575 w 1123950"/>
                    <a:gd name="connsiteY558" fmla="*/ 523875 h 1238250"/>
                    <a:gd name="connsiteX559" fmla="*/ 150812 w 1123950"/>
                    <a:gd name="connsiteY559" fmla="*/ 523875 h 1238250"/>
                    <a:gd name="connsiteX560" fmla="*/ 155575 w 1123950"/>
                    <a:gd name="connsiteY560" fmla="*/ 514350 h 1238250"/>
                    <a:gd name="connsiteX561" fmla="*/ 157162 w 1123950"/>
                    <a:gd name="connsiteY561" fmla="*/ 501650 h 1238250"/>
                    <a:gd name="connsiteX562" fmla="*/ 152400 w 1123950"/>
                    <a:gd name="connsiteY562" fmla="*/ 492125 h 1238250"/>
                    <a:gd name="connsiteX563" fmla="*/ 155575 w 1123950"/>
                    <a:gd name="connsiteY563" fmla="*/ 493712 h 1238250"/>
                    <a:gd name="connsiteX564" fmla="*/ 157162 w 1123950"/>
                    <a:gd name="connsiteY564" fmla="*/ 496887 h 1238250"/>
                    <a:gd name="connsiteX565" fmla="*/ 161925 w 1123950"/>
                    <a:gd name="connsiteY565" fmla="*/ 498475 h 1238250"/>
                    <a:gd name="connsiteX566" fmla="*/ 168275 w 1123950"/>
                    <a:gd name="connsiteY566" fmla="*/ 509587 h 1238250"/>
                    <a:gd name="connsiteX567" fmla="*/ 171450 w 1123950"/>
                    <a:gd name="connsiteY567" fmla="*/ 512762 h 1238250"/>
                    <a:gd name="connsiteX568" fmla="*/ 171450 w 1123950"/>
                    <a:gd name="connsiteY568" fmla="*/ 509587 h 1238250"/>
                    <a:gd name="connsiteX569" fmla="*/ 168275 w 1123950"/>
                    <a:gd name="connsiteY569" fmla="*/ 504825 h 1238250"/>
                    <a:gd name="connsiteX570" fmla="*/ 155575 w 1123950"/>
                    <a:gd name="connsiteY570" fmla="*/ 485775 h 1238250"/>
                    <a:gd name="connsiteX571" fmla="*/ 149225 w 1123950"/>
                    <a:gd name="connsiteY571" fmla="*/ 481012 h 1238250"/>
                    <a:gd name="connsiteX572" fmla="*/ 146050 w 1123950"/>
                    <a:gd name="connsiteY572" fmla="*/ 482600 h 1238250"/>
                    <a:gd name="connsiteX573" fmla="*/ 144462 w 1123950"/>
                    <a:gd name="connsiteY573" fmla="*/ 481012 h 1238250"/>
                    <a:gd name="connsiteX574" fmla="*/ 146050 w 1123950"/>
                    <a:gd name="connsiteY574" fmla="*/ 476250 h 1238250"/>
                    <a:gd name="connsiteX575" fmla="*/ 138112 w 1123950"/>
                    <a:gd name="connsiteY575" fmla="*/ 463550 h 1238250"/>
                    <a:gd name="connsiteX576" fmla="*/ 138112 w 1123950"/>
                    <a:gd name="connsiteY576" fmla="*/ 460375 h 1238250"/>
                    <a:gd name="connsiteX577" fmla="*/ 134937 w 1123950"/>
                    <a:gd name="connsiteY577" fmla="*/ 460375 h 1238250"/>
                    <a:gd name="connsiteX578" fmla="*/ 130175 w 1123950"/>
                    <a:gd name="connsiteY578" fmla="*/ 458787 h 1238250"/>
                    <a:gd name="connsiteX579" fmla="*/ 123825 w 1123950"/>
                    <a:gd name="connsiteY579" fmla="*/ 454025 h 1238250"/>
                    <a:gd name="connsiteX580" fmla="*/ 122237 w 1123950"/>
                    <a:gd name="connsiteY580" fmla="*/ 452437 h 1238250"/>
                    <a:gd name="connsiteX581" fmla="*/ 115887 w 1123950"/>
                    <a:gd name="connsiteY581" fmla="*/ 447675 h 1238250"/>
                    <a:gd name="connsiteX582" fmla="*/ 111125 w 1123950"/>
                    <a:gd name="connsiteY582" fmla="*/ 441325 h 1238250"/>
                    <a:gd name="connsiteX583" fmla="*/ 101600 w 1123950"/>
                    <a:gd name="connsiteY583" fmla="*/ 427037 h 1238250"/>
                    <a:gd name="connsiteX584" fmla="*/ 100012 w 1123950"/>
                    <a:gd name="connsiteY584" fmla="*/ 425450 h 1238250"/>
                    <a:gd name="connsiteX585" fmla="*/ 90487 w 1123950"/>
                    <a:gd name="connsiteY585" fmla="*/ 419100 h 1238250"/>
                    <a:gd name="connsiteX586" fmla="*/ 82550 w 1123950"/>
                    <a:gd name="connsiteY586" fmla="*/ 409575 h 1238250"/>
                    <a:gd name="connsiteX587" fmla="*/ 73025 w 1123950"/>
                    <a:gd name="connsiteY587" fmla="*/ 401637 h 1238250"/>
                    <a:gd name="connsiteX588" fmla="*/ 71437 w 1123950"/>
                    <a:gd name="connsiteY588" fmla="*/ 398462 h 1238250"/>
                    <a:gd name="connsiteX589" fmla="*/ 71437 w 1123950"/>
                    <a:gd name="connsiteY589" fmla="*/ 396875 h 1238250"/>
                    <a:gd name="connsiteX590" fmla="*/ 73025 w 1123950"/>
                    <a:gd name="connsiteY590" fmla="*/ 396875 h 1238250"/>
                    <a:gd name="connsiteX591" fmla="*/ 73025 w 1123950"/>
                    <a:gd name="connsiteY591" fmla="*/ 393700 h 1238250"/>
                    <a:gd name="connsiteX592" fmla="*/ 74612 w 1123950"/>
                    <a:gd name="connsiteY592" fmla="*/ 392112 h 1238250"/>
                    <a:gd name="connsiteX593" fmla="*/ 77787 w 1123950"/>
                    <a:gd name="connsiteY593" fmla="*/ 392112 h 1238250"/>
                    <a:gd name="connsiteX594" fmla="*/ 77787 w 1123950"/>
                    <a:gd name="connsiteY594" fmla="*/ 390525 h 1238250"/>
                    <a:gd name="connsiteX595" fmla="*/ 77787 w 1123950"/>
                    <a:gd name="connsiteY595" fmla="*/ 387350 h 1238250"/>
                    <a:gd name="connsiteX596" fmla="*/ 74612 w 1123950"/>
                    <a:gd name="connsiteY596" fmla="*/ 376237 h 1238250"/>
                    <a:gd name="connsiteX597" fmla="*/ 74612 w 1123950"/>
                    <a:gd name="connsiteY597" fmla="*/ 374650 h 1238250"/>
                    <a:gd name="connsiteX598" fmla="*/ 73025 w 1123950"/>
                    <a:gd name="connsiteY598" fmla="*/ 369887 h 1238250"/>
                    <a:gd name="connsiteX599" fmla="*/ 71437 w 1123950"/>
                    <a:gd name="connsiteY599" fmla="*/ 368300 h 1238250"/>
                    <a:gd name="connsiteX600" fmla="*/ 68262 w 1123950"/>
                    <a:gd name="connsiteY600" fmla="*/ 358775 h 1238250"/>
                    <a:gd name="connsiteX601" fmla="*/ 63500 w 1123950"/>
                    <a:gd name="connsiteY601" fmla="*/ 347662 h 1238250"/>
                    <a:gd name="connsiteX602" fmla="*/ 61912 w 1123950"/>
                    <a:gd name="connsiteY602" fmla="*/ 344487 h 1238250"/>
                    <a:gd name="connsiteX603" fmla="*/ 61912 w 1123950"/>
                    <a:gd name="connsiteY603" fmla="*/ 342900 h 1238250"/>
                    <a:gd name="connsiteX604" fmla="*/ 63500 w 1123950"/>
                    <a:gd name="connsiteY604" fmla="*/ 341312 h 1238250"/>
                    <a:gd name="connsiteX605" fmla="*/ 63500 w 1123950"/>
                    <a:gd name="connsiteY605" fmla="*/ 327025 h 1238250"/>
                    <a:gd name="connsiteX606" fmla="*/ 66675 w 1123950"/>
                    <a:gd name="connsiteY606" fmla="*/ 325437 h 1238250"/>
                    <a:gd name="connsiteX607" fmla="*/ 66675 w 1123950"/>
                    <a:gd name="connsiteY607" fmla="*/ 322262 h 1238250"/>
                    <a:gd name="connsiteX608" fmla="*/ 68262 w 1123950"/>
                    <a:gd name="connsiteY608" fmla="*/ 320675 h 1238250"/>
                    <a:gd name="connsiteX609" fmla="*/ 68262 w 1123950"/>
                    <a:gd name="connsiteY609" fmla="*/ 319087 h 1238250"/>
                    <a:gd name="connsiteX610" fmla="*/ 66675 w 1123950"/>
                    <a:gd name="connsiteY610" fmla="*/ 300037 h 1238250"/>
                    <a:gd name="connsiteX611" fmla="*/ 63500 w 1123950"/>
                    <a:gd name="connsiteY611" fmla="*/ 298450 h 1238250"/>
                    <a:gd name="connsiteX612" fmla="*/ 60325 w 1123950"/>
                    <a:gd name="connsiteY612" fmla="*/ 287337 h 1238250"/>
                    <a:gd name="connsiteX613" fmla="*/ 55562 w 1123950"/>
                    <a:gd name="connsiteY613" fmla="*/ 277812 h 1238250"/>
                    <a:gd name="connsiteX614" fmla="*/ 47625 w 1123950"/>
                    <a:gd name="connsiteY614" fmla="*/ 266700 h 1238250"/>
                    <a:gd name="connsiteX615" fmla="*/ 33337 w 1123950"/>
                    <a:gd name="connsiteY615" fmla="*/ 249237 h 1238250"/>
                    <a:gd name="connsiteX616" fmla="*/ 30162 w 1123950"/>
                    <a:gd name="connsiteY616" fmla="*/ 247650 h 1238250"/>
                    <a:gd name="connsiteX617" fmla="*/ 30162 w 1123950"/>
                    <a:gd name="connsiteY617" fmla="*/ 244475 h 1238250"/>
                    <a:gd name="connsiteX618" fmla="*/ 28575 w 1123950"/>
                    <a:gd name="connsiteY618" fmla="*/ 244475 h 1238250"/>
                    <a:gd name="connsiteX619" fmla="*/ 23812 w 1123950"/>
                    <a:gd name="connsiteY619" fmla="*/ 242887 h 1238250"/>
                    <a:gd name="connsiteX620" fmla="*/ 22225 w 1123950"/>
                    <a:gd name="connsiteY620" fmla="*/ 241300 h 1238250"/>
                    <a:gd name="connsiteX621" fmla="*/ 17462 w 1123950"/>
                    <a:gd name="connsiteY621" fmla="*/ 238125 h 1238250"/>
                    <a:gd name="connsiteX622" fmla="*/ 7937 w 1123950"/>
                    <a:gd name="connsiteY622" fmla="*/ 230187 h 1238250"/>
                    <a:gd name="connsiteX623" fmla="*/ 6350 w 1123950"/>
                    <a:gd name="connsiteY623" fmla="*/ 227012 h 1238250"/>
                    <a:gd name="connsiteX624" fmla="*/ 3175 w 1123950"/>
                    <a:gd name="connsiteY624" fmla="*/ 227012 h 1238250"/>
                    <a:gd name="connsiteX625" fmla="*/ 3175 w 1123950"/>
                    <a:gd name="connsiteY625" fmla="*/ 225425 h 1238250"/>
                    <a:gd name="connsiteX626" fmla="*/ 3175 w 1123950"/>
                    <a:gd name="connsiteY626" fmla="*/ 222250 h 1238250"/>
                    <a:gd name="connsiteX627" fmla="*/ 3175 w 1123950"/>
                    <a:gd name="connsiteY627" fmla="*/ 220662 h 1238250"/>
                    <a:gd name="connsiteX628" fmla="*/ 6350 w 1123950"/>
                    <a:gd name="connsiteY628" fmla="*/ 220662 h 1238250"/>
                    <a:gd name="connsiteX629" fmla="*/ 6350 w 1123950"/>
                    <a:gd name="connsiteY629" fmla="*/ 219075 h 1238250"/>
                    <a:gd name="connsiteX630" fmla="*/ 3175 w 1123950"/>
                    <a:gd name="connsiteY630" fmla="*/ 215900 h 1238250"/>
                    <a:gd name="connsiteX631" fmla="*/ 1587 w 1123950"/>
                    <a:gd name="connsiteY631" fmla="*/ 207962 h 1238250"/>
                    <a:gd name="connsiteX632" fmla="*/ 1587 w 1123950"/>
                    <a:gd name="connsiteY632" fmla="*/ 204787 h 1238250"/>
                    <a:gd name="connsiteX633" fmla="*/ 0 w 1123950"/>
                    <a:gd name="connsiteY633" fmla="*/ 203200 h 1238250"/>
                    <a:gd name="connsiteX634" fmla="*/ 1587 w 1123950"/>
                    <a:gd name="connsiteY634" fmla="*/ 192087 h 1238250"/>
                    <a:gd name="connsiteX635" fmla="*/ 3175 w 1123950"/>
                    <a:gd name="connsiteY635" fmla="*/ 185737 h 1238250"/>
                    <a:gd name="connsiteX636" fmla="*/ 11112 w 1123950"/>
                    <a:gd name="connsiteY636" fmla="*/ 169862 h 1238250"/>
                    <a:gd name="connsiteX637" fmla="*/ 11112 w 1123950"/>
                    <a:gd name="connsiteY637" fmla="*/ 166687 h 1238250"/>
                    <a:gd name="connsiteX638" fmla="*/ 12700 w 1123950"/>
                    <a:gd name="connsiteY638" fmla="*/ 166687 h 1238250"/>
                    <a:gd name="connsiteX639" fmla="*/ 12700 w 1123950"/>
                    <a:gd name="connsiteY639" fmla="*/ 165100 h 1238250"/>
                    <a:gd name="connsiteX640" fmla="*/ 14287 w 1123950"/>
                    <a:gd name="connsiteY640" fmla="*/ 163512 h 1238250"/>
                    <a:gd name="connsiteX641" fmla="*/ 19050 w 1123950"/>
                    <a:gd name="connsiteY641" fmla="*/ 163512 h 1238250"/>
                    <a:gd name="connsiteX642" fmla="*/ 23812 w 1123950"/>
                    <a:gd name="connsiteY642" fmla="*/ 153987 h 1238250"/>
                    <a:gd name="connsiteX643" fmla="*/ 30162 w 1123950"/>
                    <a:gd name="connsiteY643" fmla="*/ 131762 h 1238250"/>
                    <a:gd name="connsiteX644" fmla="*/ 30162 w 1123950"/>
                    <a:gd name="connsiteY644" fmla="*/ 127000 h 1238250"/>
                    <a:gd name="connsiteX645" fmla="*/ 30162 w 1123950"/>
                    <a:gd name="connsiteY645" fmla="*/ 125412 h 1238250"/>
                    <a:gd name="connsiteX646" fmla="*/ 28575 w 1123950"/>
                    <a:gd name="connsiteY646" fmla="*/ 122237 h 1238250"/>
                    <a:gd name="connsiteX647" fmla="*/ 25400 w 1123950"/>
                    <a:gd name="connsiteY647" fmla="*/ 109537 h 1238250"/>
                    <a:gd name="connsiteX648" fmla="*/ 30162 w 1123950"/>
                    <a:gd name="connsiteY648" fmla="*/ 98425 h 1238250"/>
                    <a:gd name="connsiteX649" fmla="*/ 30162 w 1123950"/>
                    <a:gd name="connsiteY649" fmla="*/ 95250 h 1238250"/>
                    <a:gd name="connsiteX650" fmla="*/ 33337 w 1123950"/>
                    <a:gd name="connsiteY650" fmla="*/ 84137 h 1238250"/>
                    <a:gd name="connsiteX651" fmla="*/ 34925 w 1123950"/>
                    <a:gd name="connsiteY651" fmla="*/ 77787 h 1238250"/>
                    <a:gd name="connsiteX652" fmla="*/ 34925 w 1123950"/>
                    <a:gd name="connsiteY652" fmla="*/ 73025 h 1238250"/>
                    <a:gd name="connsiteX653" fmla="*/ 34925 w 1123950"/>
                    <a:gd name="connsiteY653" fmla="*/ 71437 h 1238250"/>
                    <a:gd name="connsiteX654" fmla="*/ 34925 w 1123950"/>
                    <a:gd name="connsiteY654" fmla="*/ 69850 h 1238250"/>
                    <a:gd name="connsiteX655" fmla="*/ 33337 w 1123950"/>
                    <a:gd name="connsiteY655" fmla="*/ 61912 h 1238250"/>
                    <a:gd name="connsiteX656" fmla="*/ 28575 w 1123950"/>
                    <a:gd name="connsiteY656" fmla="*/ 39687 h 1238250"/>
                    <a:gd name="connsiteX657" fmla="*/ 19050 w 1123950"/>
                    <a:gd name="connsiteY657" fmla="*/ 31750 h 1238250"/>
                    <a:gd name="connsiteX658" fmla="*/ 17462 w 1123950"/>
                    <a:gd name="connsiteY658" fmla="*/ 22225 h 1238250"/>
                    <a:gd name="connsiteX659" fmla="*/ 19050 w 1123950"/>
                    <a:gd name="connsiteY659" fmla="*/ 20637 h 1238250"/>
                    <a:gd name="connsiteX660" fmla="*/ 19050 w 1123950"/>
                    <a:gd name="connsiteY660" fmla="*/ 17462 h 1238250"/>
                    <a:gd name="connsiteX661" fmla="*/ 19050 w 1123950"/>
                    <a:gd name="connsiteY661" fmla="*/ 15875 h 1238250"/>
                    <a:gd name="connsiteX662" fmla="*/ 22225 w 1123950"/>
                    <a:gd name="connsiteY662" fmla="*/ 6350 h 1238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</a:cxnLst>
                  <a:rect l="l" t="t" r="r" b="b"/>
                  <a:pathLst>
                    <a:path w="1123950" h="1238250">
                      <a:moveTo>
                        <a:pt x="631825" y="1171575"/>
                      </a:moveTo>
                      <a:lnTo>
                        <a:pt x="633413" y="1171575"/>
                      </a:lnTo>
                      <a:lnTo>
                        <a:pt x="636588" y="1171575"/>
                      </a:lnTo>
                      <a:lnTo>
                        <a:pt x="638175" y="1171575"/>
                      </a:lnTo>
                      <a:lnTo>
                        <a:pt x="639763" y="1177925"/>
                      </a:lnTo>
                      <a:lnTo>
                        <a:pt x="639763" y="1179513"/>
                      </a:lnTo>
                      <a:lnTo>
                        <a:pt x="642938" y="1182688"/>
                      </a:lnTo>
                      <a:lnTo>
                        <a:pt x="644525" y="1187450"/>
                      </a:lnTo>
                      <a:lnTo>
                        <a:pt x="650875" y="1193800"/>
                      </a:lnTo>
                      <a:lnTo>
                        <a:pt x="658813" y="1198563"/>
                      </a:lnTo>
                      <a:lnTo>
                        <a:pt x="658813" y="1200151"/>
                      </a:lnTo>
                      <a:lnTo>
                        <a:pt x="654051" y="1201738"/>
                      </a:lnTo>
                      <a:lnTo>
                        <a:pt x="650875" y="1201738"/>
                      </a:lnTo>
                      <a:lnTo>
                        <a:pt x="644525" y="1198563"/>
                      </a:lnTo>
                      <a:lnTo>
                        <a:pt x="644525" y="1195388"/>
                      </a:lnTo>
                      <a:lnTo>
                        <a:pt x="642938" y="1195388"/>
                      </a:lnTo>
                      <a:lnTo>
                        <a:pt x="638175" y="1187450"/>
                      </a:lnTo>
                      <a:lnTo>
                        <a:pt x="636588" y="1179513"/>
                      </a:lnTo>
                      <a:lnTo>
                        <a:pt x="633413" y="1173163"/>
                      </a:lnTo>
                      <a:lnTo>
                        <a:pt x="631825" y="1173163"/>
                      </a:lnTo>
                      <a:close/>
                      <a:moveTo>
                        <a:pt x="527050" y="1139825"/>
                      </a:moveTo>
                      <a:lnTo>
                        <a:pt x="531812" y="1139825"/>
                      </a:lnTo>
                      <a:lnTo>
                        <a:pt x="533400" y="1139825"/>
                      </a:lnTo>
                      <a:lnTo>
                        <a:pt x="533400" y="1141412"/>
                      </a:lnTo>
                      <a:lnTo>
                        <a:pt x="536575" y="1141412"/>
                      </a:lnTo>
                      <a:lnTo>
                        <a:pt x="538162" y="1144587"/>
                      </a:lnTo>
                      <a:lnTo>
                        <a:pt x="539750" y="1144587"/>
                      </a:lnTo>
                      <a:lnTo>
                        <a:pt x="539750" y="1146175"/>
                      </a:lnTo>
                      <a:lnTo>
                        <a:pt x="542925" y="1146175"/>
                      </a:lnTo>
                      <a:lnTo>
                        <a:pt x="542925" y="1149350"/>
                      </a:lnTo>
                      <a:lnTo>
                        <a:pt x="539750" y="1149350"/>
                      </a:lnTo>
                      <a:lnTo>
                        <a:pt x="538162" y="1149350"/>
                      </a:lnTo>
                      <a:lnTo>
                        <a:pt x="536575" y="1149350"/>
                      </a:lnTo>
                      <a:lnTo>
                        <a:pt x="533400" y="1149350"/>
                      </a:lnTo>
                      <a:lnTo>
                        <a:pt x="531812" y="1149350"/>
                      </a:lnTo>
                      <a:lnTo>
                        <a:pt x="528637" y="1146175"/>
                      </a:lnTo>
                      <a:lnTo>
                        <a:pt x="527050" y="1141412"/>
                      </a:lnTo>
                      <a:close/>
                      <a:moveTo>
                        <a:pt x="633412" y="1112838"/>
                      </a:moveTo>
                      <a:lnTo>
                        <a:pt x="638175" y="1112838"/>
                      </a:lnTo>
                      <a:lnTo>
                        <a:pt x="639762" y="1112838"/>
                      </a:lnTo>
                      <a:lnTo>
                        <a:pt x="639762" y="1116013"/>
                      </a:lnTo>
                      <a:lnTo>
                        <a:pt x="649287" y="1119188"/>
                      </a:lnTo>
                      <a:lnTo>
                        <a:pt x="654050" y="1122363"/>
                      </a:lnTo>
                      <a:lnTo>
                        <a:pt x="660400" y="1127125"/>
                      </a:lnTo>
                      <a:lnTo>
                        <a:pt x="665162" y="1133475"/>
                      </a:lnTo>
                      <a:lnTo>
                        <a:pt x="665162" y="1135063"/>
                      </a:lnTo>
                      <a:lnTo>
                        <a:pt x="665162" y="1138238"/>
                      </a:lnTo>
                      <a:lnTo>
                        <a:pt x="649287" y="1135063"/>
                      </a:lnTo>
                      <a:lnTo>
                        <a:pt x="647700" y="1135063"/>
                      </a:lnTo>
                      <a:lnTo>
                        <a:pt x="633412" y="1116013"/>
                      </a:lnTo>
                      <a:close/>
                      <a:moveTo>
                        <a:pt x="473075" y="1041400"/>
                      </a:moveTo>
                      <a:lnTo>
                        <a:pt x="476250" y="1044575"/>
                      </a:lnTo>
                      <a:lnTo>
                        <a:pt x="477837" y="1049337"/>
                      </a:lnTo>
                      <a:lnTo>
                        <a:pt x="482600" y="1046162"/>
                      </a:lnTo>
                      <a:lnTo>
                        <a:pt x="482600" y="1049337"/>
                      </a:lnTo>
                      <a:lnTo>
                        <a:pt x="482600" y="1050925"/>
                      </a:lnTo>
                      <a:lnTo>
                        <a:pt x="482600" y="1052512"/>
                      </a:lnTo>
                      <a:lnTo>
                        <a:pt x="476250" y="1057275"/>
                      </a:lnTo>
                      <a:lnTo>
                        <a:pt x="473075" y="1057275"/>
                      </a:lnTo>
                      <a:lnTo>
                        <a:pt x="466725" y="1060450"/>
                      </a:lnTo>
                      <a:lnTo>
                        <a:pt x="465137" y="1060450"/>
                      </a:lnTo>
                      <a:lnTo>
                        <a:pt x="461962" y="1057275"/>
                      </a:lnTo>
                      <a:lnTo>
                        <a:pt x="460375" y="1055687"/>
                      </a:lnTo>
                      <a:lnTo>
                        <a:pt x="457200" y="1052512"/>
                      </a:lnTo>
                      <a:lnTo>
                        <a:pt x="454025" y="1046162"/>
                      </a:lnTo>
                      <a:lnTo>
                        <a:pt x="457200" y="1044575"/>
                      </a:lnTo>
                      <a:lnTo>
                        <a:pt x="465137" y="1044575"/>
                      </a:lnTo>
                      <a:close/>
                      <a:moveTo>
                        <a:pt x="438150" y="1038225"/>
                      </a:moveTo>
                      <a:lnTo>
                        <a:pt x="442913" y="1039812"/>
                      </a:lnTo>
                      <a:lnTo>
                        <a:pt x="444500" y="1039812"/>
                      </a:lnTo>
                      <a:lnTo>
                        <a:pt x="446088" y="1039812"/>
                      </a:lnTo>
                      <a:lnTo>
                        <a:pt x="446088" y="1041400"/>
                      </a:lnTo>
                      <a:lnTo>
                        <a:pt x="438150" y="1044575"/>
                      </a:lnTo>
                      <a:lnTo>
                        <a:pt x="433387" y="1041400"/>
                      </a:lnTo>
                      <a:lnTo>
                        <a:pt x="431800" y="1041400"/>
                      </a:lnTo>
                      <a:lnTo>
                        <a:pt x="431800" y="1039812"/>
                      </a:lnTo>
                      <a:lnTo>
                        <a:pt x="433387" y="1039812"/>
                      </a:lnTo>
                      <a:lnTo>
                        <a:pt x="434975" y="1039812"/>
                      </a:lnTo>
                      <a:close/>
                      <a:moveTo>
                        <a:pt x="487362" y="1035050"/>
                      </a:moveTo>
                      <a:lnTo>
                        <a:pt x="488949" y="1035050"/>
                      </a:lnTo>
                      <a:lnTo>
                        <a:pt x="493712" y="1035050"/>
                      </a:lnTo>
                      <a:lnTo>
                        <a:pt x="511174" y="1039812"/>
                      </a:lnTo>
                      <a:lnTo>
                        <a:pt x="522287" y="1039812"/>
                      </a:lnTo>
                      <a:lnTo>
                        <a:pt x="527049" y="1038225"/>
                      </a:lnTo>
                      <a:lnTo>
                        <a:pt x="531812" y="1039812"/>
                      </a:lnTo>
                      <a:lnTo>
                        <a:pt x="531812" y="1041400"/>
                      </a:lnTo>
                      <a:lnTo>
                        <a:pt x="531812" y="1044575"/>
                      </a:lnTo>
                      <a:lnTo>
                        <a:pt x="528637" y="1044575"/>
                      </a:lnTo>
                      <a:lnTo>
                        <a:pt x="522287" y="1046162"/>
                      </a:lnTo>
                      <a:lnTo>
                        <a:pt x="511174" y="1050925"/>
                      </a:lnTo>
                      <a:lnTo>
                        <a:pt x="509587" y="1050925"/>
                      </a:lnTo>
                      <a:lnTo>
                        <a:pt x="503237" y="1050925"/>
                      </a:lnTo>
                      <a:lnTo>
                        <a:pt x="495299" y="1050925"/>
                      </a:lnTo>
                      <a:lnTo>
                        <a:pt x="493712" y="1049337"/>
                      </a:lnTo>
                      <a:lnTo>
                        <a:pt x="487362" y="1038225"/>
                      </a:lnTo>
                      <a:close/>
                      <a:moveTo>
                        <a:pt x="279400" y="514350"/>
                      </a:moveTo>
                      <a:lnTo>
                        <a:pt x="282575" y="514350"/>
                      </a:lnTo>
                      <a:lnTo>
                        <a:pt x="282575" y="515938"/>
                      </a:lnTo>
                      <a:lnTo>
                        <a:pt x="279400" y="515938"/>
                      </a:lnTo>
                      <a:close/>
                      <a:moveTo>
                        <a:pt x="257175" y="509588"/>
                      </a:moveTo>
                      <a:lnTo>
                        <a:pt x="260350" y="509588"/>
                      </a:lnTo>
                      <a:lnTo>
                        <a:pt x="261938" y="512763"/>
                      </a:lnTo>
                      <a:lnTo>
                        <a:pt x="260350" y="512763"/>
                      </a:lnTo>
                      <a:close/>
                      <a:moveTo>
                        <a:pt x="19050" y="0"/>
                      </a:moveTo>
                      <a:lnTo>
                        <a:pt x="46037" y="0"/>
                      </a:lnTo>
                      <a:lnTo>
                        <a:pt x="177800" y="0"/>
                      </a:lnTo>
                      <a:lnTo>
                        <a:pt x="241300" y="0"/>
                      </a:lnTo>
                      <a:lnTo>
                        <a:pt x="334962" y="0"/>
                      </a:lnTo>
                      <a:lnTo>
                        <a:pt x="444500" y="0"/>
                      </a:lnTo>
                      <a:lnTo>
                        <a:pt x="476250" y="0"/>
                      </a:lnTo>
                      <a:lnTo>
                        <a:pt x="477837" y="0"/>
                      </a:lnTo>
                      <a:lnTo>
                        <a:pt x="477837" y="392112"/>
                      </a:lnTo>
                      <a:lnTo>
                        <a:pt x="498475" y="407987"/>
                      </a:lnTo>
                      <a:lnTo>
                        <a:pt x="531812" y="434975"/>
                      </a:lnTo>
                      <a:lnTo>
                        <a:pt x="587375" y="481012"/>
                      </a:lnTo>
                      <a:lnTo>
                        <a:pt x="600075" y="493712"/>
                      </a:lnTo>
                      <a:lnTo>
                        <a:pt x="655638" y="541337"/>
                      </a:lnTo>
                      <a:lnTo>
                        <a:pt x="674688" y="557212"/>
                      </a:lnTo>
                      <a:lnTo>
                        <a:pt x="709613" y="585787"/>
                      </a:lnTo>
                      <a:lnTo>
                        <a:pt x="725488" y="601662"/>
                      </a:lnTo>
                      <a:lnTo>
                        <a:pt x="744538" y="617537"/>
                      </a:lnTo>
                      <a:lnTo>
                        <a:pt x="760413" y="631825"/>
                      </a:lnTo>
                      <a:lnTo>
                        <a:pt x="777875" y="647700"/>
                      </a:lnTo>
                      <a:lnTo>
                        <a:pt x="796925" y="663575"/>
                      </a:lnTo>
                      <a:lnTo>
                        <a:pt x="814388" y="679450"/>
                      </a:lnTo>
                      <a:lnTo>
                        <a:pt x="830263" y="692150"/>
                      </a:lnTo>
                      <a:lnTo>
                        <a:pt x="844550" y="708025"/>
                      </a:lnTo>
                      <a:lnTo>
                        <a:pt x="863600" y="723900"/>
                      </a:lnTo>
                      <a:lnTo>
                        <a:pt x="893763" y="752475"/>
                      </a:lnTo>
                      <a:lnTo>
                        <a:pt x="914400" y="769937"/>
                      </a:lnTo>
                      <a:lnTo>
                        <a:pt x="931863" y="788987"/>
                      </a:lnTo>
                      <a:lnTo>
                        <a:pt x="942975" y="800100"/>
                      </a:lnTo>
                      <a:lnTo>
                        <a:pt x="965200" y="819150"/>
                      </a:lnTo>
                      <a:lnTo>
                        <a:pt x="998538" y="850900"/>
                      </a:lnTo>
                      <a:lnTo>
                        <a:pt x="1012825" y="863600"/>
                      </a:lnTo>
                      <a:lnTo>
                        <a:pt x="1027113" y="877887"/>
                      </a:lnTo>
                      <a:lnTo>
                        <a:pt x="1063625" y="912812"/>
                      </a:lnTo>
                      <a:lnTo>
                        <a:pt x="1068388" y="917575"/>
                      </a:lnTo>
                      <a:lnTo>
                        <a:pt x="1068388" y="930275"/>
                      </a:lnTo>
                      <a:lnTo>
                        <a:pt x="1068388" y="933450"/>
                      </a:lnTo>
                      <a:lnTo>
                        <a:pt x="1074738" y="939800"/>
                      </a:lnTo>
                      <a:lnTo>
                        <a:pt x="1081088" y="947737"/>
                      </a:lnTo>
                      <a:lnTo>
                        <a:pt x="1085850" y="955675"/>
                      </a:lnTo>
                      <a:lnTo>
                        <a:pt x="1090613" y="963612"/>
                      </a:lnTo>
                      <a:lnTo>
                        <a:pt x="1095375" y="974725"/>
                      </a:lnTo>
                      <a:lnTo>
                        <a:pt x="1095375" y="977900"/>
                      </a:lnTo>
                      <a:lnTo>
                        <a:pt x="1095375" y="979487"/>
                      </a:lnTo>
                      <a:lnTo>
                        <a:pt x="1098550" y="985837"/>
                      </a:lnTo>
                      <a:lnTo>
                        <a:pt x="1106488" y="990600"/>
                      </a:lnTo>
                      <a:lnTo>
                        <a:pt x="1108075" y="993775"/>
                      </a:lnTo>
                      <a:lnTo>
                        <a:pt x="1109663" y="995362"/>
                      </a:lnTo>
                      <a:lnTo>
                        <a:pt x="1114425" y="996950"/>
                      </a:lnTo>
                      <a:lnTo>
                        <a:pt x="1117600" y="1000125"/>
                      </a:lnTo>
                      <a:lnTo>
                        <a:pt x="1119188" y="1000125"/>
                      </a:lnTo>
                      <a:lnTo>
                        <a:pt x="1119188" y="1001712"/>
                      </a:lnTo>
                      <a:lnTo>
                        <a:pt x="1120775" y="1004887"/>
                      </a:lnTo>
                      <a:lnTo>
                        <a:pt x="1123950" y="1006475"/>
                      </a:lnTo>
                      <a:lnTo>
                        <a:pt x="1123950" y="1008062"/>
                      </a:lnTo>
                      <a:lnTo>
                        <a:pt x="1123950" y="1011237"/>
                      </a:lnTo>
                      <a:lnTo>
                        <a:pt x="1112838" y="1019175"/>
                      </a:lnTo>
                      <a:lnTo>
                        <a:pt x="1109663" y="1022350"/>
                      </a:lnTo>
                      <a:lnTo>
                        <a:pt x="1101725" y="1028700"/>
                      </a:lnTo>
                      <a:lnTo>
                        <a:pt x="1096963" y="1030287"/>
                      </a:lnTo>
                      <a:lnTo>
                        <a:pt x="1095375" y="1030287"/>
                      </a:lnTo>
                      <a:lnTo>
                        <a:pt x="1092200" y="1033462"/>
                      </a:lnTo>
                      <a:lnTo>
                        <a:pt x="1092200" y="1035050"/>
                      </a:lnTo>
                      <a:lnTo>
                        <a:pt x="1090613" y="1041400"/>
                      </a:lnTo>
                      <a:lnTo>
                        <a:pt x="1090613" y="1044575"/>
                      </a:lnTo>
                      <a:lnTo>
                        <a:pt x="1087438" y="1046162"/>
                      </a:lnTo>
                      <a:lnTo>
                        <a:pt x="1085850" y="1046162"/>
                      </a:lnTo>
                      <a:lnTo>
                        <a:pt x="1084263" y="1049337"/>
                      </a:lnTo>
                      <a:lnTo>
                        <a:pt x="1081088" y="1050925"/>
                      </a:lnTo>
                      <a:lnTo>
                        <a:pt x="1079500" y="1050925"/>
                      </a:lnTo>
                      <a:lnTo>
                        <a:pt x="1079500" y="1052512"/>
                      </a:lnTo>
                      <a:lnTo>
                        <a:pt x="1081088" y="1063625"/>
                      </a:lnTo>
                      <a:lnTo>
                        <a:pt x="1081088" y="1074737"/>
                      </a:lnTo>
                      <a:lnTo>
                        <a:pt x="1084263" y="1084262"/>
                      </a:lnTo>
                      <a:lnTo>
                        <a:pt x="1079500" y="1104900"/>
                      </a:lnTo>
                      <a:lnTo>
                        <a:pt x="1068388" y="1122362"/>
                      </a:lnTo>
                      <a:lnTo>
                        <a:pt x="1065213" y="1122362"/>
                      </a:lnTo>
                      <a:lnTo>
                        <a:pt x="1063625" y="1122362"/>
                      </a:lnTo>
                      <a:lnTo>
                        <a:pt x="1057275" y="1123950"/>
                      </a:lnTo>
                      <a:lnTo>
                        <a:pt x="1057275" y="1135062"/>
                      </a:lnTo>
                      <a:lnTo>
                        <a:pt x="1058863" y="1139825"/>
                      </a:lnTo>
                      <a:lnTo>
                        <a:pt x="1060450" y="1144587"/>
                      </a:lnTo>
                      <a:lnTo>
                        <a:pt x="1063625" y="1149350"/>
                      </a:lnTo>
                      <a:lnTo>
                        <a:pt x="1063625" y="1150937"/>
                      </a:lnTo>
                      <a:lnTo>
                        <a:pt x="1063625" y="1155700"/>
                      </a:lnTo>
                      <a:lnTo>
                        <a:pt x="1060450" y="1157287"/>
                      </a:lnTo>
                      <a:lnTo>
                        <a:pt x="1060450" y="1160462"/>
                      </a:lnTo>
                      <a:lnTo>
                        <a:pt x="1058863" y="1162050"/>
                      </a:lnTo>
                      <a:lnTo>
                        <a:pt x="1058863" y="1163637"/>
                      </a:lnTo>
                      <a:lnTo>
                        <a:pt x="1058863" y="1166812"/>
                      </a:lnTo>
                      <a:lnTo>
                        <a:pt x="1060450" y="1168400"/>
                      </a:lnTo>
                      <a:lnTo>
                        <a:pt x="1063625" y="1171575"/>
                      </a:lnTo>
                      <a:lnTo>
                        <a:pt x="1063625" y="1173163"/>
                      </a:lnTo>
                      <a:lnTo>
                        <a:pt x="1069975" y="1173163"/>
                      </a:lnTo>
                      <a:lnTo>
                        <a:pt x="1071563" y="1173163"/>
                      </a:lnTo>
                      <a:lnTo>
                        <a:pt x="1074738" y="1173163"/>
                      </a:lnTo>
                      <a:lnTo>
                        <a:pt x="1076325" y="1173163"/>
                      </a:lnTo>
                      <a:lnTo>
                        <a:pt x="1079500" y="1173163"/>
                      </a:lnTo>
                      <a:lnTo>
                        <a:pt x="1081088" y="1176338"/>
                      </a:lnTo>
                      <a:lnTo>
                        <a:pt x="1085850" y="1182688"/>
                      </a:lnTo>
                      <a:lnTo>
                        <a:pt x="1085850" y="1193800"/>
                      </a:lnTo>
                      <a:lnTo>
                        <a:pt x="1085850" y="1195388"/>
                      </a:lnTo>
                      <a:lnTo>
                        <a:pt x="1085850" y="1198563"/>
                      </a:lnTo>
                      <a:lnTo>
                        <a:pt x="1079500" y="1211263"/>
                      </a:lnTo>
                      <a:lnTo>
                        <a:pt x="1076325" y="1212850"/>
                      </a:lnTo>
                      <a:lnTo>
                        <a:pt x="1074738" y="1212850"/>
                      </a:lnTo>
                      <a:lnTo>
                        <a:pt x="1069975" y="1212850"/>
                      </a:lnTo>
                      <a:lnTo>
                        <a:pt x="1068388" y="1212850"/>
                      </a:lnTo>
                      <a:lnTo>
                        <a:pt x="1065213" y="1211263"/>
                      </a:lnTo>
                      <a:lnTo>
                        <a:pt x="1063625" y="1211263"/>
                      </a:lnTo>
                      <a:lnTo>
                        <a:pt x="1060450" y="1211263"/>
                      </a:lnTo>
                      <a:lnTo>
                        <a:pt x="1058863" y="1211263"/>
                      </a:lnTo>
                      <a:lnTo>
                        <a:pt x="1057275" y="1216025"/>
                      </a:lnTo>
                      <a:lnTo>
                        <a:pt x="1041400" y="1216025"/>
                      </a:lnTo>
                      <a:lnTo>
                        <a:pt x="1023938" y="1217613"/>
                      </a:lnTo>
                      <a:lnTo>
                        <a:pt x="1003300" y="1220788"/>
                      </a:lnTo>
                      <a:lnTo>
                        <a:pt x="982663" y="1220788"/>
                      </a:lnTo>
                      <a:lnTo>
                        <a:pt x="960438" y="1222375"/>
                      </a:lnTo>
                      <a:lnTo>
                        <a:pt x="927100" y="1227138"/>
                      </a:lnTo>
                      <a:lnTo>
                        <a:pt x="890588" y="1228725"/>
                      </a:lnTo>
                      <a:lnTo>
                        <a:pt x="863600" y="1231900"/>
                      </a:lnTo>
                      <a:lnTo>
                        <a:pt x="860425" y="1231900"/>
                      </a:lnTo>
                      <a:lnTo>
                        <a:pt x="838200" y="1233488"/>
                      </a:lnTo>
                      <a:lnTo>
                        <a:pt x="815975" y="1235075"/>
                      </a:lnTo>
                      <a:lnTo>
                        <a:pt x="796925" y="1238250"/>
                      </a:lnTo>
                      <a:lnTo>
                        <a:pt x="793750" y="1238250"/>
                      </a:lnTo>
                      <a:lnTo>
                        <a:pt x="792163" y="1235075"/>
                      </a:lnTo>
                      <a:lnTo>
                        <a:pt x="788988" y="1228725"/>
                      </a:lnTo>
                      <a:lnTo>
                        <a:pt x="787400" y="1222375"/>
                      </a:lnTo>
                      <a:lnTo>
                        <a:pt x="785813" y="1220788"/>
                      </a:lnTo>
                      <a:lnTo>
                        <a:pt x="782638" y="1220788"/>
                      </a:lnTo>
                      <a:lnTo>
                        <a:pt x="785813" y="1217613"/>
                      </a:lnTo>
                      <a:lnTo>
                        <a:pt x="787400" y="1220788"/>
                      </a:lnTo>
                      <a:lnTo>
                        <a:pt x="788988" y="1227138"/>
                      </a:lnTo>
                      <a:lnTo>
                        <a:pt x="792163" y="1228725"/>
                      </a:lnTo>
                      <a:lnTo>
                        <a:pt x="793750" y="1228725"/>
                      </a:lnTo>
                      <a:lnTo>
                        <a:pt x="793750" y="1227138"/>
                      </a:lnTo>
                      <a:lnTo>
                        <a:pt x="793750" y="1223963"/>
                      </a:lnTo>
                      <a:lnTo>
                        <a:pt x="792163" y="1220788"/>
                      </a:lnTo>
                      <a:lnTo>
                        <a:pt x="792163" y="1217613"/>
                      </a:lnTo>
                      <a:lnTo>
                        <a:pt x="787400" y="1212850"/>
                      </a:lnTo>
                      <a:lnTo>
                        <a:pt x="785813" y="1212850"/>
                      </a:lnTo>
                      <a:lnTo>
                        <a:pt x="782638" y="1212850"/>
                      </a:lnTo>
                      <a:lnTo>
                        <a:pt x="782638" y="1216025"/>
                      </a:lnTo>
                      <a:lnTo>
                        <a:pt x="781050" y="1216025"/>
                      </a:lnTo>
                      <a:lnTo>
                        <a:pt x="781050" y="1217613"/>
                      </a:lnTo>
                      <a:lnTo>
                        <a:pt x="781050" y="1220788"/>
                      </a:lnTo>
                      <a:lnTo>
                        <a:pt x="781050" y="1222375"/>
                      </a:lnTo>
                      <a:lnTo>
                        <a:pt x="777875" y="1222375"/>
                      </a:lnTo>
                      <a:lnTo>
                        <a:pt x="777875" y="1217613"/>
                      </a:lnTo>
                      <a:lnTo>
                        <a:pt x="777875" y="1216025"/>
                      </a:lnTo>
                      <a:lnTo>
                        <a:pt x="777875" y="1206500"/>
                      </a:lnTo>
                      <a:lnTo>
                        <a:pt x="776288" y="1200150"/>
                      </a:lnTo>
                      <a:lnTo>
                        <a:pt x="777875" y="1198563"/>
                      </a:lnTo>
                      <a:lnTo>
                        <a:pt x="781050" y="1195388"/>
                      </a:lnTo>
                      <a:lnTo>
                        <a:pt x="781050" y="1190625"/>
                      </a:lnTo>
                      <a:lnTo>
                        <a:pt x="777875" y="1182688"/>
                      </a:lnTo>
                      <a:lnTo>
                        <a:pt x="777875" y="1179513"/>
                      </a:lnTo>
                      <a:lnTo>
                        <a:pt x="771525" y="1163637"/>
                      </a:lnTo>
                      <a:lnTo>
                        <a:pt x="771525" y="1162050"/>
                      </a:lnTo>
                      <a:lnTo>
                        <a:pt x="769938" y="1160462"/>
                      </a:lnTo>
                      <a:lnTo>
                        <a:pt x="763588" y="1146175"/>
                      </a:lnTo>
                      <a:lnTo>
                        <a:pt x="754063" y="1135062"/>
                      </a:lnTo>
                      <a:lnTo>
                        <a:pt x="754063" y="1133475"/>
                      </a:lnTo>
                      <a:lnTo>
                        <a:pt x="738188" y="1119187"/>
                      </a:lnTo>
                      <a:lnTo>
                        <a:pt x="733425" y="1116012"/>
                      </a:lnTo>
                      <a:lnTo>
                        <a:pt x="722313" y="1106487"/>
                      </a:lnTo>
                      <a:lnTo>
                        <a:pt x="714375" y="1100137"/>
                      </a:lnTo>
                      <a:lnTo>
                        <a:pt x="711200" y="1100137"/>
                      </a:lnTo>
                      <a:lnTo>
                        <a:pt x="709613" y="1100137"/>
                      </a:lnTo>
                      <a:lnTo>
                        <a:pt x="708025" y="1096962"/>
                      </a:lnTo>
                      <a:lnTo>
                        <a:pt x="704850" y="1095375"/>
                      </a:lnTo>
                      <a:lnTo>
                        <a:pt x="703263" y="1095375"/>
                      </a:lnTo>
                      <a:lnTo>
                        <a:pt x="700088" y="1093787"/>
                      </a:lnTo>
                      <a:lnTo>
                        <a:pt x="698500" y="1090612"/>
                      </a:lnTo>
                      <a:lnTo>
                        <a:pt x="696913" y="1085850"/>
                      </a:lnTo>
                      <a:lnTo>
                        <a:pt x="693738" y="1085850"/>
                      </a:lnTo>
                      <a:lnTo>
                        <a:pt x="693738" y="1084262"/>
                      </a:lnTo>
                      <a:lnTo>
                        <a:pt x="688975" y="1079500"/>
                      </a:lnTo>
                      <a:lnTo>
                        <a:pt x="687388" y="1079500"/>
                      </a:lnTo>
                      <a:lnTo>
                        <a:pt x="685800" y="1077912"/>
                      </a:lnTo>
                      <a:lnTo>
                        <a:pt x="682625" y="1077912"/>
                      </a:lnTo>
                      <a:lnTo>
                        <a:pt x="674688" y="1074737"/>
                      </a:lnTo>
                      <a:lnTo>
                        <a:pt x="669925" y="1074737"/>
                      </a:lnTo>
                      <a:lnTo>
                        <a:pt x="669925" y="1077912"/>
                      </a:lnTo>
                      <a:lnTo>
                        <a:pt x="666750" y="1077912"/>
                      </a:lnTo>
                      <a:lnTo>
                        <a:pt x="666750" y="1079500"/>
                      </a:lnTo>
                      <a:lnTo>
                        <a:pt x="669925" y="1079500"/>
                      </a:lnTo>
                      <a:lnTo>
                        <a:pt x="669925" y="1082675"/>
                      </a:lnTo>
                      <a:lnTo>
                        <a:pt x="666750" y="1082675"/>
                      </a:lnTo>
                      <a:lnTo>
                        <a:pt x="666750" y="1084262"/>
                      </a:lnTo>
                      <a:lnTo>
                        <a:pt x="665163" y="1084262"/>
                      </a:lnTo>
                      <a:lnTo>
                        <a:pt x="661988" y="1084262"/>
                      </a:lnTo>
                      <a:lnTo>
                        <a:pt x="654050" y="1079500"/>
                      </a:lnTo>
                      <a:lnTo>
                        <a:pt x="654050" y="1077912"/>
                      </a:lnTo>
                      <a:lnTo>
                        <a:pt x="650875" y="1077912"/>
                      </a:lnTo>
                      <a:lnTo>
                        <a:pt x="650875" y="1074737"/>
                      </a:lnTo>
                      <a:lnTo>
                        <a:pt x="654050" y="1071562"/>
                      </a:lnTo>
                      <a:lnTo>
                        <a:pt x="655638" y="1068387"/>
                      </a:lnTo>
                      <a:lnTo>
                        <a:pt x="655638" y="1066800"/>
                      </a:lnTo>
                      <a:lnTo>
                        <a:pt x="650875" y="1057275"/>
                      </a:lnTo>
                      <a:lnTo>
                        <a:pt x="649288" y="1055687"/>
                      </a:lnTo>
                      <a:lnTo>
                        <a:pt x="647700" y="1050925"/>
                      </a:lnTo>
                      <a:lnTo>
                        <a:pt x="647700" y="1049337"/>
                      </a:lnTo>
                      <a:lnTo>
                        <a:pt x="642938" y="1041400"/>
                      </a:lnTo>
                      <a:lnTo>
                        <a:pt x="639763" y="1039812"/>
                      </a:lnTo>
                      <a:lnTo>
                        <a:pt x="638175" y="1039812"/>
                      </a:lnTo>
                      <a:lnTo>
                        <a:pt x="636588" y="1039812"/>
                      </a:lnTo>
                      <a:lnTo>
                        <a:pt x="625475" y="1039812"/>
                      </a:lnTo>
                      <a:lnTo>
                        <a:pt x="620712" y="1039812"/>
                      </a:lnTo>
                      <a:lnTo>
                        <a:pt x="615950" y="1041400"/>
                      </a:lnTo>
                      <a:lnTo>
                        <a:pt x="614362" y="1041400"/>
                      </a:lnTo>
                      <a:lnTo>
                        <a:pt x="611187" y="1041400"/>
                      </a:lnTo>
                      <a:lnTo>
                        <a:pt x="606425" y="1041400"/>
                      </a:lnTo>
                      <a:lnTo>
                        <a:pt x="595312" y="1039812"/>
                      </a:lnTo>
                      <a:lnTo>
                        <a:pt x="592137" y="1038225"/>
                      </a:lnTo>
                      <a:lnTo>
                        <a:pt x="588962" y="1038225"/>
                      </a:lnTo>
                      <a:lnTo>
                        <a:pt x="573087" y="1030287"/>
                      </a:lnTo>
                      <a:lnTo>
                        <a:pt x="569912" y="1028700"/>
                      </a:lnTo>
                      <a:lnTo>
                        <a:pt x="565150" y="1027112"/>
                      </a:lnTo>
                      <a:lnTo>
                        <a:pt x="565150" y="1023937"/>
                      </a:lnTo>
                      <a:lnTo>
                        <a:pt x="560387" y="1017587"/>
                      </a:lnTo>
                      <a:lnTo>
                        <a:pt x="554037" y="1008062"/>
                      </a:lnTo>
                      <a:lnTo>
                        <a:pt x="542925" y="1000125"/>
                      </a:lnTo>
                      <a:lnTo>
                        <a:pt x="539750" y="996950"/>
                      </a:lnTo>
                      <a:lnTo>
                        <a:pt x="528637" y="993775"/>
                      </a:lnTo>
                      <a:lnTo>
                        <a:pt x="525462" y="990600"/>
                      </a:lnTo>
                      <a:lnTo>
                        <a:pt x="522287" y="990600"/>
                      </a:lnTo>
                      <a:lnTo>
                        <a:pt x="520700" y="990600"/>
                      </a:lnTo>
                      <a:lnTo>
                        <a:pt x="500062" y="990600"/>
                      </a:lnTo>
                      <a:lnTo>
                        <a:pt x="477837" y="985837"/>
                      </a:lnTo>
                      <a:lnTo>
                        <a:pt x="465137" y="984250"/>
                      </a:lnTo>
                      <a:lnTo>
                        <a:pt x="461962" y="984250"/>
                      </a:lnTo>
                      <a:lnTo>
                        <a:pt x="450850" y="984250"/>
                      </a:lnTo>
                      <a:lnTo>
                        <a:pt x="439737" y="985837"/>
                      </a:lnTo>
                      <a:lnTo>
                        <a:pt x="431800" y="985837"/>
                      </a:lnTo>
                      <a:lnTo>
                        <a:pt x="428625" y="985837"/>
                      </a:lnTo>
                      <a:lnTo>
                        <a:pt x="427037" y="982662"/>
                      </a:lnTo>
                      <a:lnTo>
                        <a:pt x="423862" y="979487"/>
                      </a:lnTo>
                      <a:lnTo>
                        <a:pt x="423862" y="977900"/>
                      </a:lnTo>
                      <a:lnTo>
                        <a:pt x="417512" y="973137"/>
                      </a:lnTo>
                      <a:lnTo>
                        <a:pt x="415925" y="973137"/>
                      </a:lnTo>
                      <a:lnTo>
                        <a:pt x="412750" y="973137"/>
                      </a:lnTo>
                      <a:lnTo>
                        <a:pt x="411162" y="973137"/>
                      </a:lnTo>
                      <a:lnTo>
                        <a:pt x="409575" y="971550"/>
                      </a:lnTo>
                      <a:lnTo>
                        <a:pt x="409575" y="968375"/>
                      </a:lnTo>
                      <a:lnTo>
                        <a:pt x="411162" y="962025"/>
                      </a:lnTo>
                      <a:lnTo>
                        <a:pt x="412750" y="958850"/>
                      </a:lnTo>
                      <a:lnTo>
                        <a:pt x="412750" y="957262"/>
                      </a:lnTo>
                      <a:lnTo>
                        <a:pt x="412750" y="955675"/>
                      </a:lnTo>
                      <a:lnTo>
                        <a:pt x="412750" y="952500"/>
                      </a:lnTo>
                      <a:lnTo>
                        <a:pt x="412750" y="935037"/>
                      </a:lnTo>
                      <a:lnTo>
                        <a:pt x="412750" y="933450"/>
                      </a:lnTo>
                      <a:lnTo>
                        <a:pt x="411162" y="928687"/>
                      </a:lnTo>
                      <a:lnTo>
                        <a:pt x="411162" y="914400"/>
                      </a:lnTo>
                      <a:lnTo>
                        <a:pt x="411162" y="912812"/>
                      </a:lnTo>
                      <a:lnTo>
                        <a:pt x="412750" y="903287"/>
                      </a:lnTo>
                      <a:lnTo>
                        <a:pt x="412750" y="901700"/>
                      </a:lnTo>
                      <a:lnTo>
                        <a:pt x="411162" y="896937"/>
                      </a:lnTo>
                      <a:lnTo>
                        <a:pt x="404812" y="892175"/>
                      </a:lnTo>
                      <a:lnTo>
                        <a:pt x="401637" y="892175"/>
                      </a:lnTo>
                      <a:lnTo>
                        <a:pt x="400050" y="892175"/>
                      </a:lnTo>
                      <a:lnTo>
                        <a:pt x="398462" y="892175"/>
                      </a:lnTo>
                      <a:lnTo>
                        <a:pt x="398462" y="895350"/>
                      </a:lnTo>
                      <a:lnTo>
                        <a:pt x="387350" y="889000"/>
                      </a:lnTo>
                      <a:lnTo>
                        <a:pt x="384175" y="885825"/>
                      </a:lnTo>
                      <a:lnTo>
                        <a:pt x="384175" y="881062"/>
                      </a:lnTo>
                      <a:lnTo>
                        <a:pt x="382587" y="881062"/>
                      </a:lnTo>
                      <a:lnTo>
                        <a:pt x="384175" y="879475"/>
                      </a:lnTo>
                      <a:lnTo>
                        <a:pt x="384175" y="877887"/>
                      </a:lnTo>
                      <a:lnTo>
                        <a:pt x="384175" y="874712"/>
                      </a:lnTo>
                      <a:lnTo>
                        <a:pt x="387350" y="868362"/>
                      </a:lnTo>
                      <a:lnTo>
                        <a:pt x="377825" y="857250"/>
                      </a:lnTo>
                      <a:lnTo>
                        <a:pt x="373062" y="855662"/>
                      </a:lnTo>
                      <a:lnTo>
                        <a:pt x="371475" y="855662"/>
                      </a:lnTo>
                      <a:lnTo>
                        <a:pt x="368300" y="852487"/>
                      </a:lnTo>
                      <a:lnTo>
                        <a:pt x="365125" y="847725"/>
                      </a:lnTo>
                      <a:lnTo>
                        <a:pt x="365125" y="846137"/>
                      </a:lnTo>
                      <a:lnTo>
                        <a:pt x="350837" y="830262"/>
                      </a:lnTo>
                      <a:lnTo>
                        <a:pt x="339725" y="825500"/>
                      </a:lnTo>
                      <a:lnTo>
                        <a:pt x="339725" y="823912"/>
                      </a:lnTo>
                      <a:lnTo>
                        <a:pt x="338137" y="817562"/>
                      </a:lnTo>
                      <a:lnTo>
                        <a:pt x="338137" y="814387"/>
                      </a:lnTo>
                      <a:lnTo>
                        <a:pt x="334962" y="814387"/>
                      </a:lnTo>
                      <a:lnTo>
                        <a:pt x="333375" y="812800"/>
                      </a:lnTo>
                      <a:lnTo>
                        <a:pt x="328612" y="808037"/>
                      </a:lnTo>
                      <a:lnTo>
                        <a:pt x="322262" y="800100"/>
                      </a:lnTo>
                      <a:lnTo>
                        <a:pt x="320675" y="796925"/>
                      </a:lnTo>
                      <a:lnTo>
                        <a:pt x="320675" y="795337"/>
                      </a:lnTo>
                      <a:lnTo>
                        <a:pt x="320675" y="788987"/>
                      </a:lnTo>
                      <a:lnTo>
                        <a:pt x="317500" y="785812"/>
                      </a:lnTo>
                      <a:lnTo>
                        <a:pt x="317500" y="784225"/>
                      </a:lnTo>
                      <a:lnTo>
                        <a:pt x="298450" y="762000"/>
                      </a:lnTo>
                      <a:lnTo>
                        <a:pt x="295275" y="758825"/>
                      </a:lnTo>
                      <a:lnTo>
                        <a:pt x="287337" y="754062"/>
                      </a:lnTo>
                      <a:lnTo>
                        <a:pt x="284162" y="754062"/>
                      </a:lnTo>
                      <a:lnTo>
                        <a:pt x="282575" y="752475"/>
                      </a:lnTo>
                      <a:lnTo>
                        <a:pt x="276225" y="742950"/>
                      </a:lnTo>
                      <a:lnTo>
                        <a:pt x="273050" y="742950"/>
                      </a:lnTo>
                      <a:lnTo>
                        <a:pt x="273050" y="741362"/>
                      </a:lnTo>
                      <a:lnTo>
                        <a:pt x="276225" y="741362"/>
                      </a:lnTo>
                      <a:lnTo>
                        <a:pt x="276225" y="739775"/>
                      </a:lnTo>
                      <a:lnTo>
                        <a:pt x="273050" y="735012"/>
                      </a:lnTo>
                      <a:lnTo>
                        <a:pt x="273050" y="731837"/>
                      </a:lnTo>
                      <a:lnTo>
                        <a:pt x="273050" y="728662"/>
                      </a:lnTo>
                      <a:lnTo>
                        <a:pt x="271462" y="723900"/>
                      </a:lnTo>
                      <a:lnTo>
                        <a:pt x="268287" y="717550"/>
                      </a:lnTo>
                      <a:lnTo>
                        <a:pt x="265112" y="708025"/>
                      </a:lnTo>
                      <a:lnTo>
                        <a:pt x="266700" y="708025"/>
                      </a:lnTo>
                      <a:lnTo>
                        <a:pt x="266700" y="706437"/>
                      </a:lnTo>
                      <a:lnTo>
                        <a:pt x="268287" y="701675"/>
                      </a:lnTo>
                      <a:lnTo>
                        <a:pt x="271462" y="701675"/>
                      </a:lnTo>
                      <a:lnTo>
                        <a:pt x="273050" y="701675"/>
                      </a:lnTo>
                      <a:lnTo>
                        <a:pt x="273050" y="703262"/>
                      </a:lnTo>
                      <a:lnTo>
                        <a:pt x="276225" y="703262"/>
                      </a:lnTo>
                      <a:lnTo>
                        <a:pt x="277812" y="703262"/>
                      </a:lnTo>
                      <a:lnTo>
                        <a:pt x="279400" y="701675"/>
                      </a:lnTo>
                      <a:lnTo>
                        <a:pt x="279400" y="698500"/>
                      </a:lnTo>
                      <a:lnTo>
                        <a:pt x="282575" y="696912"/>
                      </a:lnTo>
                      <a:lnTo>
                        <a:pt x="284162" y="685800"/>
                      </a:lnTo>
                      <a:lnTo>
                        <a:pt x="284162" y="679450"/>
                      </a:lnTo>
                      <a:lnTo>
                        <a:pt x="282575" y="669925"/>
                      </a:lnTo>
                      <a:lnTo>
                        <a:pt x="282575" y="668337"/>
                      </a:lnTo>
                      <a:lnTo>
                        <a:pt x="276225" y="661987"/>
                      </a:lnTo>
                      <a:lnTo>
                        <a:pt x="276225" y="658812"/>
                      </a:lnTo>
                      <a:lnTo>
                        <a:pt x="273050" y="658812"/>
                      </a:lnTo>
                      <a:lnTo>
                        <a:pt x="271462" y="657225"/>
                      </a:lnTo>
                      <a:lnTo>
                        <a:pt x="268287" y="657225"/>
                      </a:lnTo>
                      <a:lnTo>
                        <a:pt x="261937" y="657225"/>
                      </a:lnTo>
                      <a:lnTo>
                        <a:pt x="257175" y="658812"/>
                      </a:lnTo>
                      <a:lnTo>
                        <a:pt x="255587" y="658812"/>
                      </a:lnTo>
                      <a:lnTo>
                        <a:pt x="252412" y="658812"/>
                      </a:lnTo>
                      <a:lnTo>
                        <a:pt x="250825" y="658812"/>
                      </a:lnTo>
                      <a:lnTo>
                        <a:pt x="244475" y="654050"/>
                      </a:lnTo>
                      <a:lnTo>
                        <a:pt x="241300" y="654050"/>
                      </a:lnTo>
                      <a:lnTo>
                        <a:pt x="239712" y="652462"/>
                      </a:lnTo>
                      <a:lnTo>
                        <a:pt x="239712" y="650875"/>
                      </a:lnTo>
                      <a:lnTo>
                        <a:pt x="217487" y="628650"/>
                      </a:lnTo>
                      <a:lnTo>
                        <a:pt x="217487" y="625475"/>
                      </a:lnTo>
                      <a:lnTo>
                        <a:pt x="217487" y="623887"/>
                      </a:lnTo>
                      <a:lnTo>
                        <a:pt x="215900" y="623887"/>
                      </a:lnTo>
                      <a:lnTo>
                        <a:pt x="215900" y="620712"/>
                      </a:lnTo>
                      <a:lnTo>
                        <a:pt x="217487" y="619125"/>
                      </a:lnTo>
                      <a:lnTo>
                        <a:pt x="217487" y="617537"/>
                      </a:lnTo>
                      <a:lnTo>
                        <a:pt x="217487" y="612775"/>
                      </a:lnTo>
                      <a:lnTo>
                        <a:pt x="219075" y="609600"/>
                      </a:lnTo>
                      <a:lnTo>
                        <a:pt x="217487" y="606425"/>
                      </a:lnTo>
                      <a:lnTo>
                        <a:pt x="217487" y="603250"/>
                      </a:lnTo>
                      <a:lnTo>
                        <a:pt x="212725" y="592137"/>
                      </a:lnTo>
                      <a:lnTo>
                        <a:pt x="212725" y="590550"/>
                      </a:lnTo>
                      <a:lnTo>
                        <a:pt x="211137" y="587375"/>
                      </a:lnTo>
                      <a:lnTo>
                        <a:pt x="207962" y="587375"/>
                      </a:lnTo>
                      <a:lnTo>
                        <a:pt x="206375" y="587375"/>
                      </a:lnTo>
                      <a:lnTo>
                        <a:pt x="206375" y="585787"/>
                      </a:lnTo>
                      <a:lnTo>
                        <a:pt x="206375" y="584200"/>
                      </a:lnTo>
                      <a:lnTo>
                        <a:pt x="204787" y="579437"/>
                      </a:lnTo>
                      <a:lnTo>
                        <a:pt x="204787" y="576262"/>
                      </a:lnTo>
                      <a:lnTo>
                        <a:pt x="206375" y="554037"/>
                      </a:lnTo>
                      <a:lnTo>
                        <a:pt x="206375" y="552450"/>
                      </a:lnTo>
                      <a:lnTo>
                        <a:pt x="206375" y="549275"/>
                      </a:lnTo>
                      <a:lnTo>
                        <a:pt x="207962" y="547687"/>
                      </a:lnTo>
                      <a:lnTo>
                        <a:pt x="211137" y="547687"/>
                      </a:lnTo>
                      <a:lnTo>
                        <a:pt x="217487" y="547687"/>
                      </a:lnTo>
                      <a:lnTo>
                        <a:pt x="219075" y="549275"/>
                      </a:lnTo>
                      <a:lnTo>
                        <a:pt x="219075" y="552450"/>
                      </a:lnTo>
                      <a:lnTo>
                        <a:pt x="222250" y="558800"/>
                      </a:lnTo>
                      <a:lnTo>
                        <a:pt x="219075" y="563562"/>
                      </a:lnTo>
                      <a:lnTo>
                        <a:pt x="219075" y="568325"/>
                      </a:lnTo>
                      <a:lnTo>
                        <a:pt x="219075" y="573087"/>
                      </a:lnTo>
                      <a:lnTo>
                        <a:pt x="219075" y="574675"/>
                      </a:lnTo>
                      <a:lnTo>
                        <a:pt x="250825" y="592137"/>
                      </a:lnTo>
                      <a:lnTo>
                        <a:pt x="250825" y="595312"/>
                      </a:lnTo>
                      <a:lnTo>
                        <a:pt x="252412" y="595312"/>
                      </a:lnTo>
                      <a:lnTo>
                        <a:pt x="255587" y="595312"/>
                      </a:lnTo>
                      <a:lnTo>
                        <a:pt x="257175" y="595312"/>
                      </a:lnTo>
                      <a:lnTo>
                        <a:pt x="260350" y="592137"/>
                      </a:lnTo>
                      <a:lnTo>
                        <a:pt x="255587" y="590550"/>
                      </a:lnTo>
                      <a:lnTo>
                        <a:pt x="250825" y="587375"/>
                      </a:lnTo>
                      <a:lnTo>
                        <a:pt x="246062" y="576262"/>
                      </a:lnTo>
                      <a:lnTo>
                        <a:pt x="246062" y="574675"/>
                      </a:lnTo>
                      <a:lnTo>
                        <a:pt x="244475" y="573087"/>
                      </a:lnTo>
                      <a:lnTo>
                        <a:pt x="244475" y="569912"/>
                      </a:lnTo>
                      <a:lnTo>
                        <a:pt x="244475" y="568325"/>
                      </a:lnTo>
                      <a:lnTo>
                        <a:pt x="244475" y="565150"/>
                      </a:lnTo>
                      <a:lnTo>
                        <a:pt x="241300" y="563562"/>
                      </a:lnTo>
                      <a:lnTo>
                        <a:pt x="239712" y="561975"/>
                      </a:lnTo>
                      <a:lnTo>
                        <a:pt x="233362" y="554037"/>
                      </a:lnTo>
                      <a:lnTo>
                        <a:pt x="227012" y="546100"/>
                      </a:lnTo>
                      <a:lnTo>
                        <a:pt x="217487" y="530225"/>
                      </a:lnTo>
                      <a:lnTo>
                        <a:pt x="215900" y="527050"/>
                      </a:lnTo>
                      <a:lnTo>
                        <a:pt x="219075" y="523875"/>
                      </a:lnTo>
                      <a:lnTo>
                        <a:pt x="233362" y="514350"/>
                      </a:lnTo>
                      <a:lnTo>
                        <a:pt x="234950" y="514350"/>
                      </a:lnTo>
                      <a:lnTo>
                        <a:pt x="241300" y="515937"/>
                      </a:lnTo>
                      <a:lnTo>
                        <a:pt x="246062" y="519112"/>
                      </a:lnTo>
                      <a:lnTo>
                        <a:pt x="257175" y="514350"/>
                      </a:lnTo>
                      <a:lnTo>
                        <a:pt x="260350" y="514350"/>
                      </a:lnTo>
                      <a:lnTo>
                        <a:pt x="268287" y="515937"/>
                      </a:lnTo>
                      <a:lnTo>
                        <a:pt x="276225" y="515937"/>
                      </a:lnTo>
                      <a:lnTo>
                        <a:pt x="277812" y="519112"/>
                      </a:lnTo>
                      <a:lnTo>
                        <a:pt x="293687" y="520700"/>
                      </a:lnTo>
                      <a:lnTo>
                        <a:pt x="295275" y="520700"/>
                      </a:lnTo>
                      <a:lnTo>
                        <a:pt x="298450" y="519112"/>
                      </a:lnTo>
                      <a:lnTo>
                        <a:pt x="298450" y="515937"/>
                      </a:lnTo>
                      <a:lnTo>
                        <a:pt x="298450" y="514350"/>
                      </a:lnTo>
                      <a:lnTo>
                        <a:pt x="298450" y="512762"/>
                      </a:lnTo>
                      <a:lnTo>
                        <a:pt x="300037" y="512762"/>
                      </a:lnTo>
                      <a:lnTo>
                        <a:pt x="301625" y="509587"/>
                      </a:lnTo>
                      <a:lnTo>
                        <a:pt x="304800" y="509587"/>
                      </a:lnTo>
                      <a:lnTo>
                        <a:pt x="306387" y="509587"/>
                      </a:lnTo>
                      <a:lnTo>
                        <a:pt x="315912" y="515937"/>
                      </a:lnTo>
                      <a:lnTo>
                        <a:pt x="320675" y="520700"/>
                      </a:lnTo>
                      <a:lnTo>
                        <a:pt x="322262" y="523875"/>
                      </a:lnTo>
                      <a:lnTo>
                        <a:pt x="322262" y="520700"/>
                      </a:lnTo>
                      <a:lnTo>
                        <a:pt x="322262" y="519112"/>
                      </a:lnTo>
                      <a:lnTo>
                        <a:pt x="317500" y="515937"/>
                      </a:lnTo>
                      <a:lnTo>
                        <a:pt x="309562" y="508000"/>
                      </a:lnTo>
                      <a:lnTo>
                        <a:pt x="306387" y="508000"/>
                      </a:lnTo>
                      <a:lnTo>
                        <a:pt x="304800" y="508000"/>
                      </a:lnTo>
                      <a:lnTo>
                        <a:pt x="298450" y="509587"/>
                      </a:lnTo>
                      <a:lnTo>
                        <a:pt x="295275" y="509587"/>
                      </a:lnTo>
                      <a:lnTo>
                        <a:pt x="295275" y="512762"/>
                      </a:lnTo>
                      <a:lnTo>
                        <a:pt x="295275" y="514350"/>
                      </a:lnTo>
                      <a:lnTo>
                        <a:pt x="293687" y="514350"/>
                      </a:lnTo>
                      <a:lnTo>
                        <a:pt x="290512" y="515937"/>
                      </a:lnTo>
                      <a:lnTo>
                        <a:pt x="288925" y="515937"/>
                      </a:lnTo>
                      <a:lnTo>
                        <a:pt x="279400" y="512762"/>
                      </a:lnTo>
                      <a:lnTo>
                        <a:pt x="271462" y="514350"/>
                      </a:lnTo>
                      <a:lnTo>
                        <a:pt x="261937" y="509587"/>
                      </a:lnTo>
                      <a:lnTo>
                        <a:pt x="257175" y="503237"/>
                      </a:lnTo>
                      <a:lnTo>
                        <a:pt x="252412" y="508000"/>
                      </a:lnTo>
                      <a:lnTo>
                        <a:pt x="246062" y="514350"/>
                      </a:lnTo>
                      <a:lnTo>
                        <a:pt x="230187" y="508000"/>
                      </a:lnTo>
                      <a:lnTo>
                        <a:pt x="228600" y="508000"/>
                      </a:lnTo>
                      <a:lnTo>
                        <a:pt x="227012" y="504825"/>
                      </a:lnTo>
                      <a:lnTo>
                        <a:pt x="219075" y="503237"/>
                      </a:lnTo>
                      <a:lnTo>
                        <a:pt x="217487" y="503237"/>
                      </a:lnTo>
                      <a:lnTo>
                        <a:pt x="206375" y="508000"/>
                      </a:lnTo>
                      <a:lnTo>
                        <a:pt x="206375" y="530225"/>
                      </a:lnTo>
                      <a:lnTo>
                        <a:pt x="206375" y="531812"/>
                      </a:lnTo>
                      <a:lnTo>
                        <a:pt x="211137" y="534987"/>
                      </a:lnTo>
                      <a:lnTo>
                        <a:pt x="212725" y="536575"/>
                      </a:lnTo>
                      <a:lnTo>
                        <a:pt x="212725" y="538162"/>
                      </a:lnTo>
                      <a:lnTo>
                        <a:pt x="211137" y="542925"/>
                      </a:lnTo>
                      <a:lnTo>
                        <a:pt x="207962" y="546100"/>
                      </a:lnTo>
                      <a:lnTo>
                        <a:pt x="206375" y="546100"/>
                      </a:lnTo>
                      <a:lnTo>
                        <a:pt x="204787" y="546100"/>
                      </a:lnTo>
                      <a:lnTo>
                        <a:pt x="188912" y="534987"/>
                      </a:lnTo>
                      <a:lnTo>
                        <a:pt x="174625" y="523875"/>
                      </a:lnTo>
                      <a:lnTo>
                        <a:pt x="173037" y="523875"/>
                      </a:lnTo>
                      <a:lnTo>
                        <a:pt x="173037" y="520700"/>
                      </a:lnTo>
                      <a:lnTo>
                        <a:pt x="171450" y="520700"/>
                      </a:lnTo>
                      <a:lnTo>
                        <a:pt x="161925" y="515937"/>
                      </a:lnTo>
                      <a:lnTo>
                        <a:pt x="160337" y="514350"/>
                      </a:lnTo>
                      <a:lnTo>
                        <a:pt x="157162" y="515937"/>
                      </a:lnTo>
                      <a:lnTo>
                        <a:pt x="155575" y="523875"/>
                      </a:lnTo>
                      <a:lnTo>
                        <a:pt x="150812" y="523875"/>
                      </a:lnTo>
                      <a:lnTo>
                        <a:pt x="155575" y="514350"/>
                      </a:lnTo>
                      <a:lnTo>
                        <a:pt x="157162" y="501650"/>
                      </a:lnTo>
                      <a:lnTo>
                        <a:pt x="152400" y="492125"/>
                      </a:lnTo>
                      <a:lnTo>
                        <a:pt x="155575" y="493712"/>
                      </a:lnTo>
                      <a:lnTo>
                        <a:pt x="157162" y="496887"/>
                      </a:lnTo>
                      <a:lnTo>
                        <a:pt x="161925" y="498475"/>
                      </a:lnTo>
                      <a:lnTo>
                        <a:pt x="168275" y="509587"/>
                      </a:lnTo>
                      <a:lnTo>
                        <a:pt x="171450" y="512762"/>
                      </a:lnTo>
                      <a:lnTo>
                        <a:pt x="171450" y="509587"/>
                      </a:lnTo>
                      <a:lnTo>
                        <a:pt x="168275" y="504825"/>
                      </a:lnTo>
                      <a:lnTo>
                        <a:pt x="155575" y="485775"/>
                      </a:lnTo>
                      <a:lnTo>
                        <a:pt x="149225" y="481012"/>
                      </a:lnTo>
                      <a:lnTo>
                        <a:pt x="146050" y="482600"/>
                      </a:lnTo>
                      <a:lnTo>
                        <a:pt x="144462" y="481012"/>
                      </a:lnTo>
                      <a:lnTo>
                        <a:pt x="146050" y="476250"/>
                      </a:lnTo>
                      <a:lnTo>
                        <a:pt x="138112" y="463550"/>
                      </a:lnTo>
                      <a:lnTo>
                        <a:pt x="138112" y="460375"/>
                      </a:lnTo>
                      <a:lnTo>
                        <a:pt x="134937" y="460375"/>
                      </a:lnTo>
                      <a:lnTo>
                        <a:pt x="130175" y="458787"/>
                      </a:lnTo>
                      <a:lnTo>
                        <a:pt x="123825" y="454025"/>
                      </a:lnTo>
                      <a:lnTo>
                        <a:pt x="122237" y="452437"/>
                      </a:lnTo>
                      <a:lnTo>
                        <a:pt x="115887" y="447675"/>
                      </a:lnTo>
                      <a:lnTo>
                        <a:pt x="111125" y="441325"/>
                      </a:lnTo>
                      <a:lnTo>
                        <a:pt x="101600" y="427037"/>
                      </a:lnTo>
                      <a:lnTo>
                        <a:pt x="100012" y="425450"/>
                      </a:lnTo>
                      <a:lnTo>
                        <a:pt x="90487" y="419100"/>
                      </a:lnTo>
                      <a:lnTo>
                        <a:pt x="82550" y="409575"/>
                      </a:lnTo>
                      <a:lnTo>
                        <a:pt x="73025" y="401637"/>
                      </a:lnTo>
                      <a:lnTo>
                        <a:pt x="71437" y="398462"/>
                      </a:lnTo>
                      <a:lnTo>
                        <a:pt x="71437" y="396875"/>
                      </a:lnTo>
                      <a:lnTo>
                        <a:pt x="73025" y="396875"/>
                      </a:lnTo>
                      <a:lnTo>
                        <a:pt x="73025" y="393700"/>
                      </a:lnTo>
                      <a:lnTo>
                        <a:pt x="74612" y="392112"/>
                      </a:lnTo>
                      <a:lnTo>
                        <a:pt x="77787" y="392112"/>
                      </a:lnTo>
                      <a:lnTo>
                        <a:pt x="77787" y="390525"/>
                      </a:lnTo>
                      <a:lnTo>
                        <a:pt x="77787" y="387350"/>
                      </a:lnTo>
                      <a:lnTo>
                        <a:pt x="74612" y="376237"/>
                      </a:lnTo>
                      <a:lnTo>
                        <a:pt x="74612" y="374650"/>
                      </a:lnTo>
                      <a:lnTo>
                        <a:pt x="73025" y="369887"/>
                      </a:lnTo>
                      <a:lnTo>
                        <a:pt x="71437" y="368300"/>
                      </a:lnTo>
                      <a:lnTo>
                        <a:pt x="68262" y="358775"/>
                      </a:lnTo>
                      <a:lnTo>
                        <a:pt x="63500" y="347662"/>
                      </a:lnTo>
                      <a:lnTo>
                        <a:pt x="61912" y="344487"/>
                      </a:lnTo>
                      <a:lnTo>
                        <a:pt x="61912" y="342900"/>
                      </a:lnTo>
                      <a:lnTo>
                        <a:pt x="63500" y="341312"/>
                      </a:lnTo>
                      <a:lnTo>
                        <a:pt x="63500" y="327025"/>
                      </a:lnTo>
                      <a:lnTo>
                        <a:pt x="66675" y="325437"/>
                      </a:lnTo>
                      <a:lnTo>
                        <a:pt x="66675" y="322262"/>
                      </a:lnTo>
                      <a:lnTo>
                        <a:pt x="68262" y="320675"/>
                      </a:lnTo>
                      <a:lnTo>
                        <a:pt x="68262" y="319087"/>
                      </a:lnTo>
                      <a:lnTo>
                        <a:pt x="66675" y="300037"/>
                      </a:lnTo>
                      <a:lnTo>
                        <a:pt x="63500" y="298450"/>
                      </a:lnTo>
                      <a:lnTo>
                        <a:pt x="60325" y="287337"/>
                      </a:lnTo>
                      <a:lnTo>
                        <a:pt x="55562" y="277812"/>
                      </a:lnTo>
                      <a:lnTo>
                        <a:pt x="47625" y="266700"/>
                      </a:lnTo>
                      <a:lnTo>
                        <a:pt x="33337" y="249237"/>
                      </a:lnTo>
                      <a:lnTo>
                        <a:pt x="30162" y="247650"/>
                      </a:lnTo>
                      <a:lnTo>
                        <a:pt x="30162" y="244475"/>
                      </a:lnTo>
                      <a:lnTo>
                        <a:pt x="28575" y="244475"/>
                      </a:lnTo>
                      <a:lnTo>
                        <a:pt x="23812" y="242887"/>
                      </a:lnTo>
                      <a:lnTo>
                        <a:pt x="22225" y="241300"/>
                      </a:lnTo>
                      <a:lnTo>
                        <a:pt x="17462" y="238125"/>
                      </a:lnTo>
                      <a:lnTo>
                        <a:pt x="7937" y="230187"/>
                      </a:lnTo>
                      <a:lnTo>
                        <a:pt x="6350" y="227012"/>
                      </a:lnTo>
                      <a:lnTo>
                        <a:pt x="3175" y="227012"/>
                      </a:lnTo>
                      <a:lnTo>
                        <a:pt x="3175" y="225425"/>
                      </a:lnTo>
                      <a:lnTo>
                        <a:pt x="3175" y="222250"/>
                      </a:lnTo>
                      <a:lnTo>
                        <a:pt x="3175" y="220662"/>
                      </a:lnTo>
                      <a:lnTo>
                        <a:pt x="6350" y="220662"/>
                      </a:lnTo>
                      <a:lnTo>
                        <a:pt x="6350" y="219075"/>
                      </a:lnTo>
                      <a:lnTo>
                        <a:pt x="3175" y="215900"/>
                      </a:lnTo>
                      <a:lnTo>
                        <a:pt x="1587" y="207962"/>
                      </a:lnTo>
                      <a:lnTo>
                        <a:pt x="1587" y="204787"/>
                      </a:lnTo>
                      <a:lnTo>
                        <a:pt x="0" y="203200"/>
                      </a:lnTo>
                      <a:lnTo>
                        <a:pt x="1587" y="192087"/>
                      </a:lnTo>
                      <a:lnTo>
                        <a:pt x="3175" y="185737"/>
                      </a:lnTo>
                      <a:lnTo>
                        <a:pt x="11112" y="169862"/>
                      </a:lnTo>
                      <a:lnTo>
                        <a:pt x="11112" y="166687"/>
                      </a:lnTo>
                      <a:lnTo>
                        <a:pt x="12700" y="166687"/>
                      </a:lnTo>
                      <a:lnTo>
                        <a:pt x="12700" y="165100"/>
                      </a:lnTo>
                      <a:lnTo>
                        <a:pt x="14287" y="163512"/>
                      </a:lnTo>
                      <a:lnTo>
                        <a:pt x="19050" y="163512"/>
                      </a:lnTo>
                      <a:lnTo>
                        <a:pt x="23812" y="153987"/>
                      </a:lnTo>
                      <a:lnTo>
                        <a:pt x="30162" y="131762"/>
                      </a:lnTo>
                      <a:lnTo>
                        <a:pt x="30162" y="127000"/>
                      </a:lnTo>
                      <a:lnTo>
                        <a:pt x="30162" y="125412"/>
                      </a:lnTo>
                      <a:lnTo>
                        <a:pt x="28575" y="122237"/>
                      </a:lnTo>
                      <a:lnTo>
                        <a:pt x="25400" y="109537"/>
                      </a:lnTo>
                      <a:lnTo>
                        <a:pt x="30162" y="98425"/>
                      </a:lnTo>
                      <a:lnTo>
                        <a:pt x="30162" y="95250"/>
                      </a:lnTo>
                      <a:lnTo>
                        <a:pt x="33337" y="84137"/>
                      </a:lnTo>
                      <a:lnTo>
                        <a:pt x="34925" y="77787"/>
                      </a:lnTo>
                      <a:lnTo>
                        <a:pt x="34925" y="73025"/>
                      </a:lnTo>
                      <a:lnTo>
                        <a:pt x="34925" y="71437"/>
                      </a:lnTo>
                      <a:lnTo>
                        <a:pt x="34925" y="69850"/>
                      </a:lnTo>
                      <a:lnTo>
                        <a:pt x="33337" y="61912"/>
                      </a:lnTo>
                      <a:lnTo>
                        <a:pt x="28575" y="39687"/>
                      </a:lnTo>
                      <a:lnTo>
                        <a:pt x="19050" y="31750"/>
                      </a:lnTo>
                      <a:lnTo>
                        <a:pt x="17462" y="22225"/>
                      </a:lnTo>
                      <a:lnTo>
                        <a:pt x="19050" y="20637"/>
                      </a:lnTo>
                      <a:lnTo>
                        <a:pt x="19050" y="17462"/>
                      </a:lnTo>
                      <a:lnTo>
                        <a:pt x="19050" y="15875"/>
                      </a:lnTo>
                      <a:lnTo>
                        <a:pt x="22225" y="635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  <p:sp>
              <p:nvSpPr>
                <p:cNvPr id="117" name="Freeform 149"/>
                <p:cNvSpPr>
                  <a:spLocks/>
                </p:cNvSpPr>
                <p:nvPr/>
              </p:nvSpPr>
              <p:spPr bwMode="auto">
                <a:xfrm>
                  <a:off x="6596062" y="2085182"/>
                  <a:ext cx="636588" cy="327025"/>
                </a:xfrm>
                <a:custGeom>
                  <a:avLst/>
                  <a:gdLst>
                    <a:gd name="T0" fmla="*/ 393 w 401"/>
                    <a:gd name="T1" fmla="*/ 76 h 206"/>
                    <a:gd name="T2" fmla="*/ 398 w 401"/>
                    <a:gd name="T3" fmla="*/ 71 h 206"/>
                    <a:gd name="T4" fmla="*/ 401 w 401"/>
                    <a:gd name="T5" fmla="*/ 69 h 206"/>
                    <a:gd name="T6" fmla="*/ 398 w 401"/>
                    <a:gd name="T7" fmla="*/ 64 h 206"/>
                    <a:gd name="T8" fmla="*/ 397 w 401"/>
                    <a:gd name="T9" fmla="*/ 64 h 206"/>
                    <a:gd name="T10" fmla="*/ 388 w 401"/>
                    <a:gd name="T11" fmla="*/ 63 h 206"/>
                    <a:gd name="T12" fmla="*/ 381 w 401"/>
                    <a:gd name="T13" fmla="*/ 59 h 206"/>
                    <a:gd name="T14" fmla="*/ 376 w 401"/>
                    <a:gd name="T15" fmla="*/ 50 h 206"/>
                    <a:gd name="T16" fmla="*/ 376 w 401"/>
                    <a:gd name="T17" fmla="*/ 49 h 206"/>
                    <a:gd name="T18" fmla="*/ 377 w 401"/>
                    <a:gd name="T19" fmla="*/ 36 h 206"/>
                    <a:gd name="T20" fmla="*/ 373 w 401"/>
                    <a:gd name="T21" fmla="*/ 29 h 206"/>
                    <a:gd name="T22" fmla="*/ 362 w 401"/>
                    <a:gd name="T23" fmla="*/ 21 h 206"/>
                    <a:gd name="T24" fmla="*/ 329 w 401"/>
                    <a:gd name="T25" fmla="*/ 18 h 206"/>
                    <a:gd name="T26" fmla="*/ 48 w 401"/>
                    <a:gd name="T27" fmla="*/ 1 h 206"/>
                    <a:gd name="T28" fmla="*/ 10 w 401"/>
                    <a:gd name="T29" fmla="*/ 20 h 206"/>
                    <a:gd name="T30" fmla="*/ 0 w 401"/>
                    <a:gd name="T31" fmla="*/ 104 h 206"/>
                    <a:gd name="T32" fmla="*/ 71 w 401"/>
                    <a:gd name="T33" fmla="*/ 206 h 206"/>
                    <a:gd name="T34" fmla="*/ 328 w 401"/>
                    <a:gd name="T35" fmla="*/ 205 h 206"/>
                    <a:gd name="T36" fmla="*/ 329 w 401"/>
                    <a:gd name="T37" fmla="*/ 200 h 206"/>
                    <a:gd name="T38" fmla="*/ 334 w 401"/>
                    <a:gd name="T39" fmla="*/ 196 h 206"/>
                    <a:gd name="T40" fmla="*/ 338 w 401"/>
                    <a:gd name="T41" fmla="*/ 195 h 206"/>
                    <a:gd name="T42" fmla="*/ 345 w 401"/>
                    <a:gd name="T43" fmla="*/ 195 h 206"/>
                    <a:gd name="T44" fmla="*/ 350 w 401"/>
                    <a:gd name="T45" fmla="*/ 198 h 206"/>
                    <a:gd name="T46" fmla="*/ 352 w 401"/>
                    <a:gd name="T47" fmla="*/ 198 h 206"/>
                    <a:gd name="T48" fmla="*/ 356 w 401"/>
                    <a:gd name="T49" fmla="*/ 195 h 206"/>
                    <a:gd name="T50" fmla="*/ 359 w 401"/>
                    <a:gd name="T51" fmla="*/ 193 h 206"/>
                    <a:gd name="T52" fmla="*/ 370 w 401"/>
                    <a:gd name="T53" fmla="*/ 188 h 206"/>
                    <a:gd name="T54" fmla="*/ 372 w 401"/>
                    <a:gd name="T55" fmla="*/ 186 h 206"/>
                    <a:gd name="T56" fmla="*/ 373 w 401"/>
                    <a:gd name="T57" fmla="*/ 185 h 206"/>
                    <a:gd name="T58" fmla="*/ 379 w 401"/>
                    <a:gd name="T59" fmla="*/ 181 h 206"/>
                    <a:gd name="T60" fmla="*/ 398 w 401"/>
                    <a:gd name="T61" fmla="*/ 171 h 206"/>
                    <a:gd name="T62" fmla="*/ 400 w 401"/>
                    <a:gd name="T63" fmla="*/ 171 h 206"/>
                    <a:gd name="T64" fmla="*/ 400 w 401"/>
                    <a:gd name="T65" fmla="*/ 170 h 206"/>
                    <a:gd name="T66" fmla="*/ 395 w 401"/>
                    <a:gd name="T67" fmla="*/ 165 h 206"/>
                    <a:gd name="T68" fmla="*/ 376 w 401"/>
                    <a:gd name="T69" fmla="*/ 142 h 206"/>
                    <a:gd name="T70" fmla="*/ 367 w 401"/>
                    <a:gd name="T71" fmla="*/ 136 h 206"/>
                    <a:gd name="T72" fmla="*/ 366 w 401"/>
                    <a:gd name="T73" fmla="*/ 129 h 206"/>
                    <a:gd name="T74" fmla="*/ 367 w 401"/>
                    <a:gd name="T75" fmla="*/ 121 h 206"/>
                    <a:gd name="T76" fmla="*/ 370 w 401"/>
                    <a:gd name="T77" fmla="*/ 118 h 206"/>
                    <a:gd name="T78" fmla="*/ 373 w 401"/>
                    <a:gd name="T79" fmla="*/ 118 h 206"/>
                    <a:gd name="T80" fmla="*/ 376 w 401"/>
                    <a:gd name="T81" fmla="*/ 112 h 206"/>
                    <a:gd name="T82" fmla="*/ 376 w 401"/>
                    <a:gd name="T83" fmla="*/ 109 h 206"/>
                    <a:gd name="T84" fmla="*/ 374 w 401"/>
                    <a:gd name="T85" fmla="*/ 106 h 206"/>
                    <a:gd name="T86" fmla="*/ 372 w 401"/>
                    <a:gd name="T87" fmla="*/ 105 h 206"/>
                    <a:gd name="T88" fmla="*/ 372 w 401"/>
                    <a:gd name="T89" fmla="*/ 101 h 206"/>
                    <a:gd name="T90" fmla="*/ 373 w 401"/>
                    <a:gd name="T91" fmla="*/ 99 h 206"/>
                    <a:gd name="T92" fmla="*/ 381 w 401"/>
                    <a:gd name="T93" fmla="*/ 94 h 206"/>
                    <a:gd name="T94" fmla="*/ 390 w 401"/>
                    <a:gd name="T95" fmla="*/ 84 h 206"/>
                    <a:gd name="T96" fmla="*/ 390 w 401"/>
                    <a:gd name="T97" fmla="*/ 81 h 206"/>
                    <a:gd name="T98" fmla="*/ 390 w 401"/>
                    <a:gd name="T99" fmla="*/ 80 h 2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401" h="206">
                      <a:moveTo>
                        <a:pt x="390" y="80"/>
                      </a:moveTo>
                      <a:lnTo>
                        <a:pt x="393" y="77"/>
                      </a:lnTo>
                      <a:lnTo>
                        <a:pt x="393" y="76"/>
                      </a:lnTo>
                      <a:lnTo>
                        <a:pt x="395" y="74"/>
                      </a:lnTo>
                      <a:lnTo>
                        <a:pt x="395" y="73"/>
                      </a:lnTo>
                      <a:lnTo>
                        <a:pt x="398" y="71"/>
                      </a:lnTo>
                      <a:lnTo>
                        <a:pt x="401" y="70"/>
                      </a:lnTo>
                      <a:lnTo>
                        <a:pt x="401" y="70"/>
                      </a:lnTo>
                      <a:lnTo>
                        <a:pt x="401" y="69"/>
                      </a:lnTo>
                      <a:lnTo>
                        <a:pt x="401" y="69"/>
                      </a:lnTo>
                      <a:lnTo>
                        <a:pt x="401" y="69"/>
                      </a:lnTo>
                      <a:lnTo>
                        <a:pt x="398" y="64"/>
                      </a:lnTo>
                      <a:lnTo>
                        <a:pt x="398" y="64"/>
                      </a:lnTo>
                      <a:lnTo>
                        <a:pt x="397" y="64"/>
                      </a:lnTo>
                      <a:lnTo>
                        <a:pt x="397" y="64"/>
                      </a:lnTo>
                      <a:lnTo>
                        <a:pt x="395" y="64"/>
                      </a:lnTo>
                      <a:lnTo>
                        <a:pt x="388" y="63"/>
                      </a:lnTo>
                      <a:lnTo>
                        <a:pt x="388" y="63"/>
                      </a:lnTo>
                      <a:lnTo>
                        <a:pt x="381" y="60"/>
                      </a:lnTo>
                      <a:lnTo>
                        <a:pt x="381" y="60"/>
                      </a:lnTo>
                      <a:lnTo>
                        <a:pt x="381" y="59"/>
                      </a:lnTo>
                      <a:lnTo>
                        <a:pt x="380" y="57"/>
                      </a:lnTo>
                      <a:lnTo>
                        <a:pt x="379" y="55"/>
                      </a:lnTo>
                      <a:lnTo>
                        <a:pt x="376" y="50"/>
                      </a:lnTo>
                      <a:lnTo>
                        <a:pt x="376" y="49"/>
                      </a:lnTo>
                      <a:lnTo>
                        <a:pt x="376" y="49"/>
                      </a:lnTo>
                      <a:lnTo>
                        <a:pt x="376" y="49"/>
                      </a:lnTo>
                      <a:lnTo>
                        <a:pt x="377" y="48"/>
                      </a:lnTo>
                      <a:lnTo>
                        <a:pt x="377" y="38"/>
                      </a:lnTo>
                      <a:lnTo>
                        <a:pt x="377" y="36"/>
                      </a:lnTo>
                      <a:lnTo>
                        <a:pt x="376" y="32"/>
                      </a:lnTo>
                      <a:lnTo>
                        <a:pt x="374" y="32"/>
                      </a:lnTo>
                      <a:lnTo>
                        <a:pt x="373" y="29"/>
                      </a:lnTo>
                      <a:lnTo>
                        <a:pt x="369" y="28"/>
                      </a:lnTo>
                      <a:lnTo>
                        <a:pt x="367" y="28"/>
                      </a:lnTo>
                      <a:lnTo>
                        <a:pt x="362" y="21"/>
                      </a:lnTo>
                      <a:lnTo>
                        <a:pt x="356" y="18"/>
                      </a:lnTo>
                      <a:lnTo>
                        <a:pt x="355" y="18"/>
                      </a:lnTo>
                      <a:lnTo>
                        <a:pt x="329" y="18"/>
                      </a:lnTo>
                      <a:lnTo>
                        <a:pt x="52" y="18"/>
                      </a:lnTo>
                      <a:lnTo>
                        <a:pt x="52" y="0"/>
                      </a:lnTo>
                      <a:lnTo>
                        <a:pt x="48" y="1"/>
                      </a:lnTo>
                      <a:lnTo>
                        <a:pt x="35" y="8"/>
                      </a:lnTo>
                      <a:lnTo>
                        <a:pt x="24" y="14"/>
                      </a:lnTo>
                      <a:lnTo>
                        <a:pt x="10" y="20"/>
                      </a:lnTo>
                      <a:lnTo>
                        <a:pt x="0" y="22"/>
                      </a:lnTo>
                      <a:lnTo>
                        <a:pt x="0" y="102"/>
                      </a:lnTo>
                      <a:lnTo>
                        <a:pt x="0" y="104"/>
                      </a:lnTo>
                      <a:lnTo>
                        <a:pt x="0" y="129"/>
                      </a:lnTo>
                      <a:lnTo>
                        <a:pt x="0" y="206"/>
                      </a:lnTo>
                      <a:lnTo>
                        <a:pt x="71" y="206"/>
                      </a:lnTo>
                      <a:lnTo>
                        <a:pt x="327" y="206"/>
                      </a:lnTo>
                      <a:lnTo>
                        <a:pt x="327" y="205"/>
                      </a:lnTo>
                      <a:lnTo>
                        <a:pt x="328" y="205"/>
                      </a:lnTo>
                      <a:lnTo>
                        <a:pt x="328" y="203"/>
                      </a:lnTo>
                      <a:lnTo>
                        <a:pt x="328" y="202"/>
                      </a:lnTo>
                      <a:lnTo>
                        <a:pt x="329" y="200"/>
                      </a:lnTo>
                      <a:lnTo>
                        <a:pt x="331" y="199"/>
                      </a:lnTo>
                      <a:lnTo>
                        <a:pt x="332" y="198"/>
                      </a:lnTo>
                      <a:lnTo>
                        <a:pt x="334" y="196"/>
                      </a:lnTo>
                      <a:lnTo>
                        <a:pt x="334" y="196"/>
                      </a:lnTo>
                      <a:lnTo>
                        <a:pt x="336" y="195"/>
                      </a:lnTo>
                      <a:lnTo>
                        <a:pt x="338" y="195"/>
                      </a:lnTo>
                      <a:lnTo>
                        <a:pt x="341" y="195"/>
                      </a:lnTo>
                      <a:lnTo>
                        <a:pt x="342" y="195"/>
                      </a:lnTo>
                      <a:lnTo>
                        <a:pt x="345" y="195"/>
                      </a:lnTo>
                      <a:lnTo>
                        <a:pt x="346" y="195"/>
                      </a:lnTo>
                      <a:lnTo>
                        <a:pt x="348" y="196"/>
                      </a:lnTo>
                      <a:lnTo>
                        <a:pt x="350" y="198"/>
                      </a:lnTo>
                      <a:lnTo>
                        <a:pt x="352" y="198"/>
                      </a:lnTo>
                      <a:lnTo>
                        <a:pt x="352" y="198"/>
                      </a:lnTo>
                      <a:lnTo>
                        <a:pt x="352" y="198"/>
                      </a:lnTo>
                      <a:lnTo>
                        <a:pt x="352" y="198"/>
                      </a:lnTo>
                      <a:lnTo>
                        <a:pt x="355" y="195"/>
                      </a:lnTo>
                      <a:lnTo>
                        <a:pt x="356" y="195"/>
                      </a:lnTo>
                      <a:lnTo>
                        <a:pt x="356" y="195"/>
                      </a:lnTo>
                      <a:lnTo>
                        <a:pt x="359" y="193"/>
                      </a:lnTo>
                      <a:lnTo>
                        <a:pt x="359" y="193"/>
                      </a:lnTo>
                      <a:lnTo>
                        <a:pt x="365" y="193"/>
                      </a:lnTo>
                      <a:lnTo>
                        <a:pt x="369" y="191"/>
                      </a:lnTo>
                      <a:lnTo>
                        <a:pt x="370" y="188"/>
                      </a:lnTo>
                      <a:lnTo>
                        <a:pt x="370" y="188"/>
                      </a:lnTo>
                      <a:lnTo>
                        <a:pt x="372" y="188"/>
                      </a:lnTo>
                      <a:lnTo>
                        <a:pt x="372" y="186"/>
                      </a:lnTo>
                      <a:lnTo>
                        <a:pt x="372" y="185"/>
                      </a:lnTo>
                      <a:lnTo>
                        <a:pt x="373" y="185"/>
                      </a:lnTo>
                      <a:lnTo>
                        <a:pt x="373" y="185"/>
                      </a:lnTo>
                      <a:lnTo>
                        <a:pt x="376" y="182"/>
                      </a:lnTo>
                      <a:lnTo>
                        <a:pt x="377" y="182"/>
                      </a:lnTo>
                      <a:lnTo>
                        <a:pt x="379" y="181"/>
                      </a:lnTo>
                      <a:lnTo>
                        <a:pt x="379" y="181"/>
                      </a:lnTo>
                      <a:lnTo>
                        <a:pt x="383" y="179"/>
                      </a:lnTo>
                      <a:lnTo>
                        <a:pt x="398" y="171"/>
                      </a:lnTo>
                      <a:lnTo>
                        <a:pt x="398" y="171"/>
                      </a:lnTo>
                      <a:lnTo>
                        <a:pt x="398" y="171"/>
                      </a:lnTo>
                      <a:lnTo>
                        <a:pt x="400" y="171"/>
                      </a:lnTo>
                      <a:lnTo>
                        <a:pt x="400" y="170"/>
                      </a:lnTo>
                      <a:lnTo>
                        <a:pt x="400" y="170"/>
                      </a:lnTo>
                      <a:lnTo>
                        <a:pt x="400" y="170"/>
                      </a:lnTo>
                      <a:lnTo>
                        <a:pt x="400" y="168"/>
                      </a:lnTo>
                      <a:lnTo>
                        <a:pt x="400" y="168"/>
                      </a:lnTo>
                      <a:lnTo>
                        <a:pt x="395" y="165"/>
                      </a:lnTo>
                      <a:lnTo>
                        <a:pt x="388" y="157"/>
                      </a:lnTo>
                      <a:lnTo>
                        <a:pt x="380" y="149"/>
                      </a:lnTo>
                      <a:lnTo>
                        <a:pt x="376" y="142"/>
                      </a:lnTo>
                      <a:lnTo>
                        <a:pt x="369" y="136"/>
                      </a:lnTo>
                      <a:lnTo>
                        <a:pt x="367" y="136"/>
                      </a:lnTo>
                      <a:lnTo>
                        <a:pt x="367" y="136"/>
                      </a:lnTo>
                      <a:lnTo>
                        <a:pt x="367" y="135"/>
                      </a:lnTo>
                      <a:lnTo>
                        <a:pt x="367" y="135"/>
                      </a:lnTo>
                      <a:lnTo>
                        <a:pt x="366" y="129"/>
                      </a:lnTo>
                      <a:lnTo>
                        <a:pt x="366" y="125"/>
                      </a:lnTo>
                      <a:lnTo>
                        <a:pt x="367" y="121"/>
                      </a:lnTo>
                      <a:lnTo>
                        <a:pt x="367" y="121"/>
                      </a:lnTo>
                      <a:lnTo>
                        <a:pt x="369" y="118"/>
                      </a:lnTo>
                      <a:lnTo>
                        <a:pt x="370" y="118"/>
                      </a:lnTo>
                      <a:lnTo>
                        <a:pt x="370" y="118"/>
                      </a:lnTo>
                      <a:lnTo>
                        <a:pt x="372" y="118"/>
                      </a:lnTo>
                      <a:lnTo>
                        <a:pt x="372" y="118"/>
                      </a:lnTo>
                      <a:lnTo>
                        <a:pt x="373" y="118"/>
                      </a:lnTo>
                      <a:lnTo>
                        <a:pt x="373" y="116"/>
                      </a:lnTo>
                      <a:lnTo>
                        <a:pt x="376" y="112"/>
                      </a:lnTo>
                      <a:lnTo>
                        <a:pt x="376" y="112"/>
                      </a:lnTo>
                      <a:lnTo>
                        <a:pt x="376" y="111"/>
                      </a:lnTo>
                      <a:lnTo>
                        <a:pt x="377" y="111"/>
                      </a:lnTo>
                      <a:lnTo>
                        <a:pt x="376" y="109"/>
                      </a:lnTo>
                      <a:lnTo>
                        <a:pt x="374" y="108"/>
                      </a:lnTo>
                      <a:lnTo>
                        <a:pt x="374" y="106"/>
                      </a:lnTo>
                      <a:lnTo>
                        <a:pt x="374" y="106"/>
                      </a:lnTo>
                      <a:lnTo>
                        <a:pt x="373" y="105"/>
                      </a:lnTo>
                      <a:lnTo>
                        <a:pt x="373" y="105"/>
                      </a:lnTo>
                      <a:lnTo>
                        <a:pt x="372" y="105"/>
                      </a:lnTo>
                      <a:lnTo>
                        <a:pt x="372" y="102"/>
                      </a:lnTo>
                      <a:lnTo>
                        <a:pt x="372" y="102"/>
                      </a:lnTo>
                      <a:lnTo>
                        <a:pt x="372" y="101"/>
                      </a:lnTo>
                      <a:lnTo>
                        <a:pt x="372" y="101"/>
                      </a:lnTo>
                      <a:lnTo>
                        <a:pt x="373" y="99"/>
                      </a:lnTo>
                      <a:lnTo>
                        <a:pt x="373" y="99"/>
                      </a:lnTo>
                      <a:lnTo>
                        <a:pt x="374" y="98"/>
                      </a:lnTo>
                      <a:lnTo>
                        <a:pt x="379" y="97"/>
                      </a:lnTo>
                      <a:lnTo>
                        <a:pt x="381" y="94"/>
                      </a:lnTo>
                      <a:lnTo>
                        <a:pt x="388" y="85"/>
                      </a:lnTo>
                      <a:lnTo>
                        <a:pt x="388" y="84"/>
                      </a:lnTo>
                      <a:lnTo>
                        <a:pt x="390" y="84"/>
                      </a:lnTo>
                      <a:lnTo>
                        <a:pt x="390" y="83"/>
                      </a:lnTo>
                      <a:lnTo>
                        <a:pt x="390" y="83"/>
                      </a:lnTo>
                      <a:lnTo>
                        <a:pt x="390" y="81"/>
                      </a:lnTo>
                      <a:lnTo>
                        <a:pt x="390" y="81"/>
                      </a:lnTo>
                      <a:lnTo>
                        <a:pt x="390" y="80"/>
                      </a:lnTo>
                      <a:lnTo>
                        <a:pt x="390" y="8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  <p:sp>
              <p:nvSpPr>
                <p:cNvPr id="118" name="Freeform 150"/>
                <p:cNvSpPr>
                  <a:spLocks/>
                </p:cNvSpPr>
                <p:nvPr/>
              </p:nvSpPr>
              <p:spPr bwMode="auto">
                <a:xfrm>
                  <a:off x="4765675" y="1148557"/>
                  <a:ext cx="839788" cy="766763"/>
                </a:xfrm>
                <a:custGeom>
                  <a:avLst/>
                  <a:gdLst>
                    <a:gd name="T0" fmla="*/ 410 w 529"/>
                    <a:gd name="T1" fmla="*/ 458 h 483"/>
                    <a:gd name="T2" fmla="*/ 393 w 529"/>
                    <a:gd name="T3" fmla="*/ 440 h 483"/>
                    <a:gd name="T4" fmla="*/ 373 w 529"/>
                    <a:gd name="T5" fmla="*/ 430 h 483"/>
                    <a:gd name="T6" fmla="*/ 364 w 529"/>
                    <a:gd name="T7" fmla="*/ 415 h 483"/>
                    <a:gd name="T8" fmla="*/ 349 w 529"/>
                    <a:gd name="T9" fmla="*/ 406 h 483"/>
                    <a:gd name="T10" fmla="*/ 340 w 529"/>
                    <a:gd name="T11" fmla="*/ 402 h 483"/>
                    <a:gd name="T12" fmla="*/ 335 w 529"/>
                    <a:gd name="T13" fmla="*/ 396 h 483"/>
                    <a:gd name="T14" fmla="*/ 320 w 529"/>
                    <a:gd name="T15" fmla="*/ 394 h 483"/>
                    <a:gd name="T16" fmla="*/ 307 w 529"/>
                    <a:gd name="T17" fmla="*/ 364 h 483"/>
                    <a:gd name="T18" fmla="*/ 310 w 529"/>
                    <a:gd name="T19" fmla="*/ 333 h 483"/>
                    <a:gd name="T20" fmla="*/ 309 w 529"/>
                    <a:gd name="T21" fmla="*/ 315 h 483"/>
                    <a:gd name="T22" fmla="*/ 300 w 529"/>
                    <a:gd name="T23" fmla="*/ 314 h 483"/>
                    <a:gd name="T24" fmla="*/ 299 w 529"/>
                    <a:gd name="T25" fmla="*/ 302 h 483"/>
                    <a:gd name="T26" fmla="*/ 317 w 529"/>
                    <a:gd name="T27" fmla="*/ 283 h 483"/>
                    <a:gd name="T28" fmla="*/ 340 w 529"/>
                    <a:gd name="T29" fmla="*/ 223 h 483"/>
                    <a:gd name="T30" fmla="*/ 403 w 529"/>
                    <a:gd name="T31" fmla="*/ 172 h 483"/>
                    <a:gd name="T32" fmla="*/ 501 w 529"/>
                    <a:gd name="T33" fmla="*/ 126 h 483"/>
                    <a:gd name="T34" fmla="*/ 525 w 529"/>
                    <a:gd name="T35" fmla="*/ 112 h 483"/>
                    <a:gd name="T36" fmla="*/ 505 w 529"/>
                    <a:gd name="T37" fmla="*/ 113 h 483"/>
                    <a:gd name="T38" fmla="*/ 494 w 529"/>
                    <a:gd name="T39" fmla="*/ 105 h 483"/>
                    <a:gd name="T40" fmla="*/ 446 w 529"/>
                    <a:gd name="T41" fmla="*/ 105 h 483"/>
                    <a:gd name="T42" fmla="*/ 441 w 529"/>
                    <a:gd name="T43" fmla="*/ 95 h 483"/>
                    <a:gd name="T44" fmla="*/ 438 w 529"/>
                    <a:gd name="T45" fmla="*/ 94 h 483"/>
                    <a:gd name="T46" fmla="*/ 411 w 529"/>
                    <a:gd name="T47" fmla="*/ 106 h 483"/>
                    <a:gd name="T48" fmla="*/ 400 w 529"/>
                    <a:gd name="T49" fmla="*/ 109 h 483"/>
                    <a:gd name="T50" fmla="*/ 376 w 529"/>
                    <a:gd name="T51" fmla="*/ 96 h 483"/>
                    <a:gd name="T52" fmla="*/ 361 w 529"/>
                    <a:gd name="T53" fmla="*/ 91 h 483"/>
                    <a:gd name="T54" fmla="*/ 358 w 529"/>
                    <a:gd name="T55" fmla="*/ 84 h 483"/>
                    <a:gd name="T56" fmla="*/ 341 w 529"/>
                    <a:gd name="T57" fmla="*/ 85 h 483"/>
                    <a:gd name="T58" fmla="*/ 340 w 529"/>
                    <a:gd name="T59" fmla="*/ 92 h 483"/>
                    <a:gd name="T60" fmla="*/ 331 w 529"/>
                    <a:gd name="T61" fmla="*/ 87 h 483"/>
                    <a:gd name="T62" fmla="*/ 274 w 529"/>
                    <a:gd name="T63" fmla="*/ 60 h 483"/>
                    <a:gd name="T64" fmla="*/ 260 w 529"/>
                    <a:gd name="T65" fmla="*/ 66 h 483"/>
                    <a:gd name="T66" fmla="*/ 257 w 529"/>
                    <a:gd name="T67" fmla="*/ 68 h 483"/>
                    <a:gd name="T68" fmla="*/ 236 w 529"/>
                    <a:gd name="T69" fmla="*/ 68 h 483"/>
                    <a:gd name="T70" fmla="*/ 230 w 529"/>
                    <a:gd name="T71" fmla="*/ 61 h 483"/>
                    <a:gd name="T72" fmla="*/ 205 w 529"/>
                    <a:gd name="T73" fmla="*/ 57 h 483"/>
                    <a:gd name="T74" fmla="*/ 194 w 529"/>
                    <a:gd name="T75" fmla="*/ 54 h 483"/>
                    <a:gd name="T76" fmla="*/ 178 w 529"/>
                    <a:gd name="T77" fmla="*/ 51 h 483"/>
                    <a:gd name="T78" fmla="*/ 173 w 529"/>
                    <a:gd name="T79" fmla="*/ 42 h 483"/>
                    <a:gd name="T80" fmla="*/ 173 w 529"/>
                    <a:gd name="T81" fmla="*/ 33 h 483"/>
                    <a:gd name="T82" fmla="*/ 166 w 529"/>
                    <a:gd name="T83" fmla="*/ 15 h 483"/>
                    <a:gd name="T84" fmla="*/ 156 w 529"/>
                    <a:gd name="T85" fmla="*/ 0 h 483"/>
                    <a:gd name="T86" fmla="*/ 142 w 529"/>
                    <a:gd name="T87" fmla="*/ 0 h 483"/>
                    <a:gd name="T88" fmla="*/ 5 w 529"/>
                    <a:gd name="T89" fmla="*/ 46 h 483"/>
                    <a:gd name="T90" fmla="*/ 5 w 529"/>
                    <a:gd name="T91" fmla="*/ 67 h 483"/>
                    <a:gd name="T92" fmla="*/ 6 w 529"/>
                    <a:gd name="T93" fmla="*/ 94 h 483"/>
                    <a:gd name="T94" fmla="*/ 19 w 529"/>
                    <a:gd name="T95" fmla="*/ 131 h 483"/>
                    <a:gd name="T96" fmla="*/ 27 w 529"/>
                    <a:gd name="T97" fmla="*/ 196 h 483"/>
                    <a:gd name="T98" fmla="*/ 28 w 529"/>
                    <a:gd name="T99" fmla="*/ 224 h 483"/>
                    <a:gd name="T100" fmla="*/ 41 w 529"/>
                    <a:gd name="T101" fmla="*/ 249 h 483"/>
                    <a:gd name="T102" fmla="*/ 45 w 529"/>
                    <a:gd name="T103" fmla="*/ 273 h 483"/>
                    <a:gd name="T104" fmla="*/ 40 w 529"/>
                    <a:gd name="T105" fmla="*/ 298 h 483"/>
                    <a:gd name="T106" fmla="*/ 26 w 529"/>
                    <a:gd name="T107" fmla="*/ 309 h 483"/>
                    <a:gd name="T108" fmla="*/ 37 w 529"/>
                    <a:gd name="T109" fmla="*/ 326 h 483"/>
                    <a:gd name="T110" fmla="*/ 48 w 529"/>
                    <a:gd name="T111" fmla="*/ 331 h 483"/>
                    <a:gd name="T112" fmla="*/ 127 w 529"/>
                    <a:gd name="T113" fmla="*/ 483 h 4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529" h="483">
                      <a:moveTo>
                        <a:pt x="413" y="479"/>
                      </a:moveTo>
                      <a:lnTo>
                        <a:pt x="411" y="479"/>
                      </a:lnTo>
                      <a:lnTo>
                        <a:pt x="410" y="464"/>
                      </a:lnTo>
                      <a:lnTo>
                        <a:pt x="410" y="462"/>
                      </a:lnTo>
                      <a:lnTo>
                        <a:pt x="411" y="462"/>
                      </a:lnTo>
                      <a:lnTo>
                        <a:pt x="411" y="461"/>
                      </a:lnTo>
                      <a:lnTo>
                        <a:pt x="411" y="461"/>
                      </a:lnTo>
                      <a:lnTo>
                        <a:pt x="410" y="458"/>
                      </a:lnTo>
                      <a:lnTo>
                        <a:pt x="410" y="457"/>
                      </a:lnTo>
                      <a:lnTo>
                        <a:pt x="410" y="455"/>
                      </a:lnTo>
                      <a:lnTo>
                        <a:pt x="406" y="450"/>
                      </a:lnTo>
                      <a:lnTo>
                        <a:pt x="403" y="447"/>
                      </a:lnTo>
                      <a:lnTo>
                        <a:pt x="401" y="446"/>
                      </a:lnTo>
                      <a:lnTo>
                        <a:pt x="400" y="444"/>
                      </a:lnTo>
                      <a:lnTo>
                        <a:pt x="394" y="440"/>
                      </a:lnTo>
                      <a:lnTo>
                        <a:pt x="393" y="440"/>
                      </a:lnTo>
                      <a:lnTo>
                        <a:pt x="392" y="440"/>
                      </a:lnTo>
                      <a:lnTo>
                        <a:pt x="390" y="440"/>
                      </a:lnTo>
                      <a:lnTo>
                        <a:pt x="389" y="440"/>
                      </a:lnTo>
                      <a:lnTo>
                        <a:pt x="389" y="440"/>
                      </a:lnTo>
                      <a:lnTo>
                        <a:pt x="386" y="438"/>
                      </a:lnTo>
                      <a:lnTo>
                        <a:pt x="385" y="437"/>
                      </a:lnTo>
                      <a:lnTo>
                        <a:pt x="383" y="436"/>
                      </a:lnTo>
                      <a:lnTo>
                        <a:pt x="373" y="430"/>
                      </a:lnTo>
                      <a:lnTo>
                        <a:pt x="372" y="429"/>
                      </a:lnTo>
                      <a:lnTo>
                        <a:pt x="371" y="427"/>
                      </a:lnTo>
                      <a:lnTo>
                        <a:pt x="371" y="426"/>
                      </a:lnTo>
                      <a:lnTo>
                        <a:pt x="368" y="422"/>
                      </a:lnTo>
                      <a:lnTo>
                        <a:pt x="366" y="419"/>
                      </a:lnTo>
                      <a:lnTo>
                        <a:pt x="365" y="417"/>
                      </a:lnTo>
                      <a:lnTo>
                        <a:pt x="365" y="416"/>
                      </a:lnTo>
                      <a:lnTo>
                        <a:pt x="364" y="415"/>
                      </a:lnTo>
                      <a:lnTo>
                        <a:pt x="362" y="413"/>
                      </a:lnTo>
                      <a:lnTo>
                        <a:pt x="361" y="413"/>
                      </a:lnTo>
                      <a:lnTo>
                        <a:pt x="361" y="412"/>
                      </a:lnTo>
                      <a:lnTo>
                        <a:pt x="359" y="412"/>
                      </a:lnTo>
                      <a:lnTo>
                        <a:pt x="358" y="410"/>
                      </a:lnTo>
                      <a:lnTo>
                        <a:pt x="352" y="408"/>
                      </a:lnTo>
                      <a:lnTo>
                        <a:pt x="349" y="408"/>
                      </a:lnTo>
                      <a:lnTo>
                        <a:pt x="349" y="406"/>
                      </a:lnTo>
                      <a:lnTo>
                        <a:pt x="347" y="406"/>
                      </a:lnTo>
                      <a:lnTo>
                        <a:pt x="347" y="406"/>
                      </a:lnTo>
                      <a:lnTo>
                        <a:pt x="345" y="406"/>
                      </a:lnTo>
                      <a:lnTo>
                        <a:pt x="344" y="406"/>
                      </a:lnTo>
                      <a:lnTo>
                        <a:pt x="342" y="405"/>
                      </a:lnTo>
                      <a:lnTo>
                        <a:pt x="341" y="403"/>
                      </a:lnTo>
                      <a:lnTo>
                        <a:pt x="340" y="402"/>
                      </a:lnTo>
                      <a:lnTo>
                        <a:pt x="340" y="402"/>
                      </a:lnTo>
                      <a:lnTo>
                        <a:pt x="338" y="402"/>
                      </a:lnTo>
                      <a:lnTo>
                        <a:pt x="338" y="401"/>
                      </a:lnTo>
                      <a:lnTo>
                        <a:pt x="338" y="401"/>
                      </a:lnTo>
                      <a:lnTo>
                        <a:pt x="338" y="399"/>
                      </a:lnTo>
                      <a:lnTo>
                        <a:pt x="337" y="398"/>
                      </a:lnTo>
                      <a:lnTo>
                        <a:pt x="337" y="398"/>
                      </a:lnTo>
                      <a:lnTo>
                        <a:pt x="335" y="396"/>
                      </a:lnTo>
                      <a:lnTo>
                        <a:pt x="335" y="396"/>
                      </a:lnTo>
                      <a:lnTo>
                        <a:pt x="334" y="396"/>
                      </a:lnTo>
                      <a:lnTo>
                        <a:pt x="334" y="396"/>
                      </a:lnTo>
                      <a:lnTo>
                        <a:pt x="330" y="396"/>
                      </a:lnTo>
                      <a:lnTo>
                        <a:pt x="328" y="395"/>
                      </a:lnTo>
                      <a:lnTo>
                        <a:pt x="326" y="395"/>
                      </a:lnTo>
                      <a:lnTo>
                        <a:pt x="323" y="395"/>
                      </a:lnTo>
                      <a:lnTo>
                        <a:pt x="323" y="395"/>
                      </a:lnTo>
                      <a:lnTo>
                        <a:pt x="320" y="394"/>
                      </a:lnTo>
                      <a:lnTo>
                        <a:pt x="317" y="391"/>
                      </a:lnTo>
                      <a:lnTo>
                        <a:pt x="317" y="391"/>
                      </a:lnTo>
                      <a:lnTo>
                        <a:pt x="305" y="381"/>
                      </a:lnTo>
                      <a:lnTo>
                        <a:pt x="305" y="378"/>
                      </a:lnTo>
                      <a:lnTo>
                        <a:pt x="306" y="375"/>
                      </a:lnTo>
                      <a:lnTo>
                        <a:pt x="306" y="375"/>
                      </a:lnTo>
                      <a:lnTo>
                        <a:pt x="307" y="366"/>
                      </a:lnTo>
                      <a:lnTo>
                        <a:pt x="307" y="364"/>
                      </a:lnTo>
                      <a:lnTo>
                        <a:pt x="306" y="359"/>
                      </a:lnTo>
                      <a:lnTo>
                        <a:pt x="307" y="345"/>
                      </a:lnTo>
                      <a:lnTo>
                        <a:pt x="307" y="343"/>
                      </a:lnTo>
                      <a:lnTo>
                        <a:pt x="307" y="336"/>
                      </a:lnTo>
                      <a:lnTo>
                        <a:pt x="307" y="336"/>
                      </a:lnTo>
                      <a:lnTo>
                        <a:pt x="309" y="335"/>
                      </a:lnTo>
                      <a:lnTo>
                        <a:pt x="310" y="333"/>
                      </a:lnTo>
                      <a:lnTo>
                        <a:pt x="310" y="333"/>
                      </a:lnTo>
                      <a:lnTo>
                        <a:pt x="312" y="333"/>
                      </a:lnTo>
                      <a:lnTo>
                        <a:pt x="312" y="332"/>
                      </a:lnTo>
                      <a:lnTo>
                        <a:pt x="314" y="326"/>
                      </a:lnTo>
                      <a:lnTo>
                        <a:pt x="314" y="326"/>
                      </a:lnTo>
                      <a:lnTo>
                        <a:pt x="314" y="325"/>
                      </a:lnTo>
                      <a:lnTo>
                        <a:pt x="314" y="324"/>
                      </a:lnTo>
                      <a:lnTo>
                        <a:pt x="314" y="324"/>
                      </a:lnTo>
                      <a:lnTo>
                        <a:pt x="309" y="315"/>
                      </a:lnTo>
                      <a:lnTo>
                        <a:pt x="307" y="314"/>
                      </a:lnTo>
                      <a:lnTo>
                        <a:pt x="307" y="314"/>
                      </a:lnTo>
                      <a:lnTo>
                        <a:pt x="306" y="314"/>
                      </a:lnTo>
                      <a:lnTo>
                        <a:pt x="306" y="314"/>
                      </a:lnTo>
                      <a:lnTo>
                        <a:pt x="305" y="314"/>
                      </a:lnTo>
                      <a:lnTo>
                        <a:pt x="302" y="314"/>
                      </a:lnTo>
                      <a:lnTo>
                        <a:pt x="300" y="314"/>
                      </a:lnTo>
                      <a:lnTo>
                        <a:pt x="300" y="314"/>
                      </a:lnTo>
                      <a:lnTo>
                        <a:pt x="299" y="312"/>
                      </a:lnTo>
                      <a:lnTo>
                        <a:pt x="298" y="312"/>
                      </a:lnTo>
                      <a:lnTo>
                        <a:pt x="298" y="311"/>
                      </a:lnTo>
                      <a:lnTo>
                        <a:pt x="298" y="311"/>
                      </a:lnTo>
                      <a:lnTo>
                        <a:pt x="298" y="308"/>
                      </a:lnTo>
                      <a:lnTo>
                        <a:pt x="298" y="307"/>
                      </a:lnTo>
                      <a:lnTo>
                        <a:pt x="298" y="305"/>
                      </a:lnTo>
                      <a:lnTo>
                        <a:pt x="299" y="302"/>
                      </a:lnTo>
                      <a:lnTo>
                        <a:pt x="299" y="301"/>
                      </a:lnTo>
                      <a:lnTo>
                        <a:pt x="309" y="287"/>
                      </a:lnTo>
                      <a:lnTo>
                        <a:pt x="310" y="287"/>
                      </a:lnTo>
                      <a:lnTo>
                        <a:pt x="312" y="284"/>
                      </a:lnTo>
                      <a:lnTo>
                        <a:pt x="312" y="284"/>
                      </a:lnTo>
                      <a:lnTo>
                        <a:pt x="313" y="284"/>
                      </a:lnTo>
                      <a:lnTo>
                        <a:pt x="314" y="284"/>
                      </a:lnTo>
                      <a:lnTo>
                        <a:pt x="317" y="283"/>
                      </a:lnTo>
                      <a:lnTo>
                        <a:pt x="321" y="281"/>
                      </a:lnTo>
                      <a:lnTo>
                        <a:pt x="334" y="276"/>
                      </a:lnTo>
                      <a:lnTo>
                        <a:pt x="335" y="276"/>
                      </a:lnTo>
                      <a:lnTo>
                        <a:pt x="335" y="274"/>
                      </a:lnTo>
                      <a:lnTo>
                        <a:pt x="340" y="270"/>
                      </a:lnTo>
                      <a:lnTo>
                        <a:pt x="340" y="263"/>
                      </a:lnTo>
                      <a:lnTo>
                        <a:pt x="340" y="225"/>
                      </a:lnTo>
                      <a:lnTo>
                        <a:pt x="340" y="223"/>
                      </a:lnTo>
                      <a:lnTo>
                        <a:pt x="341" y="221"/>
                      </a:lnTo>
                      <a:lnTo>
                        <a:pt x="340" y="221"/>
                      </a:lnTo>
                      <a:lnTo>
                        <a:pt x="349" y="211"/>
                      </a:lnTo>
                      <a:lnTo>
                        <a:pt x="361" y="204"/>
                      </a:lnTo>
                      <a:lnTo>
                        <a:pt x="372" y="196"/>
                      </a:lnTo>
                      <a:lnTo>
                        <a:pt x="383" y="189"/>
                      </a:lnTo>
                      <a:lnTo>
                        <a:pt x="393" y="180"/>
                      </a:lnTo>
                      <a:lnTo>
                        <a:pt x="403" y="172"/>
                      </a:lnTo>
                      <a:lnTo>
                        <a:pt x="413" y="164"/>
                      </a:lnTo>
                      <a:lnTo>
                        <a:pt x="424" y="157"/>
                      </a:lnTo>
                      <a:lnTo>
                        <a:pt x="435" y="150"/>
                      </a:lnTo>
                      <a:lnTo>
                        <a:pt x="448" y="144"/>
                      </a:lnTo>
                      <a:lnTo>
                        <a:pt x="462" y="140"/>
                      </a:lnTo>
                      <a:lnTo>
                        <a:pt x="474" y="136"/>
                      </a:lnTo>
                      <a:lnTo>
                        <a:pt x="488" y="131"/>
                      </a:lnTo>
                      <a:lnTo>
                        <a:pt x="501" y="126"/>
                      </a:lnTo>
                      <a:lnTo>
                        <a:pt x="512" y="120"/>
                      </a:lnTo>
                      <a:lnTo>
                        <a:pt x="518" y="117"/>
                      </a:lnTo>
                      <a:lnTo>
                        <a:pt x="529" y="113"/>
                      </a:lnTo>
                      <a:lnTo>
                        <a:pt x="528" y="113"/>
                      </a:lnTo>
                      <a:lnTo>
                        <a:pt x="528" y="112"/>
                      </a:lnTo>
                      <a:lnTo>
                        <a:pt x="526" y="112"/>
                      </a:lnTo>
                      <a:lnTo>
                        <a:pt x="526" y="112"/>
                      </a:lnTo>
                      <a:lnTo>
                        <a:pt x="525" y="112"/>
                      </a:lnTo>
                      <a:lnTo>
                        <a:pt x="525" y="112"/>
                      </a:lnTo>
                      <a:lnTo>
                        <a:pt x="525" y="112"/>
                      </a:lnTo>
                      <a:lnTo>
                        <a:pt x="515" y="110"/>
                      </a:lnTo>
                      <a:lnTo>
                        <a:pt x="515" y="110"/>
                      </a:lnTo>
                      <a:lnTo>
                        <a:pt x="509" y="112"/>
                      </a:lnTo>
                      <a:lnTo>
                        <a:pt x="508" y="113"/>
                      </a:lnTo>
                      <a:lnTo>
                        <a:pt x="505" y="113"/>
                      </a:lnTo>
                      <a:lnTo>
                        <a:pt x="505" y="113"/>
                      </a:lnTo>
                      <a:lnTo>
                        <a:pt x="505" y="113"/>
                      </a:lnTo>
                      <a:lnTo>
                        <a:pt x="504" y="113"/>
                      </a:lnTo>
                      <a:lnTo>
                        <a:pt x="500" y="112"/>
                      </a:lnTo>
                      <a:lnTo>
                        <a:pt x="498" y="110"/>
                      </a:lnTo>
                      <a:lnTo>
                        <a:pt x="498" y="110"/>
                      </a:lnTo>
                      <a:lnTo>
                        <a:pt x="498" y="110"/>
                      </a:lnTo>
                      <a:lnTo>
                        <a:pt x="495" y="108"/>
                      </a:lnTo>
                      <a:lnTo>
                        <a:pt x="494" y="105"/>
                      </a:lnTo>
                      <a:lnTo>
                        <a:pt x="494" y="103"/>
                      </a:lnTo>
                      <a:lnTo>
                        <a:pt x="494" y="103"/>
                      </a:lnTo>
                      <a:lnTo>
                        <a:pt x="493" y="103"/>
                      </a:lnTo>
                      <a:lnTo>
                        <a:pt x="490" y="103"/>
                      </a:lnTo>
                      <a:lnTo>
                        <a:pt x="488" y="102"/>
                      </a:lnTo>
                      <a:lnTo>
                        <a:pt x="487" y="102"/>
                      </a:lnTo>
                      <a:lnTo>
                        <a:pt x="478" y="103"/>
                      </a:lnTo>
                      <a:lnTo>
                        <a:pt x="446" y="105"/>
                      </a:lnTo>
                      <a:lnTo>
                        <a:pt x="446" y="105"/>
                      </a:lnTo>
                      <a:lnTo>
                        <a:pt x="445" y="105"/>
                      </a:lnTo>
                      <a:lnTo>
                        <a:pt x="445" y="103"/>
                      </a:lnTo>
                      <a:lnTo>
                        <a:pt x="441" y="98"/>
                      </a:lnTo>
                      <a:lnTo>
                        <a:pt x="441" y="96"/>
                      </a:lnTo>
                      <a:lnTo>
                        <a:pt x="439" y="96"/>
                      </a:lnTo>
                      <a:lnTo>
                        <a:pt x="441" y="95"/>
                      </a:lnTo>
                      <a:lnTo>
                        <a:pt x="441" y="95"/>
                      </a:lnTo>
                      <a:lnTo>
                        <a:pt x="441" y="95"/>
                      </a:lnTo>
                      <a:lnTo>
                        <a:pt x="441" y="95"/>
                      </a:lnTo>
                      <a:lnTo>
                        <a:pt x="441" y="95"/>
                      </a:lnTo>
                      <a:lnTo>
                        <a:pt x="441" y="95"/>
                      </a:lnTo>
                      <a:lnTo>
                        <a:pt x="441" y="94"/>
                      </a:lnTo>
                      <a:lnTo>
                        <a:pt x="441" y="94"/>
                      </a:lnTo>
                      <a:lnTo>
                        <a:pt x="439" y="94"/>
                      </a:lnTo>
                      <a:lnTo>
                        <a:pt x="438" y="94"/>
                      </a:lnTo>
                      <a:lnTo>
                        <a:pt x="436" y="94"/>
                      </a:lnTo>
                      <a:lnTo>
                        <a:pt x="434" y="94"/>
                      </a:lnTo>
                      <a:lnTo>
                        <a:pt x="431" y="95"/>
                      </a:lnTo>
                      <a:lnTo>
                        <a:pt x="421" y="99"/>
                      </a:lnTo>
                      <a:lnTo>
                        <a:pt x="418" y="101"/>
                      </a:lnTo>
                      <a:lnTo>
                        <a:pt x="415" y="103"/>
                      </a:lnTo>
                      <a:lnTo>
                        <a:pt x="413" y="105"/>
                      </a:lnTo>
                      <a:lnTo>
                        <a:pt x="411" y="106"/>
                      </a:lnTo>
                      <a:lnTo>
                        <a:pt x="410" y="106"/>
                      </a:lnTo>
                      <a:lnTo>
                        <a:pt x="410" y="106"/>
                      </a:lnTo>
                      <a:lnTo>
                        <a:pt x="407" y="108"/>
                      </a:lnTo>
                      <a:lnTo>
                        <a:pt x="407" y="108"/>
                      </a:lnTo>
                      <a:lnTo>
                        <a:pt x="406" y="108"/>
                      </a:lnTo>
                      <a:lnTo>
                        <a:pt x="403" y="108"/>
                      </a:lnTo>
                      <a:lnTo>
                        <a:pt x="401" y="108"/>
                      </a:lnTo>
                      <a:lnTo>
                        <a:pt x="400" y="109"/>
                      </a:lnTo>
                      <a:lnTo>
                        <a:pt x="397" y="108"/>
                      </a:lnTo>
                      <a:lnTo>
                        <a:pt x="389" y="105"/>
                      </a:lnTo>
                      <a:lnTo>
                        <a:pt x="385" y="105"/>
                      </a:lnTo>
                      <a:lnTo>
                        <a:pt x="382" y="101"/>
                      </a:lnTo>
                      <a:lnTo>
                        <a:pt x="379" y="98"/>
                      </a:lnTo>
                      <a:lnTo>
                        <a:pt x="379" y="96"/>
                      </a:lnTo>
                      <a:lnTo>
                        <a:pt x="378" y="96"/>
                      </a:lnTo>
                      <a:lnTo>
                        <a:pt x="376" y="96"/>
                      </a:lnTo>
                      <a:lnTo>
                        <a:pt x="376" y="96"/>
                      </a:lnTo>
                      <a:lnTo>
                        <a:pt x="375" y="96"/>
                      </a:lnTo>
                      <a:lnTo>
                        <a:pt x="371" y="96"/>
                      </a:lnTo>
                      <a:lnTo>
                        <a:pt x="364" y="94"/>
                      </a:lnTo>
                      <a:lnTo>
                        <a:pt x="364" y="94"/>
                      </a:lnTo>
                      <a:lnTo>
                        <a:pt x="362" y="92"/>
                      </a:lnTo>
                      <a:lnTo>
                        <a:pt x="361" y="92"/>
                      </a:lnTo>
                      <a:lnTo>
                        <a:pt x="361" y="91"/>
                      </a:lnTo>
                      <a:lnTo>
                        <a:pt x="359" y="89"/>
                      </a:lnTo>
                      <a:lnTo>
                        <a:pt x="359" y="89"/>
                      </a:lnTo>
                      <a:lnTo>
                        <a:pt x="359" y="88"/>
                      </a:lnTo>
                      <a:lnTo>
                        <a:pt x="359" y="88"/>
                      </a:lnTo>
                      <a:lnTo>
                        <a:pt x="359" y="88"/>
                      </a:lnTo>
                      <a:lnTo>
                        <a:pt x="358" y="87"/>
                      </a:lnTo>
                      <a:lnTo>
                        <a:pt x="358" y="85"/>
                      </a:lnTo>
                      <a:lnTo>
                        <a:pt x="358" y="84"/>
                      </a:lnTo>
                      <a:lnTo>
                        <a:pt x="357" y="84"/>
                      </a:lnTo>
                      <a:lnTo>
                        <a:pt x="357" y="84"/>
                      </a:lnTo>
                      <a:lnTo>
                        <a:pt x="351" y="84"/>
                      </a:lnTo>
                      <a:lnTo>
                        <a:pt x="349" y="84"/>
                      </a:lnTo>
                      <a:lnTo>
                        <a:pt x="342" y="84"/>
                      </a:lnTo>
                      <a:lnTo>
                        <a:pt x="341" y="84"/>
                      </a:lnTo>
                      <a:lnTo>
                        <a:pt x="341" y="85"/>
                      </a:lnTo>
                      <a:lnTo>
                        <a:pt x="341" y="85"/>
                      </a:lnTo>
                      <a:lnTo>
                        <a:pt x="340" y="85"/>
                      </a:lnTo>
                      <a:lnTo>
                        <a:pt x="340" y="88"/>
                      </a:lnTo>
                      <a:lnTo>
                        <a:pt x="340" y="88"/>
                      </a:lnTo>
                      <a:lnTo>
                        <a:pt x="340" y="89"/>
                      </a:lnTo>
                      <a:lnTo>
                        <a:pt x="340" y="89"/>
                      </a:lnTo>
                      <a:lnTo>
                        <a:pt x="341" y="91"/>
                      </a:lnTo>
                      <a:lnTo>
                        <a:pt x="341" y="92"/>
                      </a:lnTo>
                      <a:lnTo>
                        <a:pt x="340" y="92"/>
                      </a:lnTo>
                      <a:lnTo>
                        <a:pt x="340" y="92"/>
                      </a:lnTo>
                      <a:lnTo>
                        <a:pt x="338" y="92"/>
                      </a:lnTo>
                      <a:lnTo>
                        <a:pt x="337" y="94"/>
                      </a:lnTo>
                      <a:lnTo>
                        <a:pt x="335" y="94"/>
                      </a:lnTo>
                      <a:lnTo>
                        <a:pt x="335" y="94"/>
                      </a:lnTo>
                      <a:lnTo>
                        <a:pt x="335" y="94"/>
                      </a:lnTo>
                      <a:lnTo>
                        <a:pt x="334" y="94"/>
                      </a:lnTo>
                      <a:lnTo>
                        <a:pt x="331" y="87"/>
                      </a:lnTo>
                      <a:lnTo>
                        <a:pt x="328" y="80"/>
                      </a:lnTo>
                      <a:lnTo>
                        <a:pt x="320" y="77"/>
                      </a:lnTo>
                      <a:lnTo>
                        <a:pt x="312" y="73"/>
                      </a:lnTo>
                      <a:lnTo>
                        <a:pt x="310" y="68"/>
                      </a:lnTo>
                      <a:lnTo>
                        <a:pt x="295" y="61"/>
                      </a:lnTo>
                      <a:lnTo>
                        <a:pt x="295" y="61"/>
                      </a:lnTo>
                      <a:lnTo>
                        <a:pt x="293" y="61"/>
                      </a:lnTo>
                      <a:lnTo>
                        <a:pt x="274" y="60"/>
                      </a:lnTo>
                      <a:lnTo>
                        <a:pt x="270" y="61"/>
                      </a:lnTo>
                      <a:lnTo>
                        <a:pt x="268" y="61"/>
                      </a:lnTo>
                      <a:lnTo>
                        <a:pt x="263" y="63"/>
                      </a:lnTo>
                      <a:lnTo>
                        <a:pt x="260" y="63"/>
                      </a:lnTo>
                      <a:lnTo>
                        <a:pt x="260" y="64"/>
                      </a:lnTo>
                      <a:lnTo>
                        <a:pt x="260" y="64"/>
                      </a:lnTo>
                      <a:lnTo>
                        <a:pt x="260" y="64"/>
                      </a:lnTo>
                      <a:lnTo>
                        <a:pt x="260" y="66"/>
                      </a:lnTo>
                      <a:lnTo>
                        <a:pt x="260" y="66"/>
                      </a:lnTo>
                      <a:lnTo>
                        <a:pt x="260" y="66"/>
                      </a:lnTo>
                      <a:lnTo>
                        <a:pt x="260" y="67"/>
                      </a:lnTo>
                      <a:lnTo>
                        <a:pt x="260" y="67"/>
                      </a:lnTo>
                      <a:lnTo>
                        <a:pt x="258" y="67"/>
                      </a:lnTo>
                      <a:lnTo>
                        <a:pt x="258" y="68"/>
                      </a:lnTo>
                      <a:lnTo>
                        <a:pt x="257" y="68"/>
                      </a:lnTo>
                      <a:lnTo>
                        <a:pt x="257" y="68"/>
                      </a:lnTo>
                      <a:lnTo>
                        <a:pt x="246" y="70"/>
                      </a:lnTo>
                      <a:lnTo>
                        <a:pt x="246" y="70"/>
                      </a:lnTo>
                      <a:lnTo>
                        <a:pt x="242" y="70"/>
                      </a:lnTo>
                      <a:lnTo>
                        <a:pt x="237" y="70"/>
                      </a:lnTo>
                      <a:lnTo>
                        <a:pt x="236" y="70"/>
                      </a:lnTo>
                      <a:lnTo>
                        <a:pt x="236" y="70"/>
                      </a:lnTo>
                      <a:lnTo>
                        <a:pt x="236" y="70"/>
                      </a:lnTo>
                      <a:lnTo>
                        <a:pt x="236" y="68"/>
                      </a:lnTo>
                      <a:lnTo>
                        <a:pt x="235" y="67"/>
                      </a:lnTo>
                      <a:lnTo>
                        <a:pt x="235" y="64"/>
                      </a:lnTo>
                      <a:lnTo>
                        <a:pt x="235" y="64"/>
                      </a:lnTo>
                      <a:lnTo>
                        <a:pt x="233" y="63"/>
                      </a:lnTo>
                      <a:lnTo>
                        <a:pt x="233" y="61"/>
                      </a:lnTo>
                      <a:lnTo>
                        <a:pt x="233" y="61"/>
                      </a:lnTo>
                      <a:lnTo>
                        <a:pt x="232" y="61"/>
                      </a:lnTo>
                      <a:lnTo>
                        <a:pt x="230" y="61"/>
                      </a:lnTo>
                      <a:lnTo>
                        <a:pt x="218" y="60"/>
                      </a:lnTo>
                      <a:lnTo>
                        <a:pt x="215" y="60"/>
                      </a:lnTo>
                      <a:lnTo>
                        <a:pt x="212" y="60"/>
                      </a:lnTo>
                      <a:lnTo>
                        <a:pt x="205" y="59"/>
                      </a:lnTo>
                      <a:lnTo>
                        <a:pt x="205" y="59"/>
                      </a:lnTo>
                      <a:lnTo>
                        <a:pt x="205" y="59"/>
                      </a:lnTo>
                      <a:lnTo>
                        <a:pt x="205" y="59"/>
                      </a:lnTo>
                      <a:lnTo>
                        <a:pt x="205" y="57"/>
                      </a:lnTo>
                      <a:lnTo>
                        <a:pt x="204" y="56"/>
                      </a:lnTo>
                      <a:lnTo>
                        <a:pt x="204" y="56"/>
                      </a:lnTo>
                      <a:lnTo>
                        <a:pt x="204" y="54"/>
                      </a:lnTo>
                      <a:lnTo>
                        <a:pt x="202" y="54"/>
                      </a:lnTo>
                      <a:lnTo>
                        <a:pt x="202" y="54"/>
                      </a:lnTo>
                      <a:lnTo>
                        <a:pt x="201" y="54"/>
                      </a:lnTo>
                      <a:lnTo>
                        <a:pt x="194" y="54"/>
                      </a:lnTo>
                      <a:lnTo>
                        <a:pt x="194" y="54"/>
                      </a:lnTo>
                      <a:lnTo>
                        <a:pt x="192" y="54"/>
                      </a:lnTo>
                      <a:lnTo>
                        <a:pt x="191" y="56"/>
                      </a:lnTo>
                      <a:lnTo>
                        <a:pt x="190" y="56"/>
                      </a:lnTo>
                      <a:lnTo>
                        <a:pt x="190" y="56"/>
                      </a:lnTo>
                      <a:lnTo>
                        <a:pt x="187" y="56"/>
                      </a:lnTo>
                      <a:lnTo>
                        <a:pt x="185" y="54"/>
                      </a:lnTo>
                      <a:lnTo>
                        <a:pt x="180" y="53"/>
                      </a:lnTo>
                      <a:lnTo>
                        <a:pt x="178" y="51"/>
                      </a:lnTo>
                      <a:lnTo>
                        <a:pt x="177" y="51"/>
                      </a:lnTo>
                      <a:lnTo>
                        <a:pt x="174" y="49"/>
                      </a:lnTo>
                      <a:lnTo>
                        <a:pt x="174" y="49"/>
                      </a:lnTo>
                      <a:lnTo>
                        <a:pt x="173" y="47"/>
                      </a:lnTo>
                      <a:lnTo>
                        <a:pt x="173" y="46"/>
                      </a:lnTo>
                      <a:lnTo>
                        <a:pt x="173" y="43"/>
                      </a:lnTo>
                      <a:lnTo>
                        <a:pt x="173" y="42"/>
                      </a:lnTo>
                      <a:lnTo>
                        <a:pt x="173" y="42"/>
                      </a:lnTo>
                      <a:lnTo>
                        <a:pt x="173" y="42"/>
                      </a:lnTo>
                      <a:lnTo>
                        <a:pt x="174" y="40"/>
                      </a:lnTo>
                      <a:lnTo>
                        <a:pt x="174" y="40"/>
                      </a:lnTo>
                      <a:lnTo>
                        <a:pt x="174" y="39"/>
                      </a:lnTo>
                      <a:lnTo>
                        <a:pt x="174" y="37"/>
                      </a:lnTo>
                      <a:lnTo>
                        <a:pt x="173" y="36"/>
                      </a:lnTo>
                      <a:lnTo>
                        <a:pt x="173" y="35"/>
                      </a:lnTo>
                      <a:lnTo>
                        <a:pt x="173" y="33"/>
                      </a:lnTo>
                      <a:lnTo>
                        <a:pt x="173" y="32"/>
                      </a:lnTo>
                      <a:lnTo>
                        <a:pt x="171" y="30"/>
                      </a:lnTo>
                      <a:lnTo>
                        <a:pt x="171" y="30"/>
                      </a:lnTo>
                      <a:lnTo>
                        <a:pt x="170" y="28"/>
                      </a:lnTo>
                      <a:lnTo>
                        <a:pt x="169" y="23"/>
                      </a:lnTo>
                      <a:lnTo>
                        <a:pt x="167" y="18"/>
                      </a:lnTo>
                      <a:lnTo>
                        <a:pt x="167" y="16"/>
                      </a:lnTo>
                      <a:lnTo>
                        <a:pt x="166" y="15"/>
                      </a:lnTo>
                      <a:lnTo>
                        <a:pt x="166" y="14"/>
                      </a:lnTo>
                      <a:lnTo>
                        <a:pt x="166" y="7"/>
                      </a:lnTo>
                      <a:lnTo>
                        <a:pt x="166" y="5"/>
                      </a:lnTo>
                      <a:lnTo>
                        <a:pt x="166" y="5"/>
                      </a:lnTo>
                      <a:lnTo>
                        <a:pt x="166" y="4"/>
                      </a:lnTo>
                      <a:lnTo>
                        <a:pt x="159" y="1"/>
                      </a:lnTo>
                      <a:lnTo>
                        <a:pt x="157" y="1"/>
                      </a:lnTo>
                      <a:lnTo>
                        <a:pt x="156" y="0"/>
                      </a:lnTo>
                      <a:lnTo>
                        <a:pt x="156" y="1"/>
                      </a:lnTo>
                      <a:lnTo>
                        <a:pt x="156" y="1"/>
                      </a:lnTo>
                      <a:lnTo>
                        <a:pt x="152" y="1"/>
                      </a:lnTo>
                      <a:lnTo>
                        <a:pt x="148" y="1"/>
                      </a:lnTo>
                      <a:lnTo>
                        <a:pt x="148" y="1"/>
                      </a:lnTo>
                      <a:lnTo>
                        <a:pt x="145" y="0"/>
                      </a:lnTo>
                      <a:lnTo>
                        <a:pt x="143" y="0"/>
                      </a:lnTo>
                      <a:lnTo>
                        <a:pt x="142" y="0"/>
                      </a:lnTo>
                      <a:lnTo>
                        <a:pt x="142" y="0"/>
                      </a:lnTo>
                      <a:lnTo>
                        <a:pt x="142" y="2"/>
                      </a:lnTo>
                      <a:lnTo>
                        <a:pt x="142" y="16"/>
                      </a:lnTo>
                      <a:lnTo>
                        <a:pt x="142" y="30"/>
                      </a:lnTo>
                      <a:lnTo>
                        <a:pt x="135" y="30"/>
                      </a:lnTo>
                      <a:lnTo>
                        <a:pt x="0" y="30"/>
                      </a:lnTo>
                      <a:lnTo>
                        <a:pt x="0" y="35"/>
                      </a:lnTo>
                      <a:lnTo>
                        <a:pt x="5" y="46"/>
                      </a:lnTo>
                      <a:lnTo>
                        <a:pt x="9" y="57"/>
                      </a:lnTo>
                      <a:lnTo>
                        <a:pt x="9" y="59"/>
                      </a:lnTo>
                      <a:lnTo>
                        <a:pt x="9" y="59"/>
                      </a:lnTo>
                      <a:lnTo>
                        <a:pt x="9" y="60"/>
                      </a:lnTo>
                      <a:lnTo>
                        <a:pt x="7" y="63"/>
                      </a:lnTo>
                      <a:lnTo>
                        <a:pt x="6" y="63"/>
                      </a:lnTo>
                      <a:lnTo>
                        <a:pt x="5" y="66"/>
                      </a:lnTo>
                      <a:lnTo>
                        <a:pt x="5" y="67"/>
                      </a:lnTo>
                      <a:lnTo>
                        <a:pt x="5" y="67"/>
                      </a:lnTo>
                      <a:lnTo>
                        <a:pt x="5" y="68"/>
                      </a:lnTo>
                      <a:lnTo>
                        <a:pt x="5" y="68"/>
                      </a:lnTo>
                      <a:lnTo>
                        <a:pt x="6" y="73"/>
                      </a:lnTo>
                      <a:lnTo>
                        <a:pt x="6" y="77"/>
                      </a:lnTo>
                      <a:lnTo>
                        <a:pt x="6" y="78"/>
                      </a:lnTo>
                      <a:lnTo>
                        <a:pt x="6" y="87"/>
                      </a:lnTo>
                      <a:lnTo>
                        <a:pt x="6" y="94"/>
                      </a:lnTo>
                      <a:lnTo>
                        <a:pt x="6" y="99"/>
                      </a:lnTo>
                      <a:lnTo>
                        <a:pt x="6" y="101"/>
                      </a:lnTo>
                      <a:lnTo>
                        <a:pt x="6" y="101"/>
                      </a:lnTo>
                      <a:lnTo>
                        <a:pt x="9" y="108"/>
                      </a:lnTo>
                      <a:lnTo>
                        <a:pt x="13" y="123"/>
                      </a:lnTo>
                      <a:lnTo>
                        <a:pt x="14" y="123"/>
                      </a:lnTo>
                      <a:lnTo>
                        <a:pt x="16" y="127"/>
                      </a:lnTo>
                      <a:lnTo>
                        <a:pt x="19" y="131"/>
                      </a:lnTo>
                      <a:lnTo>
                        <a:pt x="21" y="137"/>
                      </a:lnTo>
                      <a:lnTo>
                        <a:pt x="23" y="138"/>
                      </a:lnTo>
                      <a:lnTo>
                        <a:pt x="26" y="145"/>
                      </a:lnTo>
                      <a:lnTo>
                        <a:pt x="26" y="147"/>
                      </a:lnTo>
                      <a:lnTo>
                        <a:pt x="26" y="164"/>
                      </a:lnTo>
                      <a:lnTo>
                        <a:pt x="26" y="178"/>
                      </a:lnTo>
                      <a:lnTo>
                        <a:pt x="27" y="196"/>
                      </a:lnTo>
                      <a:lnTo>
                        <a:pt x="27" y="196"/>
                      </a:lnTo>
                      <a:lnTo>
                        <a:pt x="31" y="204"/>
                      </a:lnTo>
                      <a:lnTo>
                        <a:pt x="30" y="206"/>
                      </a:lnTo>
                      <a:lnTo>
                        <a:pt x="30" y="206"/>
                      </a:lnTo>
                      <a:lnTo>
                        <a:pt x="30" y="207"/>
                      </a:lnTo>
                      <a:lnTo>
                        <a:pt x="28" y="211"/>
                      </a:lnTo>
                      <a:lnTo>
                        <a:pt x="28" y="213"/>
                      </a:lnTo>
                      <a:lnTo>
                        <a:pt x="28" y="224"/>
                      </a:lnTo>
                      <a:lnTo>
                        <a:pt x="28" y="224"/>
                      </a:lnTo>
                      <a:lnTo>
                        <a:pt x="33" y="237"/>
                      </a:lnTo>
                      <a:lnTo>
                        <a:pt x="33" y="238"/>
                      </a:lnTo>
                      <a:lnTo>
                        <a:pt x="34" y="241"/>
                      </a:lnTo>
                      <a:lnTo>
                        <a:pt x="35" y="244"/>
                      </a:lnTo>
                      <a:lnTo>
                        <a:pt x="38" y="246"/>
                      </a:lnTo>
                      <a:lnTo>
                        <a:pt x="40" y="248"/>
                      </a:lnTo>
                      <a:lnTo>
                        <a:pt x="41" y="249"/>
                      </a:lnTo>
                      <a:lnTo>
                        <a:pt x="41" y="249"/>
                      </a:lnTo>
                      <a:lnTo>
                        <a:pt x="42" y="251"/>
                      </a:lnTo>
                      <a:lnTo>
                        <a:pt x="42" y="252"/>
                      </a:lnTo>
                      <a:lnTo>
                        <a:pt x="42" y="252"/>
                      </a:lnTo>
                      <a:lnTo>
                        <a:pt x="45" y="265"/>
                      </a:lnTo>
                      <a:lnTo>
                        <a:pt x="45" y="270"/>
                      </a:lnTo>
                      <a:lnTo>
                        <a:pt x="45" y="270"/>
                      </a:lnTo>
                      <a:lnTo>
                        <a:pt x="45" y="272"/>
                      </a:lnTo>
                      <a:lnTo>
                        <a:pt x="45" y="273"/>
                      </a:lnTo>
                      <a:lnTo>
                        <a:pt x="44" y="274"/>
                      </a:lnTo>
                      <a:lnTo>
                        <a:pt x="44" y="274"/>
                      </a:lnTo>
                      <a:lnTo>
                        <a:pt x="44" y="276"/>
                      </a:lnTo>
                      <a:lnTo>
                        <a:pt x="44" y="276"/>
                      </a:lnTo>
                      <a:lnTo>
                        <a:pt x="45" y="283"/>
                      </a:lnTo>
                      <a:lnTo>
                        <a:pt x="44" y="290"/>
                      </a:lnTo>
                      <a:lnTo>
                        <a:pt x="40" y="297"/>
                      </a:lnTo>
                      <a:lnTo>
                        <a:pt x="40" y="298"/>
                      </a:lnTo>
                      <a:lnTo>
                        <a:pt x="38" y="298"/>
                      </a:lnTo>
                      <a:lnTo>
                        <a:pt x="37" y="300"/>
                      </a:lnTo>
                      <a:lnTo>
                        <a:pt x="35" y="301"/>
                      </a:lnTo>
                      <a:lnTo>
                        <a:pt x="34" y="301"/>
                      </a:lnTo>
                      <a:lnTo>
                        <a:pt x="31" y="302"/>
                      </a:lnTo>
                      <a:lnTo>
                        <a:pt x="27" y="307"/>
                      </a:lnTo>
                      <a:lnTo>
                        <a:pt x="26" y="308"/>
                      </a:lnTo>
                      <a:lnTo>
                        <a:pt x="26" y="309"/>
                      </a:lnTo>
                      <a:lnTo>
                        <a:pt x="24" y="309"/>
                      </a:lnTo>
                      <a:lnTo>
                        <a:pt x="24" y="311"/>
                      </a:lnTo>
                      <a:lnTo>
                        <a:pt x="24" y="311"/>
                      </a:lnTo>
                      <a:lnTo>
                        <a:pt x="26" y="312"/>
                      </a:lnTo>
                      <a:lnTo>
                        <a:pt x="34" y="324"/>
                      </a:lnTo>
                      <a:lnTo>
                        <a:pt x="35" y="325"/>
                      </a:lnTo>
                      <a:lnTo>
                        <a:pt x="37" y="326"/>
                      </a:lnTo>
                      <a:lnTo>
                        <a:pt x="37" y="326"/>
                      </a:lnTo>
                      <a:lnTo>
                        <a:pt x="37" y="326"/>
                      </a:lnTo>
                      <a:lnTo>
                        <a:pt x="37" y="326"/>
                      </a:lnTo>
                      <a:lnTo>
                        <a:pt x="40" y="328"/>
                      </a:lnTo>
                      <a:lnTo>
                        <a:pt x="41" y="328"/>
                      </a:lnTo>
                      <a:lnTo>
                        <a:pt x="44" y="328"/>
                      </a:lnTo>
                      <a:lnTo>
                        <a:pt x="47" y="329"/>
                      </a:lnTo>
                      <a:lnTo>
                        <a:pt x="47" y="329"/>
                      </a:lnTo>
                      <a:lnTo>
                        <a:pt x="48" y="331"/>
                      </a:lnTo>
                      <a:lnTo>
                        <a:pt x="49" y="331"/>
                      </a:lnTo>
                      <a:lnTo>
                        <a:pt x="52" y="336"/>
                      </a:lnTo>
                      <a:lnTo>
                        <a:pt x="52" y="339"/>
                      </a:lnTo>
                      <a:lnTo>
                        <a:pt x="52" y="401"/>
                      </a:lnTo>
                      <a:lnTo>
                        <a:pt x="52" y="448"/>
                      </a:lnTo>
                      <a:lnTo>
                        <a:pt x="52" y="481"/>
                      </a:lnTo>
                      <a:lnTo>
                        <a:pt x="52" y="483"/>
                      </a:lnTo>
                      <a:lnTo>
                        <a:pt x="127" y="483"/>
                      </a:lnTo>
                      <a:lnTo>
                        <a:pt x="230" y="483"/>
                      </a:lnTo>
                      <a:lnTo>
                        <a:pt x="323" y="483"/>
                      </a:lnTo>
                      <a:lnTo>
                        <a:pt x="340" y="483"/>
                      </a:lnTo>
                      <a:lnTo>
                        <a:pt x="411" y="483"/>
                      </a:lnTo>
                      <a:lnTo>
                        <a:pt x="414" y="483"/>
                      </a:lnTo>
                      <a:lnTo>
                        <a:pt x="413" y="481"/>
                      </a:lnTo>
                      <a:lnTo>
                        <a:pt x="413" y="479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</p:grpSp>
          <p:grpSp>
            <p:nvGrpSpPr>
              <p:cNvPr id="100" name="Group 74"/>
              <p:cNvGrpSpPr/>
              <p:nvPr/>
            </p:nvGrpSpPr>
            <p:grpSpPr>
              <a:xfrm>
                <a:off x="5238750" y="1475582"/>
                <a:ext cx="2516187" cy="700088"/>
                <a:chOff x="5238750" y="1475582"/>
                <a:chExt cx="2516187" cy="700088"/>
              </a:xfrm>
              <a:grpFill/>
            </p:grpSpPr>
            <p:sp>
              <p:nvSpPr>
                <p:cNvPr id="110" name="Freeform 127"/>
                <p:cNvSpPr>
                  <a:spLocks/>
                </p:cNvSpPr>
                <p:nvPr/>
              </p:nvSpPr>
              <p:spPr bwMode="auto">
                <a:xfrm>
                  <a:off x="7466012" y="1680370"/>
                  <a:ext cx="204788" cy="339725"/>
                </a:xfrm>
                <a:custGeom>
                  <a:avLst/>
                  <a:gdLst>
                    <a:gd name="T0" fmla="*/ 75 w 129"/>
                    <a:gd name="T1" fmla="*/ 19 h 214"/>
                    <a:gd name="T2" fmla="*/ 79 w 129"/>
                    <a:gd name="T3" fmla="*/ 14 h 214"/>
                    <a:gd name="T4" fmla="*/ 82 w 129"/>
                    <a:gd name="T5" fmla="*/ 7 h 214"/>
                    <a:gd name="T6" fmla="*/ 86 w 129"/>
                    <a:gd name="T7" fmla="*/ 1 h 214"/>
                    <a:gd name="T8" fmla="*/ 89 w 129"/>
                    <a:gd name="T9" fmla="*/ 0 h 214"/>
                    <a:gd name="T10" fmla="*/ 94 w 129"/>
                    <a:gd name="T11" fmla="*/ 3 h 214"/>
                    <a:gd name="T12" fmla="*/ 98 w 129"/>
                    <a:gd name="T13" fmla="*/ 4 h 214"/>
                    <a:gd name="T14" fmla="*/ 104 w 129"/>
                    <a:gd name="T15" fmla="*/ 15 h 214"/>
                    <a:gd name="T16" fmla="*/ 105 w 129"/>
                    <a:gd name="T17" fmla="*/ 53 h 214"/>
                    <a:gd name="T18" fmla="*/ 111 w 129"/>
                    <a:gd name="T19" fmla="*/ 130 h 214"/>
                    <a:gd name="T20" fmla="*/ 111 w 129"/>
                    <a:gd name="T21" fmla="*/ 150 h 214"/>
                    <a:gd name="T22" fmla="*/ 111 w 129"/>
                    <a:gd name="T23" fmla="*/ 160 h 214"/>
                    <a:gd name="T24" fmla="*/ 125 w 129"/>
                    <a:gd name="T25" fmla="*/ 182 h 214"/>
                    <a:gd name="T26" fmla="*/ 129 w 129"/>
                    <a:gd name="T27" fmla="*/ 185 h 214"/>
                    <a:gd name="T28" fmla="*/ 128 w 129"/>
                    <a:gd name="T29" fmla="*/ 189 h 214"/>
                    <a:gd name="T30" fmla="*/ 121 w 129"/>
                    <a:gd name="T31" fmla="*/ 199 h 214"/>
                    <a:gd name="T32" fmla="*/ 118 w 129"/>
                    <a:gd name="T33" fmla="*/ 202 h 214"/>
                    <a:gd name="T34" fmla="*/ 115 w 129"/>
                    <a:gd name="T35" fmla="*/ 199 h 214"/>
                    <a:gd name="T36" fmla="*/ 100 w 129"/>
                    <a:gd name="T37" fmla="*/ 204 h 214"/>
                    <a:gd name="T38" fmla="*/ 89 w 129"/>
                    <a:gd name="T39" fmla="*/ 214 h 214"/>
                    <a:gd name="T40" fmla="*/ 7 w 129"/>
                    <a:gd name="T41" fmla="*/ 213 h 214"/>
                    <a:gd name="T42" fmla="*/ 7 w 129"/>
                    <a:gd name="T43" fmla="*/ 210 h 214"/>
                    <a:gd name="T44" fmla="*/ 2 w 129"/>
                    <a:gd name="T45" fmla="*/ 204 h 214"/>
                    <a:gd name="T46" fmla="*/ 0 w 129"/>
                    <a:gd name="T47" fmla="*/ 200 h 214"/>
                    <a:gd name="T48" fmla="*/ 3 w 129"/>
                    <a:gd name="T49" fmla="*/ 192 h 214"/>
                    <a:gd name="T50" fmla="*/ 6 w 129"/>
                    <a:gd name="T51" fmla="*/ 192 h 214"/>
                    <a:gd name="T52" fmla="*/ 9 w 129"/>
                    <a:gd name="T53" fmla="*/ 181 h 214"/>
                    <a:gd name="T54" fmla="*/ 9 w 129"/>
                    <a:gd name="T55" fmla="*/ 179 h 214"/>
                    <a:gd name="T56" fmla="*/ 9 w 129"/>
                    <a:gd name="T57" fmla="*/ 169 h 214"/>
                    <a:gd name="T58" fmla="*/ 11 w 129"/>
                    <a:gd name="T59" fmla="*/ 165 h 214"/>
                    <a:gd name="T60" fmla="*/ 11 w 129"/>
                    <a:gd name="T61" fmla="*/ 150 h 214"/>
                    <a:gd name="T62" fmla="*/ 13 w 129"/>
                    <a:gd name="T63" fmla="*/ 143 h 214"/>
                    <a:gd name="T64" fmla="*/ 20 w 129"/>
                    <a:gd name="T65" fmla="*/ 130 h 214"/>
                    <a:gd name="T66" fmla="*/ 24 w 129"/>
                    <a:gd name="T67" fmla="*/ 126 h 214"/>
                    <a:gd name="T68" fmla="*/ 25 w 129"/>
                    <a:gd name="T69" fmla="*/ 122 h 214"/>
                    <a:gd name="T70" fmla="*/ 27 w 129"/>
                    <a:gd name="T71" fmla="*/ 116 h 214"/>
                    <a:gd name="T72" fmla="*/ 37 w 129"/>
                    <a:gd name="T73" fmla="*/ 99 h 214"/>
                    <a:gd name="T74" fmla="*/ 37 w 129"/>
                    <a:gd name="T75" fmla="*/ 85 h 214"/>
                    <a:gd name="T76" fmla="*/ 38 w 129"/>
                    <a:gd name="T77" fmla="*/ 81 h 214"/>
                    <a:gd name="T78" fmla="*/ 41 w 129"/>
                    <a:gd name="T79" fmla="*/ 80 h 214"/>
                    <a:gd name="T80" fmla="*/ 52 w 129"/>
                    <a:gd name="T81" fmla="*/ 75 h 214"/>
                    <a:gd name="T82" fmla="*/ 67 w 129"/>
                    <a:gd name="T83" fmla="*/ 66 h 214"/>
                    <a:gd name="T84" fmla="*/ 70 w 129"/>
                    <a:gd name="T85" fmla="*/ 59 h 214"/>
                    <a:gd name="T86" fmla="*/ 66 w 129"/>
                    <a:gd name="T87" fmla="*/ 52 h 214"/>
                    <a:gd name="T88" fmla="*/ 65 w 129"/>
                    <a:gd name="T89" fmla="*/ 46 h 214"/>
                    <a:gd name="T90" fmla="*/ 66 w 129"/>
                    <a:gd name="T91" fmla="*/ 43 h 214"/>
                    <a:gd name="T92" fmla="*/ 73 w 129"/>
                    <a:gd name="T93" fmla="*/ 33 h 214"/>
                    <a:gd name="T94" fmla="*/ 73 w 129"/>
                    <a:gd name="T95" fmla="*/ 31 h 214"/>
                    <a:gd name="T96" fmla="*/ 72 w 129"/>
                    <a:gd name="T97" fmla="*/ 26 h 214"/>
                    <a:gd name="T98" fmla="*/ 72 w 129"/>
                    <a:gd name="T99" fmla="*/ 25 h 214"/>
                    <a:gd name="T100" fmla="*/ 75 w 129"/>
                    <a:gd name="T101" fmla="*/ 22 h 2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29" h="214">
                      <a:moveTo>
                        <a:pt x="75" y="22"/>
                      </a:moveTo>
                      <a:lnTo>
                        <a:pt x="75" y="21"/>
                      </a:lnTo>
                      <a:lnTo>
                        <a:pt x="75" y="19"/>
                      </a:lnTo>
                      <a:lnTo>
                        <a:pt x="75" y="19"/>
                      </a:lnTo>
                      <a:lnTo>
                        <a:pt x="75" y="18"/>
                      </a:lnTo>
                      <a:lnTo>
                        <a:pt x="77" y="17"/>
                      </a:lnTo>
                      <a:lnTo>
                        <a:pt x="79" y="15"/>
                      </a:lnTo>
                      <a:lnTo>
                        <a:pt x="79" y="14"/>
                      </a:lnTo>
                      <a:lnTo>
                        <a:pt x="82" y="8"/>
                      </a:lnTo>
                      <a:lnTo>
                        <a:pt x="82" y="8"/>
                      </a:lnTo>
                      <a:lnTo>
                        <a:pt x="82" y="8"/>
                      </a:lnTo>
                      <a:lnTo>
                        <a:pt x="82" y="7"/>
                      </a:lnTo>
                      <a:lnTo>
                        <a:pt x="80" y="7"/>
                      </a:lnTo>
                      <a:lnTo>
                        <a:pt x="80" y="7"/>
                      </a:lnTo>
                      <a:lnTo>
                        <a:pt x="79" y="4"/>
                      </a:lnTo>
                      <a:lnTo>
                        <a:pt x="86" y="1"/>
                      </a:lnTo>
                      <a:lnTo>
                        <a:pt x="87" y="0"/>
                      </a:lnTo>
                      <a:lnTo>
                        <a:pt x="87" y="0"/>
                      </a:lnTo>
                      <a:lnTo>
                        <a:pt x="89" y="0"/>
                      </a:lnTo>
                      <a:lnTo>
                        <a:pt x="89" y="0"/>
                      </a:lnTo>
                      <a:lnTo>
                        <a:pt x="90" y="1"/>
                      </a:lnTo>
                      <a:lnTo>
                        <a:pt x="91" y="3"/>
                      </a:lnTo>
                      <a:lnTo>
                        <a:pt x="93" y="3"/>
                      </a:lnTo>
                      <a:lnTo>
                        <a:pt x="94" y="3"/>
                      </a:lnTo>
                      <a:lnTo>
                        <a:pt x="96" y="4"/>
                      </a:lnTo>
                      <a:lnTo>
                        <a:pt x="97" y="4"/>
                      </a:lnTo>
                      <a:lnTo>
                        <a:pt x="98" y="4"/>
                      </a:lnTo>
                      <a:lnTo>
                        <a:pt x="98" y="4"/>
                      </a:lnTo>
                      <a:lnTo>
                        <a:pt x="103" y="0"/>
                      </a:lnTo>
                      <a:lnTo>
                        <a:pt x="103" y="4"/>
                      </a:lnTo>
                      <a:lnTo>
                        <a:pt x="103" y="11"/>
                      </a:lnTo>
                      <a:lnTo>
                        <a:pt x="104" y="15"/>
                      </a:lnTo>
                      <a:lnTo>
                        <a:pt x="104" y="21"/>
                      </a:lnTo>
                      <a:lnTo>
                        <a:pt x="104" y="26"/>
                      </a:lnTo>
                      <a:lnTo>
                        <a:pt x="104" y="32"/>
                      </a:lnTo>
                      <a:lnTo>
                        <a:pt x="105" y="53"/>
                      </a:lnTo>
                      <a:lnTo>
                        <a:pt x="107" y="64"/>
                      </a:lnTo>
                      <a:lnTo>
                        <a:pt x="107" y="80"/>
                      </a:lnTo>
                      <a:lnTo>
                        <a:pt x="110" y="112"/>
                      </a:lnTo>
                      <a:lnTo>
                        <a:pt x="111" y="130"/>
                      </a:lnTo>
                      <a:lnTo>
                        <a:pt x="112" y="143"/>
                      </a:lnTo>
                      <a:lnTo>
                        <a:pt x="112" y="144"/>
                      </a:lnTo>
                      <a:lnTo>
                        <a:pt x="111" y="147"/>
                      </a:lnTo>
                      <a:lnTo>
                        <a:pt x="111" y="150"/>
                      </a:lnTo>
                      <a:lnTo>
                        <a:pt x="110" y="157"/>
                      </a:lnTo>
                      <a:lnTo>
                        <a:pt x="110" y="158"/>
                      </a:lnTo>
                      <a:lnTo>
                        <a:pt x="110" y="158"/>
                      </a:lnTo>
                      <a:lnTo>
                        <a:pt x="111" y="160"/>
                      </a:lnTo>
                      <a:lnTo>
                        <a:pt x="115" y="165"/>
                      </a:lnTo>
                      <a:lnTo>
                        <a:pt x="121" y="176"/>
                      </a:lnTo>
                      <a:lnTo>
                        <a:pt x="121" y="178"/>
                      </a:lnTo>
                      <a:lnTo>
                        <a:pt x="125" y="182"/>
                      </a:lnTo>
                      <a:lnTo>
                        <a:pt x="126" y="183"/>
                      </a:lnTo>
                      <a:lnTo>
                        <a:pt x="126" y="183"/>
                      </a:lnTo>
                      <a:lnTo>
                        <a:pt x="129" y="185"/>
                      </a:lnTo>
                      <a:lnTo>
                        <a:pt x="129" y="185"/>
                      </a:lnTo>
                      <a:lnTo>
                        <a:pt x="129" y="185"/>
                      </a:lnTo>
                      <a:lnTo>
                        <a:pt x="129" y="186"/>
                      </a:lnTo>
                      <a:lnTo>
                        <a:pt x="128" y="188"/>
                      </a:lnTo>
                      <a:lnTo>
                        <a:pt x="128" y="189"/>
                      </a:lnTo>
                      <a:lnTo>
                        <a:pt x="125" y="192"/>
                      </a:lnTo>
                      <a:lnTo>
                        <a:pt x="124" y="195"/>
                      </a:lnTo>
                      <a:lnTo>
                        <a:pt x="122" y="195"/>
                      </a:lnTo>
                      <a:lnTo>
                        <a:pt x="121" y="199"/>
                      </a:lnTo>
                      <a:lnTo>
                        <a:pt x="121" y="200"/>
                      </a:lnTo>
                      <a:lnTo>
                        <a:pt x="119" y="200"/>
                      </a:lnTo>
                      <a:lnTo>
                        <a:pt x="119" y="202"/>
                      </a:lnTo>
                      <a:lnTo>
                        <a:pt x="118" y="202"/>
                      </a:lnTo>
                      <a:lnTo>
                        <a:pt x="118" y="200"/>
                      </a:lnTo>
                      <a:lnTo>
                        <a:pt x="117" y="199"/>
                      </a:lnTo>
                      <a:lnTo>
                        <a:pt x="115" y="199"/>
                      </a:lnTo>
                      <a:lnTo>
                        <a:pt x="115" y="199"/>
                      </a:lnTo>
                      <a:lnTo>
                        <a:pt x="114" y="199"/>
                      </a:lnTo>
                      <a:lnTo>
                        <a:pt x="114" y="200"/>
                      </a:lnTo>
                      <a:lnTo>
                        <a:pt x="108" y="202"/>
                      </a:lnTo>
                      <a:lnTo>
                        <a:pt x="100" y="204"/>
                      </a:lnTo>
                      <a:lnTo>
                        <a:pt x="98" y="206"/>
                      </a:lnTo>
                      <a:lnTo>
                        <a:pt x="98" y="206"/>
                      </a:lnTo>
                      <a:lnTo>
                        <a:pt x="97" y="207"/>
                      </a:lnTo>
                      <a:lnTo>
                        <a:pt x="89" y="214"/>
                      </a:lnTo>
                      <a:lnTo>
                        <a:pt x="89" y="214"/>
                      </a:lnTo>
                      <a:lnTo>
                        <a:pt x="52" y="214"/>
                      </a:lnTo>
                      <a:lnTo>
                        <a:pt x="30" y="213"/>
                      </a:lnTo>
                      <a:lnTo>
                        <a:pt x="7" y="213"/>
                      </a:lnTo>
                      <a:lnTo>
                        <a:pt x="7" y="211"/>
                      </a:lnTo>
                      <a:lnTo>
                        <a:pt x="7" y="211"/>
                      </a:lnTo>
                      <a:lnTo>
                        <a:pt x="7" y="210"/>
                      </a:lnTo>
                      <a:lnTo>
                        <a:pt x="7" y="210"/>
                      </a:lnTo>
                      <a:lnTo>
                        <a:pt x="6" y="209"/>
                      </a:lnTo>
                      <a:lnTo>
                        <a:pt x="6" y="209"/>
                      </a:lnTo>
                      <a:lnTo>
                        <a:pt x="3" y="207"/>
                      </a:lnTo>
                      <a:lnTo>
                        <a:pt x="2" y="204"/>
                      </a:lnTo>
                      <a:lnTo>
                        <a:pt x="2" y="203"/>
                      </a:lnTo>
                      <a:lnTo>
                        <a:pt x="0" y="202"/>
                      </a:lnTo>
                      <a:lnTo>
                        <a:pt x="0" y="202"/>
                      </a:lnTo>
                      <a:lnTo>
                        <a:pt x="0" y="200"/>
                      </a:lnTo>
                      <a:lnTo>
                        <a:pt x="2" y="199"/>
                      </a:lnTo>
                      <a:lnTo>
                        <a:pt x="3" y="193"/>
                      </a:lnTo>
                      <a:lnTo>
                        <a:pt x="3" y="193"/>
                      </a:lnTo>
                      <a:lnTo>
                        <a:pt x="3" y="192"/>
                      </a:lnTo>
                      <a:lnTo>
                        <a:pt x="4" y="192"/>
                      </a:lnTo>
                      <a:lnTo>
                        <a:pt x="4" y="192"/>
                      </a:lnTo>
                      <a:lnTo>
                        <a:pt x="6" y="192"/>
                      </a:lnTo>
                      <a:lnTo>
                        <a:pt x="6" y="192"/>
                      </a:lnTo>
                      <a:lnTo>
                        <a:pt x="6" y="190"/>
                      </a:lnTo>
                      <a:lnTo>
                        <a:pt x="7" y="190"/>
                      </a:lnTo>
                      <a:lnTo>
                        <a:pt x="7" y="189"/>
                      </a:lnTo>
                      <a:lnTo>
                        <a:pt x="9" y="181"/>
                      </a:lnTo>
                      <a:lnTo>
                        <a:pt x="9" y="181"/>
                      </a:lnTo>
                      <a:lnTo>
                        <a:pt x="9" y="181"/>
                      </a:lnTo>
                      <a:lnTo>
                        <a:pt x="9" y="179"/>
                      </a:lnTo>
                      <a:lnTo>
                        <a:pt x="9" y="179"/>
                      </a:lnTo>
                      <a:lnTo>
                        <a:pt x="7" y="178"/>
                      </a:lnTo>
                      <a:lnTo>
                        <a:pt x="7" y="178"/>
                      </a:lnTo>
                      <a:lnTo>
                        <a:pt x="7" y="178"/>
                      </a:lnTo>
                      <a:lnTo>
                        <a:pt x="9" y="169"/>
                      </a:lnTo>
                      <a:lnTo>
                        <a:pt x="10" y="169"/>
                      </a:lnTo>
                      <a:lnTo>
                        <a:pt x="11" y="167"/>
                      </a:lnTo>
                      <a:lnTo>
                        <a:pt x="11" y="167"/>
                      </a:lnTo>
                      <a:lnTo>
                        <a:pt x="11" y="165"/>
                      </a:lnTo>
                      <a:lnTo>
                        <a:pt x="11" y="165"/>
                      </a:lnTo>
                      <a:lnTo>
                        <a:pt x="11" y="164"/>
                      </a:lnTo>
                      <a:lnTo>
                        <a:pt x="13" y="153"/>
                      </a:lnTo>
                      <a:lnTo>
                        <a:pt x="11" y="150"/>
                      </a:lnTo>
                      <a:lnTo>
                        <a:pt x="11" y="147"/>
                      </a:lnTo>
                      <a:lnTo>
                        <a:pt x="11" y="146"/>
                      </a:lnTo>
                      <a:lnTo>
                        <a:pt x="11" y="144"/>
                      </a:lnTo>
                      <a:lnTo>
                        <a:pt x="13" y="143"/>
                      </a:lnTo>
                      <a:lnTo>
                        <a:pt x="17" y="133"/>
                      </a:lnTo>
                      <a:lnTo>
                        <a:pt x="18" y="132"/>
                      </a:lnTo>
                      <a:lnTo>
                        <a:pt x="18" y="130"/>
                      </a:lnTo>
                      <a:lnTo>
                        <a:pt x="20" y="130"/>
                      </a:lnTo>
                      <a:lnTo>
                        <a:pt x="20" y="129"/>
                      </a:lnTo>
                      <a:lnTo>
                        <a:pt x="23" y="127"/>
                      </a:lnTo>
                      <a:lnTo>
                        <a:pt x="24" y="127"/>
                      </a:lnTo>
                      <a:lnTo>
                        <a:pt x="24" y="126"/>
                      </a:lnTo>
                      <a:lnTo>
                        <a:pt x="25" y="126"/>
                      </a:lnTo>
                      <a:lnTo>
                        <a:pt x="25" y="125"/>
                      </a:lnTo>
                      <a:lnTo>
                        <a:pt x="25" y="125"/>
                      </a:lnTo>
                      <a:lnTo>
                        <a:pt x="25" y="122"/>
                      </a:lnTo>
                      <a:lnTo>
                        <a:pt x="27" y="120"/>
                      </a:lnTo>
                      <a:lnTo>
                        <a:pt x="27" y="119"/>
                      </a:lnTo>
                      <a:lnTo>
                        <a:pt x="27" y="118"/>
                      </a:lnTo>
                      <a:lnTo>
                        <a:pt x="27" y="116"/>
                      </a:lnTo>
                      <a:lnTo>
                        <a:pt x="32" y="109"/>
                      </a:lnTo>
                      <a:lnTo>
                        <a:pt x="37" y="99"/>
                      </a:lnTo>
                      <a:lnTo>
                        <a:pt x="37" y="99"/>
                      </a:lnTo>
                      <a:lnTo>
                        <a:pt x="37" y="99"/>
                      </a:lnTo>
                      <a:lnTo>
                        <a:pt x="35" y="98"/>
                      </a:lnTo>
                      <a:lnTo>
                        <a:pt x="35" y="98"/>
                      </a:lnTo>
                      <a:lnTo>
                        <a:pt x="37" y="87"/>
                      </a:lnTo>
                      <a:lnTo>
                        <a:pt x="37" y="85"/>
                      </a:lnTo>
                      <a:lnTo>
                        <a:pt x="37" y="84"/>
                      </a:lnTo>
                      <a:lnTo>
                        <a:pt x="37" y="84"/>
                      </a:lnTo>
                      <a:lnTo>
                        <a:pt x="37" y="82"/>
                      </a:lnTo>
                      <a:lnTo>
                        <a:pt x="38" y="81"/>
                      </a:lnTo>
                      <a:lnTo>
                        <a:pt x="38" y="81"/>
                      </a:lnTo>
                      <a:lnTo>
                        <a:pt x="38" y="81"/>
                      </a:lnTo>
                      <a:lnTo>
                        <a:pt x="39" y="80"/>
                      </a:lnTo>
                      <a:lnTo>
                        <a:pt x="41" y="80"/>
                      </a:lnTo>
                      <a:lnTo>
                        <a:pt x="42" y="80"/>
                      </a:lnTo>
                      <a:lnTo>
                        <a:pt x="42" y="80"/>
                      </a:lnTo>
                      <a:lnTo>
                        <a:pt x="45" y="80"/>
                      </a:lnTo>
                      <a:lnTo>
                        <a:pt x="52" y="75"/>
                      </a:lnTo>
                      <a:lnTo>
                        <a:pt x="59" y="73"/>
                      </a:lnTo>
                      <a:lnTo>
                        <a:pt x="62" y="71"/>
                      </a:lnTo>
                      <a:lnTo>
                        <a:pt x="66" y="67"/>
                      </a:lnTo>
                      <a:lnTo>
                        <a:pt x="67" y="66"/>
                      </a:lnTo>
                      <a:lnTo>
                        <a:pt x="67" y="66"/>
                      </a:lnTo>
                      <a:lnTo>
                        <a:pt x="67" y="64"/>
                      </a:lnTo>
                      <a:lnTo>
                        <a:pt x="70" y="60"/>
                      </a:lnTo>
                      <a:lnTo>
                        <a:pt x="70" y="59"/>
                      </a:lnTo>
                      <a:lnTo>
                        <a:pt x="70" y="59"/>
                      </a:lnTo>
                      <a:lnTo>
                        <a:pt x="69" y="54"/>
                      </a:lnTo>
                      <a:lnTo>
                        <a:pt x="69" y="54"/>
                      </a:lnTo>
                      <a:lnTo>
                        <a:pt x="66" y="52"/>
                      </a:lnTo>
                      <a:lnTo>
                        <a:pt x="66" y="49"/>
                      </a:lnTo>
                      <a:lnTo>
                        <a:pt x="65" y="47"/>
                      </a:lnTo>
                      <a:lnTo>
                        <a:pt x="65" y="46"/>
                      </a:lnTo>
                      <a:lnTo>
                        <a:pt x="65" y="46"/>
                      </a:lnTo>
                      <a:lnTo>
                        <a:pt x="65" y="45"/>
                      </a:lnTo>
                      <a:lnTo>
                        <a:pt x="65" y="45"/>
                      </a:lnTo>
                      <a:lnTo>
                        <a:pt x="65" y="45"/>
                      </a:lnTo>
                      <a:lnTo>
                        <a:pt x="66" y="43"/>
                      </a:lnTo>
                      <a:lnTo>
                        <a:pt x="66" y="43"/>
                      </a:lnTo>
                      <a:lnTo>
                        <a:pt x="69" y="40"/>
                      </a:lnTo>
                      <a:lnTo>
                        <a:pt x="69" y="40"/>
                      </a:lnTo>
                      <a:lnTo>
                        <a:pt x="73" y="33"/>
                      </a:lnTo>
                      <a:lnTo>
                        <a:pt x="73" y="33"/>
                      </a:lnTo>
                      <a:lnTo>
                        <a:pt x="73" y="32"/>
                      </a:lnTo>
                      <a:lnTo>
                        <a:pt x="73" y="31"/>
                      </a:lnTo>
                      <a:lnTo>
                        <a:pt x="73" y="31"/>
                      </a:lnTo>
                      <a:lnTo>
                        <a:pt x="72" y="29"/>
                      </a:lnTo>
                      <a:lnTo>
                        <a:pt x="72" y="29"/>
                      </a:lnTo>
                      <a:lnTo>
                        <a:pt x="72" y="28"/>
                      </a:lnTo>
                      <a:lnTo>
                        <a:pt x="72" y="26"/>
                      </a:lnTo>
                      <a:lnTo>
                        <a:pt x="72" y="26"/>
                      </a:lnTo>
                      <a:lnTo>
                        <a:pt x="72" y="26"/>
                      </a:lnTo>
                      <a:lnTo>
                        <a:pt x="72" y="25"/>
                      </a:lnTo>
                      <a:lnTo>
                        <a:pt x="72" y="25"/>
                      </a:lnTo>
                      <a:lnTo>
                        <a:pt x="72" y="24"/>
                      </a:lnTo>
                      <a:lnTo>
                        <a:pt x="73" y="24"/>
                      </a:lnTo>
                      <a:lnTo>
                        <a:pt x="75" y="24"/>
                      </a:lnTo>
                      <a:lnTo>
                        <a:pt x="75" y="22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  <p:sp>
              <p:nvSpPr>
                <p:cNvPr id="111" name="Freeform 142"/>
                <p:cNvSpPr>
                  <a:spLocks/>
                </p:cNvSpPr>
                <p:nvPr/>
              </p:nvSpPr>
              <p:spPr bwMode="auto">
                <a:xfrm>
                  <a:off x="7364412" y="1996282"/>
                  <a:ext cx="390525" cy="179388"/>
                </a:xfrm>
                <a:custGeom>
                  <a:avLst/>
                  <a:gdLst>
                    <a:gd name="T0" fmla="*/ 164 w 246"/>
                    <a:gd name="T1" fmla="*/ 94 h 113"/>
                    <a:gd name="T2" fmla="*/ 164 w 246"/>
                    <a:gd name="T3" fmla="*/ 91 h 113"/>
                    <a:gd name="T4" fmla="*/ 151 w 246"/>
                    <a:gd name="T5" fmla="*/ 92 h 113"/>
                    <a:gd name="T6" fmla="*/ 146 w 246"/>
                    <a:gd name="T7" fmla="*/ 83 h 113"/>
                    <a:gd name="T8" fmla="*/ 126 w 246"/>
                    <a:gd name="T9" fmla="*/ 73 h 113"/>
                    <a:gd name="T10" fmla="*/ 91 w 246"/>
                    <a:gd name="T11" fmla="*/ 71 h 113"/>
                    <a:gd name="T12" fmla="*/ 26 w 246"/>
                    <a:gd name="T13" fmla="*/ 70 h 113"/>
                    <a:gd name="T14" fmla="*/ 0 w 246"/>
                    <a:gd name="T15" fmla="*/ 67 h 113"/>
                    <a:gd name="T16" fmla="*/ 15 w 246"/>
                    <a:gd name="T17" fmla="*/ 15 h 113"/>
                    <a:gd name="T18" fmla="*/ 18 w 246"/>
                    <a:gd name="T19" fmla="*/ 11 h 113"/>
                    <a:gd name="T20" fmla="*/ 67 w 246"/>
                    <a:gd name="T21" fmla="*/ 14 h 113"/>
                    <a:gd name="T22" fmla="*/ 153 w 246"/>
                    <a:gd name="T23" fmla="*/ 15 h 113"/>
                    <a:gd name="T24" fmla="*/ 162 w 246"/>
                    <a:gd name="T25" fmla="*/ 7 h 113"/>
                    <a:gd name="T26" fmla="*/ 178 w 246"/>
                    <a:gd name="T27" fmla="*/ 0 h 113"/>
                    <a:gd name="T28" fmla="*/ 182 w 246"/>
                    <a:gd name="T29" fmla="*/ 1 h 113"/>
                    <a:gd name="T30" fmla="*/ 185 w 246"/>
                    <a:gd name="T31" fmla="*/ 1 h 113"/>
                    <a:gd name="T32" fmla="*/ 186 w 246"/>
                    <a:gd name="T33" fmla="*/ 15 h 113"/>
                    <a:gd name="T34" fmla="*/ 190 w 246"/>
                    <a:gd name="T35" fmla="*/ 19 h 113"/>
                    <a:gd name="T36" fmla="*/ 196 w 246"/>
                    <a:gd name="T37" fmla="*/ 21 h 113"/>
                    <a:gd name="T38" fmla="*/ 196 w 246"/>
                    <a:gd name="T39" fmla="*/ 19 h 113"/>
                    <a:gd name="T40" fmla="*/ 199 w 246"/>
                    <a:gd name="T41" fmla="*/ 17 h 113"/>
                    <a:gd name="T42" fmla="*/ 202 w 246"/>
                    <a:gd name="T43" fmla="*/ 19 h 113"/>
                    <a:gd name="T44" fmla="*/ 188 w 246"/>
                    <a:gd name="T45" fmla="*/ 28 h 113"/>
                    <a:gd name="T46" fmla="*/ 181 w 246"/>
                    <a:gd name="T47" fmla="*/ 32 h 113"/>
                    <a:gd name="T48" fmla="*/ 169 w 246"/>
                    <a:gd name="T49" fmla="*/ 48 h 113"/>
                    <a:gd name="T50" fmla="*/ 181 w 246"/>
                    <a:gd name="T51" fmla="*/ 53 h 113"/>
                    <a:gd name="T52" fmla="*/ 183 w 246"/>
                    <a:gd name="T53" fmla="*/ 50 h 113"/>
                    <a:gd name="T54" fmla="*/ 192 w 246"/>
                    <a:gd name="T55" fmla="*/ 56 h 113"/>
                    <a:gd name="T56" fmla="*/ 195 w 246"/>
                    <a:gd name="T57" fmla="*/ 74 h 113"/>
                    <a:gd name="T58" fmla="*/ 199 w 246"/>
                    <a:gd name="T59" fmla="*/ 77 h 113"/>
                    <a:gd name="T60" fmla="*/ 202 w 246"/>
                    <a:gd name="T61" fmla="*/ 77 h 113"/>
                    <a:gd name="T62" fmla="*/ 206 w 246"/>
                    <a:gd name="T63" fmla="*/ 84 h 113"/>
                    <a:gd name="T64" fmla="*/ 204 w 246"/>
                    <a:gd name="T65" fmla="*/ 88 h 113"/>
                    <a:gd name="T66" fmla="*/ 206 w 246"/>
                    <a:gd name="T67" fmla="*/ 90 h 113"/>
                    <a:gd name="T68" fmla="*/ 218 w 246"/>
                    <a:gd name="T69" fmla="*/ 97 h 113"/>
                    <a:gd name="T70" fmla="*/ 228 w 246"/>
                    <a:gd name="T71" fmla="*/ 94 h 113"/>
                    <a:gd name="T72" fmla="*/ 234 w 246"/>
                    <a:gd name="T73" fmla="*/ 94 h 113"/>
                    <a:gd name="T74" fmla="*/ 241 w 246"/>
                    <a:gd name="T75" fmla="*/ 90 h 113"/>
                    <a:gd name="T76" fmla="*/ 242 w 246"/>
                    <a:gd name="T77" fmla="*/ 81 h 113"/>
                    <a:gd name="T78" fmla="*/ 232 w 246"/>
                    <a:gd name="T79" fmla="*/ 69 h 113"/>
                    <a:gd name="T80" fmla="*/ 230 w 246"/>
                    <a:gd name="T81" fmla="*/ 69 h 113"/>
                    <a:gd name="T82" fmla="*/ 228 w 246"/>
                    <a:gd name="T83" fmla="*/ 71 h 113"/>
                    <a:gd name="T84" fmla="*/ 230 w 246"/>
                    <a:gd name="T85" fmla="*/ 71 h 113"/>
                    <a:gd name="T86" fmla="*/ 228 w 246"/>
                    <a:gd name="T87" fmla="*/ 71 h 113"/>
                    <a:gd name="T88" fmla="*/ 225 w 246"/>
                    <a:gd name="T89" fmla="*/ 67 h 113"/>
                    <a:gd name="T90" fmla="*/ 234 w 246"/>
                    <a:gd name="T91" fmla="*/ 67 h 113"/>
                    <a:gd name="T92" fmla="*/ 238 w 246"/>
                    <a:gd name="T93" fmla="*/ 71 h 113"/>
                    <a:gd name="T94" fmla="*/ 242 w 246"/>
                    <a:gd name="T95" fmla="*/ 77 h 113"/>
                    <a:gd name="T96" fmla="*/ 246 w 246"/>
                    <a:gd name="T97" fmla="*/ 87 h 113"/>
                    <a:gd name="T98" fmla="*/ 242 w 246"/>
                    <a:gd name="T99" fmla="*/ 101 h 113"/>
                    <a:gd name="T100" fmla="*/ 228 w 246"/>
                    <a:gd name="T101" fmla="*/ 102 h 113"/>
                    <a:gd name="T102" fmla="*/ 213 w 246"/>
                    <a:gd name="T103" fmla="*/ 104 h 113"/>
                    <a:gd name="T104" fmla="*/ 211 w 246"/>
                    <a:gd name="T105" fmla="*/ 106 h 113"/>
                    <a:gd name="T106" fmla="*/ 197 w 246"/>
                    <a:gd name="T107" fmla="*/ 112 h 113"/>
                    <a:gd name="T108" fmla="*/ 197 w 246"/>
                    <a:gd name="T109" fmla="*/ 98 h 113"/>
                    <a:gd name="T110" fmla="*/ 168 w 246"/>
                    <a:gd name="T111" fmla="*/ 113 h 113"/>
                    <a:gd name="T112" fmla="*/ 162 w 246"/>
                    <a:gd name="T113" fmla="*/ 105 h 113"/>
                    <a:gd name="T114" fmla="*/ 162 w 246"/>
                    <a:gd name="T115" fmla="*/ 102 h 113"/>
                    <a:gd name="T116" fmla="*/ 160 w 246"/>
                    <a:gd name="T117" fmla="*/ 101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46" h="113">
                      <a:moveTo>
                        <a:pt x="161" y="97"/>
                      </a:moveTo>
                      <a:lnTo>
                        <a:pt x="162" y="97"/>
                      </a:lnTo>
                      <a:lnTo>
                        <a:pt x="162" y="95"/>
                      </a:lnTo>
                      <a:lnTo>
                        <a:pt x="164" y="94"/>
                      </a:lnTo>
                      <a:lnTo>
                        <a:pt x="164" y="92"/>
                      </a:lnTo>
                      <a:lnTo>
                        <a:pt x="165" y="91"/>
                      </a:lnTo>
                      <a:lnTo>
                        <a:pt x="165" y="91"/>
                      </a:lnTo>
                      <a:lnTo>
                        <a:pt x="164" y="91"/>
                      </a:lnTo>
                      <a:lnTo>
                        <a:pt x="158" y="97"/>
                      </a:lnTo>
                      <a:lnTo>
                        <a:pt x="157" y="98"/>
                      </a:lnTo>
                      <a:lnTo>
                        <a:pt x="155" y="97"/>
                      </a:lnTo>
                      <a:lnTo>
                        <a:pt x="151" y="92"/>
                      </a:lnTo>
                      <a:lnTo>
                        <a:pt x="150" y="92"/>
                      </a:lnTo>
                      <a:lnTo>
                        <a:pt x="150" y="91"/>
                      </a:lnTo>
                      <a:lnTo>
                        <a:pt x="148" y="91"/>
                      </a:lnTo>
                      <a:lnTo>
                        <a:pt x="146" y="83"/>
                      </a:lnTo>
                      <a:lnTo>
                        <a:pt x="146" y="78"/>
                      </a:lnTo>
                      <a:lnTo>
                        <a:pt x="146" y="73"/>
                      </a:lnTo>
                      <a:lnTo>
                        <a:pt x="131" y="73"/>
                      </a:lnTo>
                      <a:lnTo>
                        <a:pt x="126" y="73"/>
                      </a:lnTo>
                      <a:lnTo>
                        <a:pt x="117" y="73"/>
                      </a:lnTo>
                      <a:lnTo>
                        <a:pt x="117" y="71"/>
                      </a:lnTo>
                      <a:lnTo>
                        <a:pt x="103" y="71"/>
                      </a:lnTo>
                      <a:lnTo>
                        <a:pt x="91" y="71"/>
                      </a:lnTo>
                      <a:lnTo>
                        <a:pt x="70" y="71"/>
                      </a:lnTo>
                      <a:lnTo>
                        <a:pt x="64" y="71"/>
                      </a:lnTo>
                      <a:lnTo>
                        <a:pt x="43" y="70"/>
                      </a:lnTo>
                      <a:lnTo>
                        <a:pt x="26" y="70"/>
                      </a:lnTo>
                      <a:lnTo>
                        <a:pt x="19" y="70"/>
                      </a:lnTo>
                      <a:lnTo>
                        <a:pt x="1" y="69"/>
                      </a:lnTo>
                      <a:lnTo>
                        <a:pt x="0" y="69"/>
                      </a:lnTo>
                      <a:lnTo>
                        <a:pt x="0" y="67"/>
                      </a:lnTo>
                      <a:lnTo>
                        <a:pt x="1" y="60"/>
                      </a:lnTo>
                      <a:lnTo>
                        <a:pt x="12" y="22"/>
                      </a:lnTo>
                      <a:lnTo>
                        <a:pt x="14" y="17"/>
                      </a:lnTo>
                      <a:lnTo>
                        <a:pt x="15" y="15"/>
                      </a:lnTo>
                      <a:lnTo>
                        <a:pt x="15" y="12"/>
                      </a:lnTo>
                      <a:lnTo>
                        <a:pt x="17" y="12"/>
                      </a:lnTo>
                      <a:lnTo>
                        <a:pt x="17" y="11"/>
                      </a:lnTo>
                      <a:lnTo>
                        <a:pt x="18" y="11"/>
                      </a:lnTo>
                      <a:lnTo>
                        <a:pt x="18" y="11"/>
                      </a:lnTo>
                      <a:lnTo>
                        <a:pt x="32" y="12"/>
                      </a:lnTo>
                      <a:lnTo>
                        <a:pt x="57" y="12"/>
                      </a:lnTo>
                      <a:lnTo>
                        <a:pt x="67" y="14"/>
                      </a:lnTo>
                      <a:lnTo>
                        <a:pt x="71" y="14"/>
                      </a:lnTo>
                      <a:lnTo>
                        <a:pt x="94" y="14"/>
                      </a:lnTo>
                      <a:lnTo>
                        <a:pt x="116" y="15"/>
                      </a:lnTo>
                      <a:lnTo>
                        <a:pt x="153" y="15"/>
                      </a:lnTo>
                      <a:lnTo>
                        <a:pt x="153" y="15"/>
                      </a:lnTo>
                      <a:lnTo>
                        <a:pt x="161" y="8"/>
                      </a:lnTo>
                      <a:lnTo>
                        <a:pt x="162" y="7"/>
                      </a:lnTo>
                      <a:lnTo>
                        <a:pt x="162" y="7"/>
                      </a:lnTo>
                      <a:lnTo>
                        <a:pt x="164" y="5"/>
                      </a:lnTo>
                      <a:lnTo>
                        <a:pt x="172" y="3"/>
                      </a:lnTo>
                      <a:lnTo>
                        <a:pt x="178" y="1"/>
                      </a:lnTo>
                      <a:lnTo>
                        <a:pt x="178" y="0"/>
                      </a:lnTo>
                      <a:lnTo>
                        <a:pt x="179" y="0"/>
                      </a:lnTo>
                      <a:lnTo>
                        <a:pt x="179" y="0"/>
                      </a:lnTo>
                      <a:lnTo>
                        <a:pt x="181" y="0"/>
                      </a:lnTo>
                      <a:lnTo>
                        <a:pt x="182" y="1"/>
                      </a:lnTo>
                      <a:lnTo>
                        <a:pt x="182" y="3"/>
                      </a:lnTo>
                      <a:lnTo>
                        <a:pt x="183" y="3"/>
                      </a:lnTo>
                      <a:lnTo>
                        <a:pt x="183" y="1"/>
                      </a:lnTo>
                      <a:lnTo>
                        <a:pt x="185" y="1"/>
                      </a:lnTo>
                      <a:lnTo>
                        <a:pt x="186" y="12"/>
                      </a:lnTo>
                      <a:lnTo>
                        <a:pt x="186" y="12"/>
                      </a:lnTo>
                      <a:lnTo>
                        <a:pt x="186" y="14"/>
                      </a:lnTo>
                      <a:lnTo>
                        <a:pt x="186" y="15"/>
                      </a:lnTo>
                      <a:lnTo>
                        <a:pt x="186" y="15"/>
                      </a:lnTo>
                      <a:lnTo>
                        <a:pt x="189" y="19"/>
                      </a:lnTo>
                      <a:lnTo>
                        <a:pt x="189" y="19"/>
                      </a:lnTo>
                      <a:lnTo>
                        <a:pt x="190" y="19"/>
                      </a:lnTo>
                      <a:lnTo>
                        <a:pt x="195" y="21"/>
                      </a:lnTo>
                      <a:lnTo>
                        <a:pt x="195" y="21"/>
                      </a:lnTo>
                      <a:lnTo>
                        <a:pt x="196" y="21"/>
                      </a:lnTo>
                      <a:lnTo>
                        <a:pt x="196" y="21"/>
                      </a:lnTo>
                      <a:lnTo>
                        <a:pt x="196" y="21"/>
                      </a:lnTo>
                      <a:lnTo>
                        <a:pt x="196" y="19"/>
                      </a:lnTo>
                      <a:lnTo>
                        <a:pt x="196" y="19"/>
                      </a:lnTo>
                      <a:lnTo>
                        <a:pt x="196" y="19"/>
                      </a:lnTo>
                      <a:lnTo>
                        <a:pt x="196" y="19"/>
                      </a:lnTo>
                      <a:lnTo>
                        <a:pt x="196" y="18"/>
                      </a:lnTo>
                      <a:lnTo>
                        <a:pt x="197" y="18"/>
                      </a:lnTo>
                      <a:lnTo>
                        <a:pt x="199" y="17"/>
                      </a:lnTo>
                      <a:lnTo>
                        <a:pt x="199" y="17"/>
                      </a:lnTo>
                      <a:lnTo>
                        <a:pt x="202" y="19"/>
                      </a:lnTo>
                      <a:lnTo>
                        <a:pt x="202" y="19"/>
                      </a:lnTo>
                      <a:lnTo>
                        <a:pt x="202" y="19"/>
                      </a:lnTo>
                      <a:lnTo>
                        <a:pt x="200" y="21"/>
                      </a:lnTo>
                      <a:lnTo>
                        <a:pt x="199" y="24"/>
                      </a:lnTo>
                      <a:lnTo>
                        <a:pt x="197" y="25"/>
                      </a:lnTo>
                      <a:lnTo>
                        <a:pt x="188" y="28"/>
                      </a:lnTo>
                      <a:lnTo>
                        <a:pt x="182" y="28"/>
                      </a:lnTo>
                      <a:lnTo>
                        <a:pt x="182" y="29"/>
                      </a:lnTo>
                      <a:lnTo>
                        <a:pt x="181" y="29"/>
                      </a:lnTo>
                      <a:lnTo>
                        <a:pt x="181" y="32"/>
                      </a:lnTo>
                      <a:lnTo>
                        <a:pt x="169" y="43"/>
                      </a:lnTo>
                      <a:lnTo>
                        <a:pt x="169" y="43"/>
                      </a:lnTo>
                      <a:lnTo>
                        <a:pt x="169" y="48"/>
                      </a:lnTo>
                      <a:lnTo>
                        <a:pt x="169" y="48"/>
                      </a:lnTo>
                      <a:lnTo>
                        <a:pt x="169" y="49"/>
                      </a:lnTo>
                      <a:lnTo>
                        <a:pt x="175" y="53"/>
                      </a:lnTo>
                      <a:lnTo>
                        <a:pt x="175" y="53"/>
                      </a:lnTo>
                      <a:lnTo>
                        <a:pt x="181" y="53"/>
                      </a:lnTo>
                      <a:lnTo>
                        <a:pt x="182" y="53"/>
                      </a:lnTo>
                      <a:lnTo>
                        <a:pt x="182" y="52"/>
                      </a:lnTo>
                      <a:lnTo>
                        <a:pt x="182" y="52"/>
                      </a:lnTo>
                      <a:lnTo>
                        <a:pt x="183" y="50"/>
                      </a:lnTo>
                      <a:lnTo>
                        <a:pt x="189" y="53"/>
                      </a:lnTo>
                      <a:lnTo>
                        <a:pt x="189" y="53"/>
                      </a:lnTo>
                      <a:lnTo>
                        <a:pt x="192" y="56"/>
                      </a:lnTo>
                      <a:lnTo>
                        <a:pt x="192" y="56"/>
                      </a:lnTo>
                      <a:lnTo>
                        <a:pt x="197" y="69"/>
                      </a:lnTo>
                      <a:lnTo>
                        <a:pt x="196" y="69"/>
                      </a:lnTo>
                      <a:lnTo>
                        <a:pt x="196" y="69"/>
                      </a:lnTo>
                      <a:lnTo>
                        <a:pt x="195" y="74"/>
                      </a:lnTo>
                      <a:lnTo>
                        <a:pt x="196" y="76"/>
                      </a:lnTo>
                      <a:lnTo>
                        <a:pt x="196" y="77"/>
                      </a:lnTo>
                      <a:lnTo>
                        <a:pt x="197" y="77"/>
                      </a:lnTo>
                      <a:lnTo>
                        <a:pt x="199" y="77"/>
                      </a:lnTo>
                      <a:lnTo>
                        <a:pt x="200" y="78"/>
                      </a:lnTo>
                      <a:lnTo>
                        <a:pt x="200" y="78"/>
                      </a:lnTo>
                      <a:lnTo>
                        <a:pt x="202" y="78"/>
                      </a:lnTo>
                      <a:lnTo>
                        <a:pt x="202" y="77"/>
                      </a:lnTo>
                      <a:lnTo>
                        <a:pt x="202" y="77"/>
                      </a:lnTo>
                      <a:lnTo>
                        <a:pt x="204" y="78"/>
                      </a:lnTo>
                      <a:lnTo>
                        <a:pt x="204" y="80"/>
                      </a:lnTo>
                      <a:lnTo>
                        <a:pt x="206" y="84"/>
                      </a:lnTo>
                      <a:lnTo>
                        <a:pt x="206" y="85"/>
                      </a:lnTo>
                      <a:lnTo>
                        <a:pt x="206" y="87"/>
                      </a:lnTo>
                      <a:lnTo>
                        <a:pt x="204" y="87"/>
                      </a:lnTo>
                      <a:lnTo>
                        <a:pt x="204" y="88"/>
                      </a:lnTo>
                      <a:lnTo>
                        <a:pt x="204" y="88"/>
                      </a:lnTo>
                      <a:lnTo>
                        <a:pt x="204" y="90"/>
                      </a:lnTo>
                      <a:lnTo>
                        <a:pt x="204" y="90"/>
                      </a:lnTo>
                      <a:lnTo>
                        <a:pt x="206" y="90"/>
                      </a:lnTo>
                      <a:lnTo>
                        <a:pt x="210" y="94"/>
                      </a:lnTo>
                      <a:lnTo>
                        <a:pt x="210" y="94"/>
                      </a:lnTo>
                      <a:lnTo>
                        <a:pt x="211" y="94"/>
                      </a:lnTo>
                      <a:lnTo>
                        <a:pt x="218" y="97"/>
                      </a:lnTo>
                      <a:lnTo>
                        <a:pt x="218" y="98"/>
                      </a:lnTo>
                      <a:lnTo>
                        <a:pt x="221" y="98"/>
                      </a:lnTo>
                      <a:lnTo>
                        <a:pt x="227" y="95"/>
                      </a:lnTo>
                      <a:lnTo>
                        <a:pt x="228" y="94"/>
                      </a:lnTo>
                      <a:lnTo>
                        <a:pt x="230" y="94"/>
                      </a:lnTo>
                      <a:lnTo>
                        <a:pt x="231" y="94"/>
                      </a:lnTo>
                      <a:lnTo>
                        <a:pt x="231" y="94"/>
                      </a:lnTo>
                      <a:lnTo>
                        <a:pt x="234" y="94"/>
                      </a:lnTo>
                      <a:lnTo>
                        <a:pt x="235" y="92"/>
                      </a:lnTo>
                      <a:lnTo>
                        <a:pt x="239" y="91"/>
                      </a:lnTo>
                      <a:lnTo>
                        <a:pt x="239" y="91"/>
                      </a:lnTo>
                      <a:lnTo>
                        <a:pt x="241" y="90"/>
                      </a:lnTo>
                      <a:lnTo>
                        <a:pt x="242" y="88"/>
                      </a:lnTo>
                      <a:lnTo>
                        <a:pt x="242" y="87"/>
                      </a:lnTo>
                      <a:lnTo>
                        <a:pt x="242" y="81"/>
                      </a:lnTo>
                      <a:lnTo>
                        <a:pt x="242" y="81"/>
                      </a:lnTo>
                      <a:lnTo>
                        <a:pt x="234" y="70"/>
                      </a:lnTo>
                      <a:lnTo>
                        <a:pt x="232" y="69"/>
                      </a:lnTo>
                      <a:lnTo>
                        <a:pt x="232" y="69"/>
                      </a:lnTo>
                      <a:lnTo>
                        <a:pt x="232" y="69"/>
                      </a:lnTo>
                      <a:lnTo>
                        <a:pt x="231" y="69"/>
                      </a:lnTo>
                      <a:lnTo>
                        <a:pt x="231" y="69"/>
                      </a:lnTo>
                      <a:lnTo>
                        <a:pt x="230" y="69"/>
                      </a:lnTo>
                      <a:lnTo>
                        <a:pt x="230" y="69"/>
                      </a:lnTo>
                      <a:lnTo>
                        <a:pt x="228" y="70"/>
                      </a:lnTo>
                      <a:lnTo>
                        <a:pt x="228" y="70"/>
                      </a:lnTo>
                      <a:lnTo>
                        <a:pt x="228" y="70"/>
                      </a:lnTo>
                      <a:lnTo>
                        <a:pt x="228" y="71"/>
                      </a:lnTo>
                      <a:lnTo>
                        <a:pt x="228" y="71"/>
                      </a:lnTo>
                      <a:lnTo>
                        <a:pt x="230" y="71"/>
                      </a:lnTo>
                      <a:lnTo>
                        <a:pt x="230" y="71"/>
                      </a:lnTo>
                      <a:lnTo>
                        <a:pt x="230" y="71"/>
                      </a:lnTo>
                      <a:lnTo>
                        <a:pt x="230" y="71"/>
                      </a:lnTo>
                      <a:lnTo>
                        <a:pt x="228" y="71"/>
                      </a:lnTo>
                      <a:lnTo>
                        <a:pt x="228" y="71"/>
                      </a:lnTo>
                      <a:lnTo>
                        <a:pt x="228" y="71"/>
                      </a:lnTo>
                      <a:lnTo>
                        <a:pt x="224" y="69"/>
                      </a:lnTo>
                      <a:lnTo>
                        <a:pt x="224" y="67"/>
                      </a:lnTo>
                      <a:lnTo>
                        <a:pt x="224" y="67"/>
                      </a:lnTo>
                      <a:lnTo>
                        <a:pt x="225" y="67"/>
                      </a:lnTo>
                      <a:lnTo>
                        <a:pt x="225" y="66"/>
                      </a:lnTo>
                      <a:lnTo>
                        <a:pt x="227" y="66"/>
                      </a:lnTo>
                      <a:lnTo>
                        <a:pt x="231" y="66"/>
                      </a:lnTo>
                      <a:lnTo>
                        <a:pt x="234" y="67"/>
                      </a:lnTo>
                      <a:lnTo>
                        <a:pt x="234" y="67"/>
                      </a:lnTo>
                      <a:lnTo>
                        <a:pt x="235" y="69"/>
                      </a:lnTo>
                      <a:lnTo>
                        <a:pt x="237" y="69"/>
                      </a:lnTo>
                      <a:lnTo>
                        <a:pt x="238" y="71"/>
                      </a:lnTo>
                      <a:lnTo>
                        <a:pt x="239" y="73"/>
                      </a:lnTo>
                      <a:lnTo>
                        <a:pt x="241" y="74"/>
                      </a:lnTo>
                      <a:lnTo>
                        <a:pt x="242" y="76"/>
                      </a:lnTo>
                      <a:lnTo>
                        <a:pt x="242" y="77"/>
                      </a:lnTo>
                      <a:lnTo>
                        <a:pt x="244" y="80"/>
                      </a:lnTo>
                      <a:lnTo>
                        <a:pt x="245" y="81"/>
                      </a:lnTo>
                      <a:lnTo>
                        <a:pt x="246" y="85"/>
                      </a:lnTo>
                      <a:lnTo>
                        <a:pt x="246" y="87"/>
                      </a:lnTo>
                      <a:lnTo>
                        <a:pt x="246" y="97"/>
                      </a:lnTo>
                      <a:lnTo>
                        <a:pt x="246" y="101"/>
                      </a:lnTo>
                      <a:lnTo>
                        <a:pt x="246" y="101"/>
                      </a:lnTo>
                      <a:lnTo>
                        <a:pt x="242" y="101"/>
                      </a:lnTo>
                      <a:lnTo>
                        <a:pt x="239" y="101"/>
                      </a:lnTo>
                      <a:lnTo>
                        <a:pt x="238" y="101"/>
                      </a:lnTo>
                      <a:lnTo>
                        <a:pt x="235" y="101"/>
                      </a:lnTo>
                      <a:lnTo>
                        <a:pt x="228" y="102"/>
                      </a:lnTo>
                      <a:lnTo>
                        <a:pt x="228" y="102"/>
                      </a:lnTo>
                      <a:lnTo>
                        <a:pt x="225" y="102"/>
                      </a:lnTo>
                      <a:lnTo>
                        <a:pt x="217" y="104"/>
                      </a:lnTo>
                      <a:lnTo>
                        <a:pt x="213" y="104"/>
                      </a:lnTo>
                      <a:lnTo>
                        <a:pt x="213" y="104"/>
                      </a:lnTo>
                      <a:lnTo>
                        <a:pt x="213" y="104"/>
                      </a:lnTo>
                      <a:lnTo>
                        <a:pt x="211" y="104"/>
                      </a:lnTo>
                      <a:lnTo>
                        <a:pt x="211" y="106"/>
                      </a:lnTo>
                      <a:lnTo>
                        <a:pt x="209" y="109"/>
                      </a:lnTo>
                      <a:lnTo>
                        <a:pt x="209" y="109"/>
                      </a:lnTo>
                      <a:lnTo>
                        <a:pt x="207" y="111"/>
                      </a:lnTo>
                      <a:lnTo>
                        <a:pt x="197" y="112"/>
                      </a:lnTo>
                      <a:lnTo>
                        <a:pt x="196" y="111"/>
                      </a:lnTo>
                      <a:lnTo>
                        <a:pt x="196" y="106"/>
                      </a:lnTo>
                      <a:lnTo>
                        <a:pt x="196" y="104"/>
                      </a:lnTo>
                      <a:lnTo>
                        <a:pt x="197" y="98"/>
                      </a:lnTo>
                      <a:lnTo>
                        <a:pt x="192" y="97"/>
                      </a:lnTo>
                      <a:lnTo>
                        <a:pt x="185" y="104"/>
                      </a:lnTo>
                      <a:lnTo>
                        <a:pt x="178" y="111"/>
                      </a:lnTo>
                      <a:lnTo>
                        <a:pt x="168" y="113"/>
                      </a:lnTo>
                      <a:lnTo>
                        <a:pt x="164" y="113"/>
                      </a:lnTo>
                      <a:lnTo>
                        <a:pt x="162" y="106"/>
                      </a:lnTo>
                      <a:lnTo>
                        <a:pt x="162" y="105"/>
                      </a:lnTo>
                      <a:lnTo>
                        <a:pt x="162" y="105"/>
                      </a:lnTo>
                      <a:lnTo>
                        <a:pt x="162" y="104"/>
                      </a:lnTo>
                      <a:lnTo>
                        <a:pt x="162" y="104"/>
                      </a:lnTo>
                      <a:lnTo>
                        <a:pt x="162" y="104"/>
                      </a:lnTo>
                      <a:lnTo>
                        <a:pt x="162" y="102"/>
                      </a:lnTo>
                      <a:lnTo>
                        <a:pt x="162" y="102"/>
                      </a:lnTo>
                      <a:lnTo>
                        <a:pt x="161" y="101"/>
                      </a:lnTo>
                      <a:lnTo>
                        <a:pt x="160" y="101"/>
                      </a:lnTo>
                      <a:lnTo>
                        <a:pt x="160" y="101"/>
                      </a:lnTo>
                      <a:lnTo>
                        <a:pt x="161" y="97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  <p:sp>
              <p:nvSpPr>
                <p:cNvPr id="112" name="Freeform 152"/>
                <p:cNvSpPr>
                  <a:spLocks/>
                </p:cNvSpPr>
                <p:nvPr/>
              </p:nvSpPr>
              <p:spPr bwMode="auto">
                <a:xfrm>
                  <a:off x="5238750" y="1475582"/>
                  <a:ext cx="593725" cy="573088"/>
                </a:xfrm>
                <a:custGeom>
                  <a:avLst/>
                  <a:gdLst>
                    <a:gd name="T0" fmla="*/ 342 w 374"/>
                    <a:gd name="T1" fmla="*/ 289 h 361"/>
                    <a:gd name="T2" fmla="*/ 363 w 374"/>
                    <a:gd name="T3" fmla="*/ 214 h 361"/>
                    <a:gd name="T4" fmla="*/ 350 w 374"/>
                    <a:gd name="T5" fmla="*/ 183 h 361"/>
                    <a:gd name="T6" fmla="*/ 361 w 374"/>
                    <a:gd name="T7" fmla="*/ 144 h 361"/>
                    <a:gd name="T8" fmla="*/ 356 w 374"/>
                    <a:gd name="T9" fmla="*/ 137 h 361"/>
                    <a:gd name="T10" fmla="*/ 354 w 374"/>
                    <a:gd name="T11" fmla="*/ 125 h 361"/>
                    <a:gd name="T12" fmla="*/ 347 w 374"/>
                    <a:gd name="T13" fmla="*/ 125 h 361"/>
                    <a:gd name="T14" fmla="*/ 347 w 374"/>
                    <a:gd name="T15" fmla="*/ 118 h 361"/>
                    <a:gd name="T16" fmla="*/ 352 w 374"/>
                    <a:gd name="T17" fmla="*/ 115 h 361"/>
                    <a:gd name="T18" fmla="*/ 352 w 374"/>
                    <a:gd name="T19" fmla="*/ 96 h 361"/>
                    <a:gd name="T20" fmla="*/ 340 w 374"/>
                    <a:gd name="T21" fmla="*/ 91 h 361"/>
                    <a:gd name="T22" fmla="*/ 331 w 374"/>
                    <a:gd name="T23" fmla="*/ 88 h 361"/>
                    <a:gd name="T24" fmla="*/ 331 w 374"/>
                    <a:gd name="T25" fmla="*/ 85 h 361"/>
                    <a:gd name="T26" fmla="*/ 331 w 374"/>
                    <a:gd name="T27" fmla="*/ 77 h 361"/>
                    <a:gd name="T28" fmla="*/ 301 w 374"/>
                    <a:gd name="T29" fmla="*/ 70 h 361"/>
                    <a:gd name="T30" fmla="*/ 294 w 374"/>
                    <a:gd name="T31" fmla="*/ 71 h 361"/>
                    <a:gd name="T32" fmla="*/ 258 w 374"/>
                    <a:gd name="T33" fmla="*/ 59 h 361"/>
                    <a:gd name="T34" fmla="*/ 199 w 374"/>
                    <a:gd name="T35" fmla="*/ 45 h 361"/>
                    <a:gd name="T36" fmla="*/ 185 w 374"/>
                    <a:gd name="T37" fmla="*/ 29 h 361"/>
                    <a:gd name="T38" fmla="*/ 172 w 374"/>
                    <a:gd name="T39" fmla="*/ 26 h 361"/>
                    <a:gd name="T40" fmla="*/ 147 w 374"/>
                    <a:gd name="T41" fmla="*/ 25 h 361"/>
                    <a:gd name="T42" fmla="*/ 98 w 374"/>
                    <a:gd name="T43" fmla="*/ 8 h 361"/>
                    <a:gd name="T44" fmla="*/ 42 w 374"/>
                    <a:gd name="T45" fmla="*/ 17 h 361"/>
                    <a:gd name="T46" fmla="*/ 37 w 374"/>
                    <a:gd name="T47" fmla="*/ 70 h 361"/>
                    <a:gd name="T48" fmla="*/ 15 w 374"/>
                    <a:gd name="T49" fmla="*/ 78 h 361"/>
                    <a:gd name="T50" fmla="*/ 1 w 374"/>
                    <a:gd name="T51" fmla="*/ 95 h 361"/>
                    <a:gd name="T52" fmla="*/ 0 w 374"/>
                    <a:gd name="T53" fmla="*/ 105 h 361"/>
                    <a:gd name="T54" fmla="*/ 2 w 374"/>
                    <a:gd name="T55" fmla="*/ 108 h 361"/>
                    <a:gd name="T56" fmla="*/ 9 w 374"/>
                    <a:gd name="T57" fmla="*/ 108 h 361"/>
                    <a:gd name="T58" fmla="*/ 16 w 374"/>
                    <a:gd name="T59" fmla="*/ 119 h 361"/>
                    <a:gd name="T60" fmla="*/ 12 w 374"/>
                    <a:gd name="T61" fmla="*/ 127 h 361"/>
                    <a:gd name="T62" fmla="*/ 9 w 374"/>
                    <a:gd name="T63" fmla="*/ 137 h 361"/>
                    <a:gd name="T64" fmla="*/ 8 w 374"/>
                    <a:gd name="T65" fmla="*/ 169 h 361"/>
                    <a:gd name="T66" fmla="*/ 19 w 374"/>
                    <a:gd name="T67" fmla="*/ 185 h 361"/>
                    <a:gd name="T68" fmla="*/ 30 w 374"/>
                    <a:gd name="T69" fmla="*/ 189 h 361"/>
                    <a:gd name="T70" fmla="*/ 37 w 374"/>
                    <a:gd name="T71" fmla="*/ 190 h 361"/>
                    <a:gd name="T72" fmla="*/ 40 w 374"/>
                    <a:gd name="T73" fmla="*/ 195 h 361"/>
                    <a:gd name="T74" fmla="*/ 44 w 374"/>
                    <a:gd name="T75" fmla="*/ 199 h 361"/>
                    <a:gd name="T76" fmla="*/ 51 w 374"/>
                    <a:gd name="T77" fmla="*/ 200 h 361"/>
                    <a:gd name="T78" fmla="*/ 63 w 374"/>
                    <a:gd name="T79" fmla="*/ 206 h 361"/>
                    <a:gd name="T80" fmla="*/ 67 w 374"/>
                    <a:gd name="T81" fmla="*/ 211 h 361"/>
                    <a:gd name="T82" fmla="*/ 74 w 374"/>
                    <a:gd name="T83" fmla="*/ 223 h 361"/>
                    <a:gd name="T84" fmla="*/ 91 w 374"/>
                    <a:gd name="T85" fmla="*/ 234 h 361"/>
                    <a:gd name="T86" fmla="*/ 96 w 374"/>
                    <a:gd name="T87" fmla="*/ 234 h 361"/>
                    <a:gd name="T88" fmla="*/ 112 w 374"/>
                    <a:gd name="T89" fmla="*/ 249 h 361"/>
                    <a:gd name="T90" fmla="*/ 113 w 374"/>
                    <a:gd name="T91" fmla="*/ 256 h 361"/>
                    <a:gd name="T92" fmla="*/ 115 w 374"/>
                    <a:gd name="T93" fmla="*/ 275 h 361"/>
                    <a:gd name="T94" fmla="*/ 116 w 374"/>
                    <a:gd name="T95" fmla="*/ 289 h 361"/>
                    <a:gd name="T96" fmla="*/ 124 w 374"/>
                    <a:gd name="T97" fmla="*/ 294 h 361"/>
                    <a:gd name="T98" fmla="*/ 126 w 374"/>
                    <a:gd name="T99" fmla="*/ 297 h 361"/>
                    <a:gd name="T100" fmla="*/ 122 w 374"/>
                    <a:gd name="T101" fmla="*/ 303 h 361"/>
                    <a:gd name="T102" fmla="*/ 119 w 374"/>
                    <a:gd name="T103" fmla="*/ 307 h 361"/>
                    <a:gd name="T104" fmla="*/ 122 w 374"/>
                    <a:gd name="T105" fmla="*/ 326 h 361"/>
                    <a:gd name="T106" fmla="*/ 130 w 374"/>
                    <a:gd name="T107" fmla="*/ 342 h 361"/>
                    <a:gd name="T108" fmla="*/ 141 w 374"/>
                    <a:gd name="T109" fmla="*/ 346 h 361"/>
                    <a:gd name="T110" fmla="*/ 151 w 374"/>
                    <a:gd name="T111" fmla="*/ 347 h 361"/>
                    <a:gd name="T112" fmla="*/ 157 w 374"/>
                    <a:gd name="T113" fmla="*/ 357 h 361"/>
                    <a:gd name="T114" fmla="*/ 164 w 374"/>
                    <a:gd name="T115" fmla="*/ 360 h 361"/>
                    <a:gd name="T116" fmla="*/ 277 w 374"/>
                    <a:gd name="T117" fmla="*/ 360 h 361"/>
                    <a:gd name="T118" fmla="*/ 346 w 374"/>
                    <a:gd name="T119" fmla="*/ 361 h 3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374" h="361">
                      <a:moveTo>
                        <a:pt x="347" y="345"/>
                      </a:moveTo>
                      <a:lnTo>
                        <a:pt x="342" y="331"/>
                      </a:lnTo>
                      <a:lnTo>
                        <a:pt x="340" y="321"/>
                      </a:lnTo>
                      <a:lnTo>
                        <a:pt x="338" y="305"/>
                      </a:lnTo>
                      <a:lnTo>
                        <a:pt x="342" y="289"/>
                      </a:lnTo>
                      <a:lnTo>
                        <a:pt x="346" y="275"/>
                      </a:lnTo>
                      <a:lnTo>
                        <a:pt x="352" y="262"/>
                      </a:lnTo>
                      <a:lnTo>
                        <a:pt x="352" y="241"/>
                      </a:lnTo>
                      <a:lnTo>
                        <a:pt x="360" y="230"/>
                      </a:lnTo>
                      <a:lnTo>
                        <a:pt x="363" y="214"/>
                      </a:lnTo>
                      <a:lnTo>
                        <a:pt x="367" y="199"/>
                      </a:lnTo>
                      <a:lnTo>
                        <a:pt x="374" y="188"/>
                      </a:lnTo>
                      <a:lnTo>
                        <a:pt x="373" y="169"/>
                      </a:lnTo>
                      <a:lnTo>
                        <a:pt x="357" y="172"/>
                      </a:lnTo>
                      <a:lnTo>
                        <a:pt x="350" y="183"/>
                      </a:lnTo>
                      <a:lnTo>
                        <a:pt x="339" y="190"/>
                      </a:lnTo>
                      <a:lnTo>
                        <a:pt x="339" y="171"/>
                      </a:lnTo>
                      <a:lnTo>
                        <a:pt x="349" y="161"/>
                      </a:lnTo>
                      <a:lnTo>
                        <a:pt x="357" y="151"/>
                      </a:lnTo>
                      <a:lnTo>
                        <a:pt x="361" y="144"/>
                      </a:lnTo>
                      <a:lnTo>
                        <a:pt x="361" y="144"/>
                      </a:lnTo>
                      <a:lnTo>
                        <a:pt x="357" y="140"/>
                      </a:lnTo>
                      <a:lnTo>
                        <a:pt x="357" y="139"/>
                      </a:lnTo>
                      <a:lnTo>
                        <a:pt x="356" y="139"/>
                      </a:lnTo>
                      <a:lnTo>
                        <a:pt x="356" y="137"/>
                      </a:lnTo>
                      <a:lnTo>
                        <a:pt x="357" y="134"/>
                      </a:lnTo>
                      <a:lnTo>
                        <a:pt x="357" y="134"/>
                      </a:lnTo>
                      <a:lnTo>
                        <a:pt x="357" y="132"/>
                      </a:lnTo>
                      <a:lnTo>
                        <a:pt x="359" y="130"/>
                      </a:lnTo>
                      <a:lnTo>
                        <a:pt x="354" y="125"/>
                      </a:lnTo>
                      <a:lnTo>
                        <a:pt x="353" y="125"/>
                      </a:lnTo>
                      <a:lnTo>
                        <a:pt x="353" y="125"/>
                      </a:lnTo>
                      <a:lnTo>
                        <a:pt x="347" y="125"/>
                      </a:lnTo>
                      <a:lnTo>
                        <a:pt x="347" y="125"/>
                      </a:lnTo>
                      <a:lnTo>
                        <a:pt x="347" y="125"/>
                      </a:lnTo>
                      <a:lnTo>
                        <a:pt x="346" y="125"/>
                      </a:lnTo>
                      <a:lnTo>
                        <a:pt x="346" y="125"/>
                      </a:lnTo>
                      <a:lnTo>
                        <a:pt x="346" y="123"/>
                      </a:lnTo>
                      <a:lnTo>
                        <a:pt x="347" y="118"/>
                      </a:lnTo>
                      <a:lnTo>
                        <a:pt x="347" y="118"/>
                      </a:lnTo>
                      <a:lnTo>
                        <a:pt x="347" y="118"/>
                      </a:lnTo>
                      <a:lnTo>
                        <a:pt x="349" y="116"/>
                      </a:lnTo>
                      <a:lnTo>
                        <a:pt x="350" y="116"/>
                      </a:lnTo>
                      <a:lnTo>
                        <a:pt x="350" y="115"/>
                      </a:lnTo>
                      <a:lnTo>
                        <a:pt x="352" y="115"/>
                      </a:lnTo>
                      <a:lnTo>
                        <a:pt x="352" y="113"/>
                      </a:lnTo>
                      <a:lnTo>
                        <a:pt x="352" y="112"/>
                      </a:lnTo>
                      <a:lnTo>
                        <a:pt x="352" y="98"/>
                      </a:lnTo>
                      <a:lnTo>
                        <a:pt x="352" y="98"/>
                      </a:lnTo>
                      <a:lnTo>
                        <a:pt x="352" y="96"/>
                      </a:lnTo>
                      <a:lnTo>
                        <a:pt x="350" y="95"/>
                      </a:lnTo>
                      <a:lnTo>
                        <a:pt x="346" y="92"/>
                      </a:lnTo>
                      <a:lnTo>
                        <a:pt x="345" y="91"/>
                      </a:lnTo>
                      <a:lnTo>
                        <a:pt x="345" y="91"/>
                      </a:lnTo>
                      <a:lnTo>
                        <a:pt x="340" y="91"/>
                      </a:lnTo>
                      <a:lnTo>
                        <a:pt x="335" y="89"/>
                      </a:lnTo>
                      <a:lnTo>
                        <a:pt x="333" y="89"/>
                      </a:lnTo>
                      <a:lnTo>
                        <a:pt x="332" y="89"/>
                      </a:lnTo>
                      <a:lnTo>
                        <a:pt x="331" y="88"/>
                      </a:lnTo>
                      <a:lnTo>
                        <a:pt x="331" y="88"/>
                      </a:lnTo>
                      <a:lnTo>
                        <a:pt x="331" y="88"/>
                      </a:lnTo>
                      <a:lnTo>
                        <a:pt x="329" y="87"/>
                      </a:lnTo>
                      <a:lnTo>
                        <a:pt x="329" y="87"/>
                      </a:lnTo>
                      <a:lnTo>
                        <a:pt x="329" y="85"/>
                      </a:lnTo>
                      <a:lnTo>
                        <a:pt x="331" y="85"/>
                      </a:lnTo>
                      <a:lnTo>
                        <a:pt x="331" y="84"/>
                      </a:lnTo>
                      <a:lnTo>
                        <a:pt x="332" y="82"/>
                      </a:lnTo>
                      <a:lnTo>
                        <a:pt x="332" y="82"/>
                      </a:lnTo>
                      <a:lnTo>
                        <a:pt x="332" y="81"/>
                      </a:lnTo>
                      <a:lnTo>
                        <a:pt x="331" y="77"/>
                      </a:lnTo>
                      <a:lnTo>
                        <a:pt x="331" y="77"/>
                      </a:lnTo>
                      <a:lnTo>
                        <a:pt x="325" y="75"/>
                      </a:lnTo>
                      <a:lnTo>
                        <a:pt x="325" y="75"/>
                      </a:lnTo>
                      <a:lnTo>
                        <a:pt x="302" y="70"/>
                      </a:lnTo>
                      <a:lnTo>
                        <a:pt x="301" y="70"/>
                      </a:lnTo>
                      <a:lnTo>
                        <a:pt x="301" y="70"/>
                      </a:lnTo>
                      <a:lnTo>
                        <a:pt x="300" y="70"/>
                      </a:lnTo>
                      <a:lnTo>
                        <a:pt x="295" y="71"/>
                      </a:lnTo>
                      <a:lnTo>
                        <a:pt x="294" y="71"/>
                      </a:lnTo>
                      <a:lnTo>
                        <a:pt x="294" y="71"/>
                      </a:lnTo>
                      <a:lnTo>
                        <a:pt x="293" y="71"/>
                      </a:lnTo>
                      <a:lnTo>
                        <a:pt x="280" y="68"/>
                      </a:lnTo>
                      <a:lnTo>
                        <a:pt x="263" y="60"/>
                      </a:lnTo>
                      <a:lnTo>
                        <a:pt x="260" y="60"/>
                      </a:lnTo>
                      <a:lnTo>
                        <a:pt x="258" y="59"/>
                      </a:lnTo>
                      <a:lnTo>
                        <a:pt x="252" y="57"/>
                      </a:lnTo>
                      <a:lnTo>
                        <a:pt x="237" y="54"/>
                      </a:lnTo>
                      <a:lnTo>
                        <a:pt x="213" y="49"/>
                      </a:lnTo>
                      <a:lnTo>
                        <a:pt x="211" y="47"/>
                      </a:lnTo>
                      <a:lnTo>
                        <a:pt x="199" y="45"/>
                      </a:lnTo>
                      <a:lnTo>
                        <a:pt x="190" y="40"/>
                      </a:lnTo>
                      <a:lnTo>
                        <a:pt x="188" y="33"/>
                      </a:lnTo>
                      <a:lnTo>
                        <a:pt x="186" y="32"/>
                      </a:lnTo>
                      <a:lnTo>
                        <a:pt x="185" y="31"/>
                      </a:lnTo>
                      <a:lnTo>
                        <a:pt x="185" y="29"/>
                      </a:lnTo>
                      <a:lnTo>
                        <a:pt x="183" y="29"/>
                      </a:lnTo>
                      <a:lnTo>
                        <a:pt x="183" y="29"/>
                      </a:lnTo>
                      <a:lnTo>
                        <a:pt x="178" y="28"/>
                      </a:lnTo>
                      <a:lnTo>
                        <a:pt x="172" y="26"/>
                      </a:lnTo>
                      <a:lnTo>
                        <a:pt x="172" y="26"/>
                      </a:lnTo>
                      <a:lnTo>
                        <a:pt x="172" y="26"/>
                      </a:lnTo>
                      <a:lnTo>
                        <a:pt x="172" y="25"/>
                      </a:lnTo>
                      <a:lnTo>
                        <a:pt x="169" y="26"/>
                      </a:lnTo>
                      <a:lnTo>
                        <a:pt x="161" y="29"/>
                      </a:lnTo>
                      <a:lnTo>
                        <a:pt x="147" y="25"/>
                      </a:lnTo>
                      <a:lnTo>
                        <a:pt x="129" y="25"/>
                      </a:lnTo>
                      <a:lnTo>
                        <a:pt x="133" y="10"/>
                      </a:lnTo>
                      <a:lnTo>
                        <a:pt x="123" y="0"/>
                      </a:lnTo>
                      <a:lnTo>
                        <a:pt x="112" y="5"/>
                      </a:lnTo>
                      <a:lnTo>
                        <a:pt x="98" y="8"/>
                      </a:lnTo>
                      <a:lnTo>
                        <a:pt x="84" y="14"/>
                      </a:lnTo>
                      <a:lnTo>
                        <a:pt x="70" y="17"/>
                      </a:lnTo>
                      <a:lnTo>
                        <a:pt x="54" y="19"/>
                      </a:lnTo>
                      <a:lnTo>
                        <a:pt x="43" y="15"/>
                      </a:lnTo>
                      <a:lnTo>
                        <a:pt x="42" y="17"/>
                      </a:lnTo>
                      <a:lnTo>
                        <a:pt x="42" y="50"/>
                      </a:lnTo>
                      <a:lnTo>
                        <a:pt x="42" y="63"/>
                      </a:lnTo>
                      <a:lnTo>
                        <a:pt x="42" y="64"/>
                      </a:lnTo>
                      <a:lnTo>
                        <a:pt x="37" y="68"/>
                      </a:lnTo>
                      <a:lnTo>
                        <a:pt x="37" y="70"/>
                      </a:lnTo>
                      <a:lnTo>
                        <a:pt x="36" y="70"/>
                      </a:lnTo>
                      <a:lnTo>
                        <a:pt x="23" y="75"/>
                      </a:lnTo>
                      <a:lnTo>
                        <a:pt x="19" y="77"/>
                      </a:lnTo>
                      <a:lnTo>
                        <a:pt x="16" y="78"/>
                      </a:lnTo>
                      <a:lnTo>
                        <a:pt x="15" y="78"/>
                      </a:lnTo>
                      <a:lnTo>
                        <a:pt x="14" y="78"/>
                      </a:lnTo>
                      <a:lnTo>
                        <a:pt x="14" y="78"/>
                      </a:lnTo>
                      <a:lnTo>
                        <a:pt x="12" y="81"/>
                      </a:lnTo>
                      <a:lnTo>
                        <a:pt x="11" y="81"/>
                      </a:lnTo>
                      <a:lnTo>
                        <a:pt x="1" y="95"/>
                      </a:lnTo>
                      <a:lnTo>
                        <a:pt x="1" y="96"/>
                      </a:lnTo>
                      <a:lnTo>
                        <a:pt x="0" y="99"/>
                      </a:lnTo>
                      <a:lnTo>
                        <a:pt x="0" y="101"/>
                      </a:lnTo>
                      <a:lnTo>
                        <a:pt x="0" y="102"/>
                      </a:lnTo>
                      <a:lnTo>
                        <a:pt x="0" y="105"/>
                      </a:lnTo>
                      <a:lnTo>
                        <a:pt x="0" y="105"/>
                      </a:lnTo>
                      <a:lnTo>
                        <a:pt x="0" y="106"/>
                      </a:lnTo>
                      <a:lnTo>
                        <a:pt x="1" y="106"/>
                      </a:lnTo>
                      <a:lnTo>
                        <a:pt x="2" y="108"/>
                      </a:lnTo>
                      <a:lnTo>
                        <a:pt x="2" y="108"/>
                      </a:lnTo>
                      <a:lnTo>
                        <a:pt x="4" y="108"/>
                      </a:lnTo>
                      <a:lnTo>
                        <a:pt x="7" y="108"/>
                      </a:lnTo>
                      <a:lnTo>
                        <a:pt x="8" y="108"/>
                      </a:lnTo>
                      <a:lnTo>
                        <a:pt x="8" y="108"/>
                      </a:lnTo>
                      <a:lnTo>
                        <a:pt x="9" y="108"/>
                      </a:lnTo>
                      <a:lnTo>
                        <a:pt x="9" y="108"/>
                      </a:lnTo>
                      <a:lnTo>
                        <a:pt x="11" y="109"/>
                      </a:lnTo>
                      <a:lnTo>
                        <a:pt x="16" y="118"/>
                      </a:lnTo>
                      <a:lnTo>
                        <a:pt x="16" y="118"/>
                      </a:lnTo>
                      <a:lnTo>
                        <a:pt x="16" y="119"/>
                      </a:lnTo>
                      <a:lnTo>
                        <a:pt x="16" y="120"/>
                      </a:lnTo>
                      <a:lnTo>
                        <a:pt x="16" y="120"/>
                      </a:lnTo>
                      <a:lnTo>
                        <a:pt x="14" y="126"/>
                      </a:lnTo>
                      <a:lnTo>
                        <a:pt x="14" y="127"/>
                      </a:lnTo>
                      <a:lnTo>
                        <a:pt x="12" y="127"/>
                      </a:lnTo>
                      <a:lnTo>
                        <a:pt x="12" y="127"/>
                      </a:lnTo>
                      <a:lnTo>
                        <a:pt x="11" y="129"/>
                      </a:lnTo>
                      <a:lnTo>
                        <a:pt x="9" y="130"/>
                      </a:lnTo>
                      <a:lnTo>
                        <a:pt x="9" y="130"/>
                      </a:lnTo>
                      <a:lnTo>
                        <a:pt x="9" y="137"/>
                      </a:lnTo>
                      <a:lnTo>
                        <a:pt x="9" y="139"/>
                      </a:lnTo>
                      <a:lnTo>
                        <a:pt x="8" y="153"/>
                      </a:lnTo>
                      <a:lnTo>
                        <a:pt x="9" y="158"/>
                      </a:lnTo>
                      <a:lnTo>
                        <a:pt x="9" y="160"/>
                      </a:lnTo>
                      <a:lnTo>
                        <a:pt x="8" y="169"/>
                      </a:lnTo>
                      <a:lnTo>
                        <a:pt x="8" y="169"/>
                      </a:lnTo>
                      <a:lnTo>
                        <a:pt x="7" y="172"/>
                      </a:lnTo>
                      <a:lnTo>
                        <a:pt x="7" y="175"/>
                      </a:lnTo>
                      <a:lnTo>
                        <a:pt x="19" y="185"/>
                      </a:lnTo>
                      <a:lnTo>
                        <a:pt x="19" y="185"/>
                      </a:lnTo>
                      <a:lnTo>
                        <a:pt x="22" y="188"/>
                      </a:lnTo>
                      <a:lnTo>
                        <a:pt x="25" y="189"/>
                      </a:lnTo>
                      <a:lnTo>
                        <a:pt x="25" y="189"/>
                      </a:lnTo>
                      <a:lnTo>
                        <a:pt x="28" y="189"/>
                      </a:lnTo>
                      <a:lnTo>
                        <a:pt x="30" y="189"/>
                      </a:lnTo>
                      <a:lnTo>
                        <a:pt x="32" y="190"/>
                      </a:lnTo>
                      <a:lnTo>
                        <a:pt x="36" y="190"/>
                      </a:lnTo>
                      <a:lnTo>
                        <a:pt x="36" y="190"/>
                      </a:lnTo>
                      <a:lnTo>
                        <a:pt x="37" y="190"/>
                      </a:lnTo>
                      <a:lnTo>
                        <a:pt x="37" y="190"/>
                      </a:lnTo>
                      <a:lnTo>
                        <a:pt x="39" y="192"/>
                      </a:lnTo>
                      <a:lnTo>
                        <a:pt x="39" y="192"/>
                      </a:lnTo>
                      <a:lnTo>
                        <a:pt x="40" y="193"/>
                      </a:lnTo>
                      <a:lnTo>
                        <a:pt x="40" y="195"/>
                      </a:lnTo>
                      <a:lnTo>
                        <a:pt x="40" y="195"/>
                      </a:lnTo>
                      <a:lnTo>
                        <a:pt x="40" y="196"/>
                      </a:lnTo>
                      <a:lnTo>
                        <a:pt x="42" y="196"/>
                      </a:lnTo>
                      <a:lnTo>
                        <a:pt x="42" y="196"/>
                      </a:lnTo>
                      <a:lnTo>
                        <a:pt x="43" y="197"/>
                      </a:lnTo>
                      <a:lnTo>
                        <a:pt x="44" y="199"/>
                      </a:lnTo>
                      <a:lnTo>
                        <a:pt x="46" y="200"/>
                      </a:lnTo>
                      <a:lnTo>
                        <a:pt x="47" y="200"/>
                      </a:lnTo>
                      <a:lnTo>
                        <a:pt x="49" y="200"/>
                      </a:lnTo>
                      <a:lnTo>
                        <a:pt x="49" y="200"/>
                      </a:lnTo>
                      <a:lnTo>
                        <a:pt x="51" y="200"/>
                      </a:lnTo>
                      <a:lnTo>
                        <a:pt x="51" y="202"/>
                      </a:lnTo>
                      <a:lnTo>
                        <a:pt x="54" y="202"/>
                      </a:lnTo>
                      <a:lnTo>
                        <a:pt x="60" y="204"/>
                      </a:lnTo>
                      <a:lnTo>
                        <a:pt x="61" y="206"/>
                      </a:lnTo>
                      <a:lnTo>
                        <a:pt x="63" y="206"/>
                      </a:lnTo>
                      <a:lnTo>
                        <a:pt x="63" y="207"/>
                      </a:lnTo>
                      <a:lnTo>
                        <a:pt x="64" y="207"/>
                      </a:lnTo>
                      <a:lnTo>
                        <a:pt x="66" y="209"/>
                      </a:lnTo>
                      <a:lnTo>
                        <a:pt x="67" y="210"/>
                      </a:lnTo>
                      <a:lnTo>
                        <a:pt x="67" y="211"/>
                      </a:lnTo>
                      <a:lnTo>
                        <a:pt x="68" y="213"/>
                      </a:lnTo>
                      <a:lnTo>
                        <a:pt x="70" y="216"/>
                      </a:lnTo>
                      <a:lnTo>
                        <a:pt x="73" y="220"/>
                      </a:lnTo>
                      <a:lnTo>
                        <a:pt x="73" y="221"/>
                      </a:lnTo>
                      <a:lnTo>
                        <a:pt x="74" y="223"/>
                      </a:lnTo>
                      <a:lnTo>
                        <a:pt x="75" y="224"/>
                      </a:lnTo>
                      <a:lnTo>
                        <a:pt x="85" y="230"/>
                      </a:lnTo>
                      <a:lnTo>
                        <a:pt x="87" y="231"/>
                      </a:lnTo>
                      <a:lnTo>
                        <a:pt x="88" y="232"/>
                      </a:lnTo>
                      <a:lnTo>
                        <a:pt x="91" y="234"/>
                      </a:lnTo>
                      <a:lnTo>
                        <a:pt x="91" y="234"/>
                      </a:lnTo>
                      <a:lnTo>
                        <a:pt x="92" y="234"/>
                      </a:lnTo>
                      <a:lnTo>
                        <a:pt x="95" y="234"/>
                      </a:lnTo>
                      <a:lnTo>
                        <a:pt x="95" y="234"/>
                      </a:lnTo>
                      <a:lnTo>
                        <a:pt x="96" y="234"/>
                      </a:lnTo>
                      <a:lnTo>
                        <a:pt x="102" y="238"/>
                      </a:lnTo>
                      <a:lnTo>
                        <a:pt x="103" y="240"/>
                      </a:lnTo>
                      <a:lnTo>
                        <a:pt x="105" y="241"/>
                      </a:lnTo>
                      <a:lnTo>
                        <a:pt x="108" y="244"/>
                      </a:lnTo>
                      <a:lnTo>
                        <a:pt x="112" y="249"/>
                      </a:lnTo>
                      <a:lnTo>
                        <a:pt x="112" y="251"/>
                      </a:lnTo>
                      <a:lnTo>
                        <a:pt x="112" y="252"/>
                      </a:lnTo>
                      <a:lnTo>
                        <a:pt x="113" y="255"/>
                      </a:lnTo>
                      <a:lnTo>
                        <a:pt x="113" y="255"/>
                      </a:lnTo>
                      <a:lnTo>
                        <a:pt x="113" y="256"/>
                      </a:lnTo>
                      <a:lnTo>
                        <a:pt x="112" y="256"/>
                      </a:lnTo>
                      <a:lnTo>
                        <a:pt x="112" y="258"/>
                      </a:lnTo>
                      <a:lnTo>
                        <a:pt x="113" y="273"/>
                      </a:lnTo>
                      <a:lnTo>
                        <a:pt x="115" y="273"/>
                      </a:lnTo>
                      <a:lnTo>
                        <a:pt x="115" y="275"/>
                      </a:lnTo>
                      <a:lnTo>
                        <a:pt x="116" y="277"/>
                      </a:lnTo>
                      <a:lnTo>
                        <a:pt x="115" y="280"/>
                      </a:lnTo>
                      <a:lnTo>
                        <a:pt x="115" y="282"/>
                      </a:lnTo>
                      <a:lnTo>
                        <a:pt x="116" y="289"/>
                      </a:lnTo>
                      <a:lnTo>
                        <a:pt x="116" y="289"/>
                      </a:lnTo>
                      <a:lnTo>
                        <a:pt x="117" y="290"/>
                      </a:lnTo>
                      <a:lnTo>
                        <a:pt x="120" y="290"/>
                      </a:lnTo>
                      <a:lnTo>
                        <a:pt x="123" y="291"/>
                      </a:lnTo>
                      <a:lnTo>
                        <a:pt x="124" y="293"/>
                      </a:lnTo>
                      <a:lnTo>
                        <a:pt x="124" y="294"/>
                      </a:lnTo>
                      <a:lnTo>
                        <a:pt x="126" y="294"/>
                      </a:lnTo>
                      <a:lnTo>
                        <a:pt x="126" y="296"/>
                      </a:lnTo>
                      <a:lnTo>
                        <a:pt x="126" y="296"/>
                      </a:lnTo>
                      <a:lnTo>
                        <a:pt x="126" y="297"/>
                      </a:lnTo>
                      <a:lnTo>
                        <a:pt x="126" y="297"/>
                      </a:lnTo>
                      <a:lnTo>
                        <a:pt x="124" y="300"/>
                      </a:lnTo>
                      <a:lnTo>
                        <a:pt x="123" y="300"/>
                      </a:lnTo>
                      <a:lnTo>
                        <a:pt x="123" y="301"/>
                      </a:lnTo>
                      <a:lnTo>
                        <a:pt x="123" y="301"/>
                      </a:lnTo>
                      <a:lnTo>
                        <a:pt x="122" y="303"/>
                      </a:lnTo>
                      <a:lnTo>
                        <a:pt x="122" y="303"/>
                      </a:lnTo>
                      <a:lnTo>
                        <a:pt x="120" y="304"/>
                      </a:lnTo>
                      <a:lnTo>
                        <a:pt x="120" y="304"/>
                      </a:lnTo>
                      <a:lnTo>
                        <a:pt x="119" y="305"/>
                      </a:lnTo>
                      <a:lnTo>
                        <a:pt x="119" y="307"/>
                      </a:lnTo>
                      <a:lnTo>
                        <a:pt x="119" y="310"/>
                      </a:lnTo>
                      <a:lnTo>
                        <a:pt x="119" y="311"/>
                      </a:lnTo>
                      <a:lnTo>
                        <a:pt x="122" y="324"/>
                      </a:lnTo>
                      <a:lnTo>
                        <a:pt x="122" y="325"/>
                      </a:lnTo>
                      <a:lnTo>
                        <a:pt x="122" y="326"/>
                      </a:lnTo>
                      <a:lnTo>
                        <a:pt x="127" y="339"/>
                      </a:lnTo>
                      <a:lnTo>
                        <a:pt x="127" y="340"/>
                      </a:lnTo>
                      <a:lnTo>
                        <a:pt x="129" y="342"/>
                      </a:lnTo>
                      <a:lnTo>
                        <a:pt x="129" y="342"/>
                      </a:lnTo>
                      <a:lnTo>
                        <a:pt x="130" y="342"/>
                      </a:lnTo>
                      <a:lnTo>
                        <a:pt x="133" y="343"/>
                      </a:lnTo>
                      <a:lnTo>
                        <a:pt x="134" y="345"/>
                      </a:lnTo>
                      <a:lnTo>
                        <a:pt x="136" y="345"/>
                      </a:lnTo>
                      <a:lnTo>
                        <a:pt x="138" y="345"/>
                      </a:lnTo>
                      <a:lnTo>
                        <a:pt x="141" y="346"/>
                      </a:lnTo>
                      <a:lnTo>
                        <a:pt x="144" y="346"/>
                      </a:lnTo>
                      <a:lnTo>
                        <a:pt x="145" y="346"/>
                      </a:lnTo>
                      <a:lnTo>
                        <a:pt x="145" y="346"/>
                      </a:lnTo>
                      <a:lnTo>
                        <a:pt x="151" y="347"/>
                      </a:lnTo>
                      <a:lnTo>
                        <a:pt x="151" y="347"/>
                      </a:lnTo>
                      <a:lnTo>
                        <a:pt x="152" y="349"/>
                      </a:lnTo>
                      <a:lnTo>
                        <a:pt x="152" y="349"/>
                      </a:lnTo>
                      <a:lnTo>
                        <a:pt x="154" y="350"/>
                      </a:lnTo>
                      <a:lnTo>
                        <a:pt x="157" y="356"/>
                      </a:lnTo>
                      <a:lnTo>
                        <a:pt x="157" y="357"/>
                      </a:lnTo>
                      <a:lnTo>
                        <a:pt x="157" y="357"/>
                      </a:lnTo>
                      <a:lnTo>
                        <a:pt x="157" y="359"/>
                      </a:lnTo>
                      <a:lnTo>
                        <a:pt x="155" y="359"/>
                      </a:lnTo>
                      <a:lnTo>
                        <a:pt x="157" y="360"/>
                      </a:lnTo>
                      <a:lnTo>
                        <a:pt x="164" y="360"/>
                      </a:lnTo>
                      <a:lnTo>
                        <a:pt x="193" y="360"/>
                      </a:lnTo>
                      <a:lnTo>
                        <a:pt x="217" y="360"/>
                      </a:lnTo>
                      <a:lnTo>
                        <a:pt x="235" y="360"/>
                      </a:lnTo>
                      <a:lnTo>
                        <a:pt x="252" y="360"/>
                      </a:lnTo>
                      <a:lnTo>
                        <a:pt x="277" y="360"/>
                      </a:lnTo>
                      <a:lnTo>
                        <a:pt x="301" y="360"/>
                      </a:lnTo>
                      <a:lnTo>
                        <a:pt x="308" y="360"/>
                      </a:lnTo>
                      <a:lnTo>
                        <a:pt x="314" y="360"/>
                      </a:lnTo>
                      <a:lnTo>
                        <a:pt x="335" y="361"/>
                      </a:lnTo>
                      <a:lnTo>
                        <a:pt x="346" y="361"/>
                      </a:lnTo>
                      <a:lnTo>
                        <a:pt x="347" y="345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</p:grpSp>
          <p:grpSp>
            <p:nvGrpSpPr>
              <p:cNvPr id="101" name="Group 75"/>
              <p:cNvGrpSpPr/>
              <p:nvPr/>
            </p:nvGrpSpPr>
            <p:grpSpPr>
              <a:xfrm>
                <a:off x="5389562" y="2045495"/>
                <a:ext cx="1417638" cy="1373187"/>
                <a:chOff x="5389562" y="2045495"/>
                <a:chExt cx="1417638" cy="1373187"/>
              </a:xfrm>
              <a:grpFill/>
            </p:grpSpPr>
            <p:sp>
              <p:nvSpPr>
                <p:cNvPr id="106" name="Freeform 7"/>
                <p:cNvSpPr>
                  <a:spLocks/>
                </p:cNvSpPr>
                <p:nvPr/>
              </p:nvSpPr>
              <p:spPr bwMode="auto">
                <a:xfrm>
                  <a:off x="6284912" y="3002757"/>
                  <a:ext cx="522288" cy="415925"/>
                </a:xfrm>
                <a:custGeom>
                  <a:avLst/>
                  <a:gdLst>
                    <a:gd name="T0" fmla="*/ 67 w 329"/>
                    <a:gd name="T1" fmla="*/ 0 h 262"/>
                    <a:gd name="T2" fmla="*/ 158 w 329"/>
                    <a:gd name="T3" fmla="*/ 4 h 262"/>
                    <a:gd name="T4" fmla="*/ 176 w 329"/>
                    <a:gd name="T5" fmla="*/ 25 h 262"/>
                    <a:gd name="T6" fmla="*/ 206 w 329"/>
                    <a:gd name="T7" fmla="*/ 32 h 262"/>
                    <a:gd name="T8" fmla="*/ 263 w 329"/>
                    <a:gd name="T9" fmla="*/ 43 h 262"/>
                    <a:gd name="T10" fmla="*/ 319 w 329"/>
                    <a:gd name="T11" fmla="*/ 99 h 262"/>
                    <a:gd name="T12" fmla="*/ 312 w 329"/>
                    <a:gd name="T13" fmla="*/ 122 h 262"/>
                    <a:gd name="T14" fmla="*/ 301 w 329"/>
                    <a:gd name="T15" fmla="*/ 133 h 262"/>
                    <a:gd name="T16" fmla="*/ 287 w 329"/>
                    <a:gd name="T17" fmla="*/ 159 h 262"/>
                    <a:gd name="T18" fmla="*/ 283 w 329"/>
                    <a:gd name="T19" fmla="*/ 154 h 262"/>
                    <a:gd name="T20" fmla="*/ 287 w 329"/>
                    <a:gd name="T21" fmla="*/ 145 h 262"/>
                    <a:gd name="T22" fmla="*/ 280 w 329"/>
                    <a:gd name="T23" fmla="*/ 154 h 262"/>
                    <a:gd name="T24" fmla="*/ 280 w 329"/>
                    <a:gd name="T25" fmla="*/ 159 h 262"/>
                    <a:gd name="T26" fmla="*/ 286 w 329"/>
                    <a:gd name="T27" fmla="*/ 168 h 262"/>
                    <a:gd name="T28" fmla="*/ 273 w 329"/>
                    <a:gd name="T29" fmla="*/ 181 h 262"/>
                    <a:gd name="T30" fmla="*/ 265 w 329"/>
                    <a:gd name="T31" fmla="*/ 179 h 262"/>
                    <a:gd name="T32" fmla="*/ 260 w 329"/>
                    <a:gd name="T33" fmla="*/ 181 h 262"/>
                    <a:gd name="T34" fmla="*/ 258 w 329"/>
                    <a:gd name="T35" fmla="*/ 189 h 262"/>
                    <a:gd name="T36" fmla="*/ 241 w 329"/>
                    <a:gd name="T37" fmla="*/ 200 h 262"/>
                    <a:gd name="T38" fmla="*/ 238 w 329"/>
                    <a:gd name="T39" fmla="*/ 196 h 262"/>
                    <a:gd name="T40" fmla="*/ 239 w 329"/>
                    <a:gd name="T41" fmla="*/ 195 h 262"/>
                    <a:gd name="T42" fmla="*/ 234 w 329"/>
                    <a:gd name="T43" fmla="*/ 200 h 262"/>
                    <a:gd name="T44" fmla="*/ 238 w 329"/>
                    <a:gd name="T45" fmla="*/ 203 h 262"/>
                    <a:gd name="T46" fmla="*/ 239 w 329"/>
                    <a:gd name="T47" fmla="*/ 207 h 262"/>
                    <a:gd name="T48" fmla="*/ 209 w 329"/>
                    <a:gd name="T49" fmla="*/ 224 h 262"/>
                    <a:gd name="T50" fmla="*/ 202 w 329"/>
                    <a:gd name="T51" fmla="*/ 224 h 262"/>
                    <a:gd name="T52" fmla="*/ 185 w 329"/>
                    <a:gd name="T53" fmla="*/ 221 h 262"/>
                    <a:gd name="T54" fmla="*/ 193 w 329"/>
                    <a:gd name="T55" fmla="*/ 224 h 262"/>
                    <a:gd name="T56" fmla="*/ 197 w 329"/>
                    <a:gd name="T57" fmla="*/ 225 h 262"/>
                    <a:gd name="T58" fmla="*/ 199 w 329"/>
                    <a:gd name="T59" fmla="*/ 238 h 262"/>
                    <a:gd name="T60" fmla="*/ 186 w 329"/>
                    <a:gd name="T61" fmla="*/ 241 h 262"/>
                    <a:gd name="T62" fmla="*/ 185 w 329"/>
                    <a:gd name="T63" fmla="*/ 235 h 262"/>
                    <a:gd name="T64" fmla="*/ 183 w 329"/>
                    <a:gd name="T65" fmla="*/ 238 h 262"/>
                    <a:gd name="T66" fmla="*/ 176 w 329"/>
                    <a:gd name="T67" fmla="*/ 227 h 262"/>
                    <a:gd name="T68" fmla="*/ 175 w 329"/>
                    <a:gd name="T69" fmla="*/ 230 h 262"/>
                    <a:gd name="T70" fmla="*/ 181 w 329"/>
                    <a:gd name="T71" fmla="*/ 242 h 262"/>
                    <a:gd name="T72" fmla="*/ 185 w 329"/>
                    <a:gd name="T73" fmla="*/ 245 h 262"/>
                    <a:gd name="T74" fmla="*/ 175 w 329"/>
                    <a:gd name="T75" fmla="*/ 256 h 262"/>
                    <a:gd name="T76" fmla="*/ 169 w 329"/>
                    <a:gd name="T77" fmla="*/ 260 h 262"/>
                    <a:gd name="T78" fmla="*/ 161 w 329"/>
                    <a:gd name="T79" fmla="*/ 258 h 262"/>
                    <a:gd name="T80" fmla="*/ 158 w 329"/>
                    <a:gd name="T81" fmla="*/ 258 h 262"/>
                    <a:gd name="T82" fmla="*/ 151 w 329"/>
                    <a:gd name="T83" fmla="*/ 249 h 262"/>
                    <a:gd name="T84" fmla="*/ 145 w 329"/>
                    <a:gd name="T85" fmla="*/ 221 h 262"/>
                    <a:gd name="T86" fmla="*/ 138 w 329"/>
                    <a:gd name="T87" fmla="*/ 217 h 262"/>
                    <a:gd name="T88" fmla="*/ 134 w 329"/>
                    <a:gd name="T89" fmla="*/ 213 h 262"/>
                    <a:gd name="T90" fmla="*/ 134 w 329"/>
                    <a:gd name="T91" fmla="*/ 203 h 262"/>
                    <a:gd name="T92" fmla="*/ 119 w 329"/>
                    <a:gd name="T93" fmla="*/ 173 h 262"/>
                    <a:gd name="T94" fmla="*/ 109 w 329"/>
                    <a:gd name="T95" fmla="*/ 168 h 262"/>
                    <a:gd name="T96" fmla="*/ 99 w 329"/>
                    <a:gd name="T97" fmla="*/ 144 h 262"/>
                    <a:gd name="T98" fmla="*/ 87 w 329"/>
                    <a:gd name="T99" fmla="*/ 133 h 262"/>
                    <a:gd name="T100" fmla="*/ 80 w 329"/>
                    <a:gd name="T101" fmla="*/ 130 h 262"/>
                    <a:gd name="T102" fmla="*/ 75 w 329"/>
                    <a:gd name="T103" fmla="*/ 119 h 262"/>
                    <a:gd name="T104" fmla="*/ 66 w 329"/>
                    <a:gd name="T105" fmla="*/ 110 h 262"/>
                    <a:gd name="T106" fmla="*/ 54 w 329"/>
                    <a:gd name="T107" fmla="*/ 102 h 262"/>
                    <a:gd name="T108" fmla="*/ 46 w 329"/>
                    <a:gd name="T109" fmla="*/ 88 h 262"/>
                    <a:gd name="T110" fmla="*/ 42 w 329"/>
                    <a:gd name="T111" fmla="*/ 81 h 262"/>
                    <a:gd name="T112" fmla="*/ 32 w 329"/>
                    <a:gd name="T113" fmla="*/ 60 h 262"/>
                    <a:gd name="T114" fmla="*/ 23 w 329"/>
                    <a:gd name="T115" fmla="*/ 60 h 262"/>
                    <a:gd name="T116" fmla="*/ 0 w 329"/>
                    <a:gd name="T117" fmla="*/ 42 h 262"/>
                    <a:gd name="T118" fmla="*/ 4 w 329"/>
                    <a:gd name="T119" fmla="*/ 33 h 262"/>
                    <a:gd name="T120" fmla="*/ 15 w 329"/>
                    <a:gd name="T121" fmla="*/ 23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329" h="262">
                      <a:moveTo>
                        <a:pt x="19" y="16"/>
                      </a:moveTo>
                      <a:lnTo>
                        <a:pt x="26" y="14"/>
                      </a:lnTo>
                      <a:lnTo>
                        <a:pt x="37" y="11"/>
                      </a:lnTo>
                      <a:lnTo>
                        <a:pt x="39" y="9"/>
                      </a:lnTo>
                      <a:lnTo>
                        <a:pt x="52" y="5"/>
                      </a:lnTo>
                      <a:lnTo>
                        <a:pt x="67" y="0"/>
                      </a:lnTo>
                      <a:lnTo>
                        <a:pt x="74" y="0"/>
                      </a:lnTo>
                      <a:lnTo>
                        <a:pt x="101" y="1"/>
                      </a:lnTo>
                      <a:lnTo>
                        <a:pt x="105" y="1"/>
                      </a:lnTo>
                      <a:lnTo>
                        <a:pt x="122" y="2"/>
                      </a:lnTo>
                      <a:lnTo>
                        <a:pt x="134" y="2"/>
                      </a:lnTo>
                      <a:lnTo>
                        <a:pt x="158" y="4"/>
                      </a:lnTo>
                      <a:lnTo>
                        <a:pt x="158" y="4"/>
                      </a:lnTo>
                      <a:lnTo>
                        <a:pt x="168" y="8"/>
                      </a:lnTo>
                      <a:lnTo>
                        <a:pt x="169" y="11"/>
                      </a:lnTo>
                      <a:lnTo>
                        <a:pt x="176" y="21"/>
                      </a:lnTo>
                      <a:lnTo>
                        <a:pt x="176" y="23"/>
                      </a:lnTo>
                      <a:lnTo>
                        <a:pt x="176" y="25"/>
                      </a:lnTo>
                      <a:lnTo>
                        <a:pt x="176" y="29"/>
                      </a:lnTo>
                      <a:lnTo>
                        <a:pt x="176" y="32"/>
                      </a:lnTo>
                      <a:lnTo>
                        <a:pt x="182" y="32"/>
                      </a:lnTo>
                      <a:lnTo>
                        <a:pt x="189" y="32"/>
                      </a:lnTo>
                      <a:lnTo>
                        <a:pt x="195" y="32"/>
                      </a:lnTo>
                      <a:lnTo>
                        <a:pt x="206" y="32"/>
                      </a:lnTo>
                      <a:lnTo>
                        <a:pt x="210" y="32"/>
                      </a:lnTo>
                      <a:lnTo>
                        <a:pt x="216" y="32"/>
                      </a:lnTo>
                      <a:lnTo>
                        <a:pt x="251" y="33"/>
                      </a:lnTo>
                      <a:lnTo>
                        <a:pt x="255" y="33"/>
                      </a:lnTo>
                      <a:lnTo>
                        <a:pt x="256" y="35"/>
                      </a:lnTo>
                      <a:lnTo>
                        <a:pt x="263" y="43"/>
                      </a:lnTo>
                      <a:lnTo>
                        <a:pt x="286" y="64"/>
                      </a:lnTo>
                      <a:lnTo>
                        <a:pt x="293" y="71"/>
                      </a:lnTo>
                      <a:lnTo>
                        <a:pt x="297" y="75"/>
                      </a:lnTo>
                      <a:lnTo>
                        <a:pt x="310" y="89"/>
                      </a:lnTo>
                      <a:lnTo>
                        <a:pt x="317" y="96"/>
                      </a:lnTo>
                      <a:lnTo>
                        <a:pt x="319" y="99"/>
                      </a:lnTo>
                      <a:lnTo>
                        <a:pt x="322" y="101"/>
                      </a:lnTo>
                      <a:lnTo>
                        <a:pt x="329" y="109"/>
                      </a:lnTo>
                      <a:lnTo>
                        <a:pt x="329" y="109"/>
                      </a:lnTo>
                      <a:lnTo>
                        <a:pt x="329" y="109"/>
                      </a:lnTo>
                      <a:lnTo>
                        <a:pt x="328" y="110"/>
                      </a:lnTo>
                      <a:lnTo>
                        <a:pt x="312" y="122"/>
                      </a:lnTo>
                      <a:lnTo>
                        <a:pt x="311" y="123"/>
                      </a:lnTo>
                      <a:lnTo>
                        <a:pt x="310" y="124"/>
                      </a:lnTo>
                      <a:lnTo>
                        <a:pt x="308" y="124"/>
                      </a:lnTo>
                      <a:lnTo>
                        <a:pt x="305" y="127"/>
                      </a:lnTo>
                      <a:lnTo>
                        <a:pt x="304" y="129"/>
                      </a:lnTo>
                      <a:lnTo>
                        <a:pt x="301" y="133"/>
                      </a:lnTo>
                      <a:lnTo>
                        <a:pt x="291" y="147"/>
                      </a:lnTo>
                      <a:lnTo>
                        <a:pt x="290" y="148"/>
                      </a:lnTo>
                      <a:lnTo>
                        <a:pt x="290" y="150"/>
                      </a:lnTo>
                      <a:lnTo>
                        <a:pt x="290" y="150"/>
                      </a:lnTo>
                      <a:lnTo>
                        <a:pt x="288" y="155"/>
                      </a:lnTo>
                      <a:lnTo>
                        <a:pt x="287" y="159"/>
                      </a:lnTo>
                      <a:lnTo>
                        <a:pt x="281" y="157"/>
                      </a:lnTo>
                      <a:lnTo>
                        <a:pt x="281" y="157"/>
                      </a:lnTo>
                      <a:lnTo>
                        <a:pt x="281" y="155"/>
                      </a:lnTo>
                      <a:lnTo>
                        <a:pt x="281" y="155"/>
                      </a:lnTo>
                      <a:lnTo>
                        <a:pt x="281" y="155"/>
                      </a:lnTo>
                      <a:lnTo>
                        <a:pt x="283" y="154"/>
                      </a:lnTo>
                      <a:lnTo>
                        <a:pt x="283" y="152"/>
                      </a:lnTo>
                      <a:lnTo>
                        <a:pt x="284" y="151"/>
                      </a:lnTo>
                      <a:lnTo>
                        <a:pt x="284" y="150"/>
                      </a:lnTo>
                      <a:lnTo>
                        <a:pt x="284" y="150"/>
                      </a:lnTo>
                      <a:lnTo>
                        <a:pt x="287" y="147"/>
                      </a:lnTo>
                      <a:lnTo>
                        <a:pt x="287" y="145"/>
                      </a:lnTo>
                      <a:lnTo>
                        <a:pt x="287" y="145"/>
                      </a:lnTo>
                      <a:lnTo>
                        <a:pt x="287" y="145"/>
                      </a:lnTo>
                      <a:lnTo>
                        <a:pt x="286" y="147"/>
                      </a:lnTo>
                      <a:lnTo>
                        <a:pt x="284" y="148"/>
                      </a:lnTo>
                      <a:lnTo>
                        <a:pt x="281" y="151"/>
                      </a:lnTo>
                      <a:lnTo>
                        <a:pt x="280" y="154"/>
                      </a:lnTo>
                      <a:lnTo>
                        <a:pt x="280" y="155"/>
                      </a:lnTo>
                      <a:lnTo>
                        <a:pt x="280" y="157"/>
                      </a:lnTo>
                      <a:lnTo>
                        <a:pt x="280" y="157"/>
                      </a:lnTo>
                      <a:lnTo>
                        <a:pt x="280" y="158"/>
                      </a:lnTo>
                      <a:lnTo>
                        <a:pt x="280" y="158"/>
                      </a:lnTo>
                      <a:lnTo>
                        <a:pt x="280" y="159"/>
                      </a:lnTo>
                      <a:lnTo>
                        <a:pt x="283" y="162"/>
                      </a:lnTo>
                      <a:lnTo>
                        <a:pt x="283" y="162"/>
                      </a:lnTo>
                      <a:lnTo>
                        <a:pt x="284" y="162"/>
                      </a:lnTo>
                      <a:lnTo>
                        <a:pt x="284" y="162"/>
                      </a:lnTo>
                      <a:lnTo>
                        <a:pt x="286" y="166"/>
                      </a:lnTo>
                      <a:lnTo>
                        <a:pt x="286" y="168"/>
                      </a:lnTo>
                      <a:lnTo>
                        <a:pt x="284" y="171"/>
                      </a:lnTo>
                      <a:lnTo>
                        <a:pt x="280" y="173"/>
                      </a:lnTo>
                      <a:lnTo>
                        <a:pt x="276" y="175"/>
                      </a:lnTo>
                      <a:lnTo>
                        <a:pt x="274" y="176"/>
                      </a:lnTo>
                      <a:lnTo>
                        <a:pt x="274" y="181"/>
                      </a:lnTo>
                      <a:lnTo>
                        <a:pt x="273" y="181"/>
                      </a:lnTo>
                      <a:lnTo>
                        <a:pt x="273" y="182"/>
                      </a:lnTo>
                      <a:lnTo>
                        <a:pt x="269" y="182"/>
                      </a:lnTo>
                      <a:lnTo>
                        <a:pt x="266" y="182"/>
                      </a:lnTo>
                      <a:lnTo>
                        <a:pt x="266" y="181"/>
                      </a:lnTo>
                      <a:lnTo>
                        <a:pt x="266" y="181"/>
                      </a:lnTo>
                      <a:lnTo>
                        <a:pt x="265" y="179"/>
                      </a:lnTo>
                      <a:lnTo>
                        <a:pt x="265" y="179"/>
                      </a:lnTo>
                      <a:lnTo>
                        <a:pt x="263" y="179"/>
                      </a:lnTo>
                      <a:lnTo>
                        <a:pt x="263" y="179"/>
                      </a:lnTo>
                      <a:lnTo>
                        <a:pt x="262" y="181"/>
                      </a:lnTo>
                      <a:lnTo>
                        <a:pt x="260" y="181"/>
                      </a:lnTo>
                      <a:lnTo>
                        <a:pt x="260" y="181"/>
                      </a:lnTo>
                      <a:lnTo>
                        <a:pt x="259" y="182"/>
                      </a:lnTo>
                      <a:lnTo>
                        <a:pt x="258" y="183"/>
                      </a:lnTo>
                      <a:lnTo>
                        <a:pt x="256" y="186"/>
                      </a:lnTo>
                      <a:lnTo>
                        <a:pt x="258" y="188"/>
                      </a:lnTo>
                      <a:lnTo>
                        <a:pt x="258" y="189"/>
                      </a:lnTo>
                      <a:lnTo>
                        <a:pt x="258" y="189"/>
                      </a:lnTo>
                      <a:lnTo>
                        <a:pt x="251" y="197"/>
                      </a:lnTo>
                      <a:lnTo>
                        <a:pt x="249" y="199"/>
                      </a:lnTo>
                      <a:lnTo>
                        <a:pt x="245" y="200"/>
                      </a:lnTo>
                      <a:lnTo>
                        <a:pt x="244" y="202"/>
                      </a:lnTo>
                      <a:lnTo>
                        <a:pt x="241" y="200"/>
                      </a:lnTo>
                      <a:lnTo>
                        <a:pt x="241" y="200"/>
                      </a:lnTo>
                      <a:lnTo>
                        <a:pt x="241" y="200"/>
                      </a:lnTo>
                      <a:lnTo>
                        <a:pt x="239" y="199"/>
                      </a:lnTo>
                      <a:lnTo>
                        <a:pt x="239" y="199"/>
                      </a:lnTo>
                      <a:lnTo>
                        <a:pt x="238" y="197"/>
                      </a:lnTo>
                      <a:lnTo>
                        <a:pt x="238" y="197"/>
                      </a:lnTo>
                      <a:lnTo>
                        <a:pt x="238" y="196"/>
                      </a:lnTo>
                      <a:lnTo>
                        <a:pt x="239" y="196"/>
                      </a:lnTo>
                      <a:lnTo>
                        <a:pt x="239" y="196"/>
                      </a:lnTo>
                      <a:lnTo>
                        <a:pt x="239" y="196"/>
                      </a:lnTo>
                      <a:lnTo>
                        <a:pt x="239" y="195"/>
                      </a:lnTo>
                      <a:lnTo>
                        <a:pt x="239" y="195"/>
                      </a:lnTo>
                      <a:lnTo>
                        <a:pt x="239" y="195"/>
                      </a:lnTo>
                      <a:lnTo>
                        <a:pt x="238" y="195"/>
                      </a:lnTo>
                      <a:lnTo>
                        <a:pt x="238" y="195"/>
                      </a:lnTo>
                      <a:lnTo>
                        <a:pt x="235" y="195"/>
                      </a:lnTo>
                      <a:lnTo>
                        <a:pt x="235" y="195"/>
                      </a:lnTo>
                      <a:lnTo>
                        <a:pt x="234" y="199"/>
                      </a:lnTo>
                      <a:lnTo>
                        <a:pt x="234" y="200"/>
                      </a:lnTo>
                      <a:lnTo>
                        <a:pt x="234" y="200"/>
                      </a:lnTo>
                      <a:lnTo>
                        <a:pt x="235" y="202"/>
                      </a:lnTo>
                      <a:lnTo>
                        <a:pt x="235" y="202"/>
                      </a:lnTo>
                      <a:lnTo>
                        <a:pt x="237" y="203"/>
                      </a:lnTo>
                      <a:lnTo>
                        <a:pt x="238" y="203"/>
                      </a:lnTo>
                      <a:lnTo>
                        <a:pt x="238" y="203"/>
                      </a:lnTo>
                      <a:lnTo>
                        <a:pt x="239" y="204"/>
                      </a:lnTo>
                      <a:lnTo>
                        <a:pt x="239" y="204"/>
                      </a:lnTo>
                      <a:lnTo>
                        <a:pt x="239" y="204"/>
                      </a:lnTo>
                      <a:lnTo>
                        <a:pt x="241" y="206"/>
                      </a:lnTo>
                      <a:lnTo>
                        <a:pt x="239" y="207"/>
                      </a:lnTo>
                      <a:lnTo>
                        <a:pt x="239" y="207"/>
                      </a:lnTo>
                      <a:lnTo>
                        <a:pt x="238" y="209"/>
                      </a:lnTo>
                      <a:lnTo>
                        <a:pt x="237" y="210"/>
                      </a:lnTo>
                      <a:lnTo>
                        <a:pt x="232" y="213"/>
                      </a:lnTo>
                      <a:lnTo>
                        <a:pt x="228" y="214"/>
                      </a:lnTo>
                      <a:lnTo>
                        <a:pt x="216" y="220"/>
                      </a:lnTo>
                      <a:lnTo>
                        <a:pt x="209" y="224"/>
                      </a:lnTo>
                      <a:lnTo>
                        <a:pt x="209" y="225"/>
                      </a:lnTo>
                      <a:lnTo>
                        <a:pt x="209" y="225"/>
                      </a:lnTo>
                      <a:lnTo>
                        <a:pt x="203" y="225"/>
                      </a:lnTo>
                      <a:lnTo>
                        <a:pt x="203" y="224"/>
                      </a:lnTo>
                      <a:lnTo>
                        <a:pt x="202" y="224"/>
                      </a:lnTo>
                      <a:lnTo>
                        <a:pt x="202" y="224"/>
                      </a:lnTo>
                      <a:lnTo>
                        <a:pt x="202" y="223"/>
                      </a:lnTo>
                      <a:lnTo>
                        <a:pt x="200" y="223"/>
                      </a:lnTo>
                      <a:lnTo>
                        <a:pt x="195" y="221"/>
                      </a:lnTo>
                      <a:lnTo>
                        <a:pt x="189" y="221"/>
                      </a:lnTo>
                      <a:lnTo>
                        <a:pt x="185" y="221"/>
                      </a:lnTo>
                      <a:lnTo>
                        <a:pt x="185" y="221"/>
                      </a:lnTo>
                      <a:lnTo>
                        <a:pt x="185" y="223"/>
                      </a:lnTo>
                      <a:lnTo>
                        <a:pt x="185" y="223"/>
                      </a:lnTo>
                      <a:lnTo>
                        <a:pt x="185" y="223"/>
                      </a:lnTo>
                      <a:lnTo>
                        <a:pt x="192" y="224"/>
                      </a:lnTo>
                      <a:lnTo>
                        <a:pt x="193" y="224"/>
                      </a:lnTo>
                      <a:lnTo>
                        <a:pt x="193" y="224"/>
                      </a:lnTo>
                      <a:lnTo>
                        <a:pt x="193" y="224"/>
                      </a:lnTo>
                      <a:lnTo>
                        <a:pt x="195" y="224"/>
                      </a:lnTo>
                      <a:lnTo>
                        <a:pt x="195" y="224"/>
                      </a:lnTo>
                      <a:lnTo>
                        <a:pt x="195" y="224"/>
                      </a:lnTo>
                      <a:lnTo>
                        <a:pt x="196" y="224"/>
                      </a:lnTo>
                      <a:lnTo>
                        <a:pt x="197" y="225"/>
                      </a:lnTo>
                      <a:lnTo>
                        <a:pt x="199" y="225"/>
                      </a:lnTo>
                      <a:lnTo>
                        <a:pt x="202" y="231"/>
                      </a:lnTo>
                      <a:lnTo>
                        <a:pt x="202" y="231"/>
                      </a:lnTo>
                      <a:lnTo>
                        <a:pt x="202" y="232"/>
                      </a:lnTo>
                      <a:lnTo>
                        <a:pt x="200" y="235"/>
                      </a:lnTo>
                      <a:lnTo>
                        <a:pt x="199" y="238"/>
                      </a:lnTo>
                      <a:lnTo>
                        <a:pt x="199" y="238"/>
                      </a:lnTo>
                      <a:lnTo>
                        <a:pt x="195" y="241"/>
                      </a:lnTo>
                      <a:lnTo>
                        <a:pt x="192" y="242"/>
                      </a:lnTo>
                      <a:lnTo>
                        <a:pt x="188" y="244"/>
                      </a:lnTo>
                      <a:lnTo>
                        <a:pt x="188" y="241"/>
                      </a:lnTo>
                      <a:lnTo>
                        <a:pt x="186" y="241"/>
                      </a:lnTo>
                      <a:lnTo>
                        <a:pt x="188" y="237"/>
                      </a:lnTo>
                      <a:lnTo>
                        <a:pt x="186" y="230"/>
                      </a:lnTo>
                      <a:lnTo>
                        <a:pt x="185" y="227"/>
                      </a:lnTo>
                      <a:lnTo>
                        <a:pt x="185" y="231"/>
                      </a:lnTo>
                      <a:lnTo>
                        <a:pt x="185" y="235"/>
                      </a:lnTo>
                      <a:lnTo>
                        <a:pt x="185" y="235"/>
                      </a:lnTo>
                      <a:lnTo>
                        <a:pt x="185" y="237"/>
                      </a:lnTo>
                      <a:lnTo>
                        <a:pt x="185" y="238"/>
                      </a:lnTo>
                      <a:lnTo>
                        <a:pt x="185" y="238"/>
                      </a:lnTo>
                      <a:lnTo>
                        <a:pt x="185" y="238"/>
                      </a:lnTo>
                      <a:lnTo>
                        <a:pt x="185" y="238"/>
                      </a:lnTo>
                      <a:lnTo>
                        <a:pt x="183" y="238"/>
                      </a:lnTo>
                      <a:lnTo>
                        <a:pt x="183" y="238"/>
                      </a:lnTo>
                      <a:lnTo>
                        <a:pt x="182" y="238"/>
                      </a:lnTo>
                      <a:lnTo>
                        <a:pt x="179" y="234"/>
                      </a:lnTo>
                      <a:lnTo>
                        <a:pt x="179" y="234"/>
                      </a:lnTo>
                      <a:lnTo>
                        <a:pt x="178" y="232"/>
                      </a:lnTo>
                      <a:lnTo>
                        <a:pt x="176" y="227"/>
                      </a:lnTo>
                      <a:lnTo>
                        <a:pt x="176" y="225"/>
                      </a:lnTo>
                      <a:lnTo>
                        <a:pt x="175" y="223"/>
                      </a:lnTo>
                      <a:lnTo>
                        <a:pt x="174" y="221"/>
                      </a:lnTo>
                      <a:lnTo>
                        <a:pt x="174" y="221"/>
                      </a:lnTo>
                      <a:lnTo>
                        <a:pt x="174" y="227"/>
                      </a:lnTo>
                      <a:lnTo>
                        <a:pt x="175" y="230"/>
                      </a:lnTo>
                      <a:lnTo>
                        <a:pt x="175" y="230"/>
                      </a:lnTo>
                      <a:lnTo>
                        <a:pt x="178" y="239"/>
                      </a:lnTo>
                      <a:lnTo>
                        <a:pt x="178" y="241"/>
                      </a:lnTo>
                      <a:lnTo>
                        <a:pt x="179" y="244"/>
                      </a:lnTo>
                      <a:lnTo>
                        <a:pt x="181" y="244"/>
                      </a:lnTo>
                      <a:lnTo>
                        <a:pt x="181" y="242"/>
                      </a:lnTo>
                      <a:lnTo>
                        <a:pt x="181" y="242"/>
                      </a:lnTo>
                      <a:lnTo>
                        <a:pt x="182" y="242"/>
                      </a:lnTo>
                      <a:lnTo>
                        <a:pt x="182" y="242"/>
                      </a:lnTo>
                      <a:lnTo>
                        <a:pt x="183" y="244"/>
                      </a:lnTo>
                      <a:lnTo>
                        <a:pt x="185" y="245"/>
                      </a:lnTo>
                      <a:lnTo>
                        <a:pt x="185" y="245"/>
                      </a:lnTo>
                      <a:lnTo>
                        <a:pt x="185" y="246"/>
                      </a:lnTo>
                      <a:lnTo>
                        <a:pt x="185" y="246"/>
                      </a:lnTo>
                      <a:lnTo>
                        <a:pt x="185" y="246"/>
                      </a:lnTo>
                      <a:lnTo>
                        <a:pt x="182" y="251"/>
                      </a:lnTo>
                      <a:lnTo>
                        <a:pt x="182" y="252"/>
                      </a:lnTo>
                      <a:lnTo>
                        <a:pt x="175" y="256"/>
                      </a:lnTo>
                      <a:lnTo>
                        <a:pt x="175" y="256"/>
                      </a:lnTo>
                      <a:lnTo>
                        <a:pt x="175" y="255"/>
                      </a:lnTo>
                      <a:lnTo>
                        <a:pt x="176" y="252"/>
                      </a:lnTo>
                      <a:lnTo>
                        <a:pt x="175" y="252"/>
                      </a:lnTo>
                      <a:lnTo>
                        <a:pt x="171" y="258"/>
                      </a:lnTo>
                      <a:lnTo>
                        <a:pt x="169" y="260"/>
                      </a:lnTo>
                      <a:lnTo>
                        <a:pt x="169" y="260"/>
                      </a:lnTo>
                      <a:lnTo>
                        <a:pt x="169" y="262"/>
                      </a:lnTo>
                      <a:lnTo>
                        <a:pt x="169" y="262"/>
                      </a:lnTo>
                      <a:lnTo>
                        <a:pt x="169" y="262"/>
                      </a:lnTo>
                      <a:lnTo>
                        <a:pt x="169" y="262"/>
                      </a:lnTo>
                      <a:lnTo>
                        <a:pt x="161" y="258"/>
                      </a:lnTo>
                      <a:lnTo>
                        <a:pt x="161" y="256"/>
                      </a:lnTo>
                      <a:lnTo>
                        <a:pt x="161" y="256"/>
                      </a:lnTo>
                      <a:lnTo>
                        <a:pt x="161" y="256"/>
                      </a:lnTo>
                      <a:lnTo>
                        <a:pt x="159" y="256"/>
                      </a:lnTo>
                      <a:lnTo>
                        <a:pt x="159" y="258"/>
                      </a:lnTo>
                      <a:lnTo>
                        <a:pt x="158" y="258"/>
                      </a:lnTo>
                      <a:lnTo>
                        <a:pt x="158" y="258"/>
                      </a:lnTo>
                      <a:lnTo>
                        <a:pt x="158" y="258"/>
                      </a:lnTo>
                      <a:lnTo>
                        <a:pt x="157" y="258"/>
                      </a:lnTo>
                      <a:lnTo>
                        <a:pt x="157" y="258"/>
                      </a:lnTo>
                      <a:lnTo>
                        <a:pt x="154" y="253"/>
                      </a:lnTo>
                      <a:lnTo>
                        <a:pt x="151" y="249"/>
                      </a:lnTo>
                      <a:lnTo>
                        <a:pt x="151" y="248"/>
                      </a:lnTo>
                      <a:lnTo>
                        <a:pt x="152" y="244"/>
                      </a:lnTo>
                      <a:lnTo>
                        <a:pt x="151" y="237"/>
                      </a:lnTo>
                      <a:lnTo>
                        <a:pt x="150" y="225"/>
                      </a:lnTo>
                      <a:lnTo>
                        <a:pt x="148" y="225"/>
                      </a:lnTo>
                      <a:lnTo>
                        <a:pt x="145" y="221"/>
                      </a:lnTo>
                      <a:lnTo>
                        <a:pt x="145" y="221"/>
                      </a:lnTo>
                      <a:lnTo>
                        <a:pt x="143" y="218"/>
                      </a:lnTo>
                      <a:lnTo>
                        <a:pt x="141" y="218"/>
                      </a:lnTo>
                      <a:lnTo>
                        <a:pt x="141" y="218"/>
                      </a:lnTo>
                      <a:lnTo>
                        <a:pt x="140" y="217"/>
                      </a:lnTo>
                      <a:lnTo>
                        <a:pt x="138" y="217"/>
                      </a:lnTo>
                      <a:lnTo>
                        <a:pt x="138" y="217"/>
                      </a:lnTo>
                      <a:lnTo>
                        <a:pt x="137" y="216"/>
                      </a:lnTo>
                      <a:lnTo>
                        <a:pt x="136" y="214"/>
                      </a:lnTo>
                      <a:lnTo>
                        <a:pt x="134" y="214"/>
                      </a:lnTo>
                      <a:lnTo>
                        <a:pt x="134" y="213"/>
                      </a:lnTo>
                      <a:lnTo>
                        <a:pt x="134" y="213"/>
                      </a:lnTo>
                      <a:lnTo>
                        <a:pt x="134" y="213"/>
                      </a:lnTo>
                      <a:lnTo>
                        <a:pt x="134" y="207"/>
                      </a:lnTo>
                      <a:lnTo>
                        <a:pt x="134" y="206"/>
                      </a:lnTo>
                      <a:lnTo>
                        <a:pt x="134" y="206"/>
                      </a:lnTo>
                      <a:lnTo>
                        <a:pt x="134" y="204"/>
                      </a:lnTo>
                      <a:lnTo>
                        <a:pt x="134" y="203"/>
                      </a:lnTo>
                      <a:lnTo>
                        <a:pt x="134" y="203"/>
                      </a:lnTo>
                      <a:lnTo>
                        <a:pt x="134" y="202"/>
                      </a:lnTo>
                      <a:lnTo>
                        <a:pt x="129" y="181"/>
                      </a:lnTo>
                      <a:lnTo>
                        <a:pt x="126" y="179"/>
                      </a:lnTo>
                      <a:lnTo>
                        <a:pt x="126" y="178"/>
                      </a:lnTo>
                      <a:lnTo>
                        <a:pt x="119" y="173"/>
                      </a:lnTo>
                      <a:lnTo>
                        <a:pt x="116" y="172"/>
                      </a:lnTo>
                      <a:lnTo>
                        <a:pt x="113" y="172"/>
                      </a:lnTo>
                      <a:lnTo>
                        <a:pt x="112" y="171"/>
                      </a:lnTo>
                      <a:lnTo>
                        <a:pt x="112" y="171"/>
                      </a:lnTo>
                      <a:lnTo>
                        <a:pt x="110" y="169"/>
                      </a:lnTo>
                      <a:lnTo>
                        <a:pt x="109" y="168"/>
                      </a:lnTo>
                      <a:lnTo>
                        <a:pt x="105" y="162"/>
                      </a:lnTo>
                      <a:lnTo>
                        <a:pt x="105" y="162"/>
                      </a:lnTo>
                      <a:lnTo>
                        <a:pt x="101" y="155"/>
                      </a:lnTo>
                      <a:lnTo>
                        <a:pt x="98" y="150"/>
                      </a:lnTo>
                      <a:lnTo>
                        <a:pt x="98" y="147"/>
                      </a:lnTo>
                      <a:lnTo>
                        <a:pt x="99" y="144"/>
                      </a:lnTo>
                      <a:lnTo>
                        <a:pt x="99" y="144"/>
                      </a:lnTo>
                      <a:lnTo>
                        <a:pt x="98" y="143"/>
                      </a:lnTo>
                      <a:lnTo>
                        <a:pt x="89" y="136"/>
                      </a:lnTo>
                      <a:lnTo>
                        <a:pt x="89" y="134"/>
                      </a:lnTo>
                      <a:lnTo>
                        <a:pt x="87" y="133"/>
                      </a:lnTo>
                      <a:lnTo>
                        <a:pt x="87" y="133"/>
                      </a:lnTo>
                      <a:lnTo>
                        <a:pt x="85" y="133"/>
                      </a:lnTo>
                      <a:lnTo>
                        <a:pt x="85" y="133"/>
                      </a:lnTo>
                      <a:lnTo>
                        <a:pt x="84" y="133"/>
                      </a:lnTo>
                      <a:lnTo>
                        <a:pt x="84" y="133"/>
                      </a:lnTo>
                      <a:lnTo>
                        <a:pt x="81" y="130"/>
                      </a:lnTo>
                      <a:lnTo>
                        <a:pt x="80" y="130"/>
                      </a:lnTo>
                      <a:lnTo>
                        <a:pt x="78" y="124"/>
                      </a:lnTo>
                      <a:lnTo>
                        <a:pt x="77" y="124"/>
                      </a:lnTo>
                      <a:lnTo>
                        <a:pt x="77" y="123"/>
                      </a:lnTo>
                      <a:lnTo>
                        <a:pt x="77" y="122"/>
                      </a:lnTo>
                      <a:lnTo>
                        <a:pt x="77" y="122"/>
                      </a:lnTo>
                      <a:lnTo>
                        <a:pt x="75" y="119"/>
                      </a:lnTo>
                      <a:lnTo>
                        <a:pt x="75" y="117"/>
                      </a:lnTo>
                      <a:lnTo>
                        <a:pt x="73" y="116"/>
                      </a:lnTo>
                      <a:lnTo>
                        <a:pt x="71" y="115"/>
                      </a:lnTo>
                      <a:lnTo>
                        <a:pt x="68" y="112"/>
                      </a:lnTo>
                      <a:lnTo>
                        <a:pt x="66" y="110"/>
                      </a:lnTo>
                      <a:lnTo>
                        <a:pt x="66" y="110"/>
                      </a:lnTo>
                      <a:lnTo>
                        <a:pt x="64" y="110"/>
                      </a:lnTo>
                      <a:lnTo>
                        <a:pt x="61" y="109"/>
                      </a:lnTo>
                      <a:lnTo>
                        <a:pt x="56" y="103"/>
                      </a:lnTo>
                      <a:lnTo>
                        <a:pt x="54" y="103"/>
                      </a:lnTo>
                      <a:lnTo>
                        <a:pt x="54" y="103"/>
                      </a:lnTo>
                      <a:lnTo>
                        <a:pt x="54" y="102"/>
                      </a:lnTo>
                      <a:lnTo>
                        <a:pt x="54" y="102"/>
                      </a:lnTo>
                      <a:lnTo>
                        <a:pt x="50" y="94"/>
                      </a:lnTo>
                      <a:lnTo>
                        <a:pt x="49" y="91"/>
                      </a:lnTo>
                      <a:lnTo>
                        <a:pt x="47" y="89"/>
                      </a:lnTo>
                      <a:lnTo>
                        <a:pt x="47" y="89"/>
                      </a:lnTo>
                      <a:lnTo>
                        <a:pt x="46" y="88"/>
                      </a:lnTo>
                      <a:lnTo>
                        <a:pt x="46" y="88"/>
                      </a:lnTo>
                      <a:lnTo>
                        <a:pt x="45" y="88"/>
                      </a:lnTo>
                      <a:lnTo>
                        <a:pt x="45" y="87"/>
                      </a:lnTo>
                      <a:lnTo>
                        <a:pt x="43" y="87"/>
                      </a:lnTo>
                      <a:lnTo>
                        <a:pt x="43" y="85"/>
                      </a:lnTo>
                      <a:lnTo>
                        <a:pt x="42" y="81"/>
                      </a:lnTo>
                      <a:lnTo>
                        <a:pt x="39" y="74"/>
                      </a:lnTo>
                      <a:lnTo>
                        <a:pt x="33" y="61"/>
                      </a:lnTo>
                      <a:lnTo>
                        <a:pt x="33" y="61"/>
                      </a:lnTo>
                      <a:lnTo>
                        <a:pt x="33" y="60"/>
                      </a:lnTo>
                      <a:lnTo>
                        <a:pt x="32" y="60"/>
                      </a:lnTo>
                      <a:lnTo>
                        <a:pt x="32" y="60"/>
                      </a:lnTo>
                      <a:lnTo>
                        <a:pt x="32" y="60"/>
                      </a:lnTo>
                      <a:lnTo>
                        <a:pt x="30" y="60"/>
                      </a:lnTo>
                      <a:lnTo>
                        <a:pt x="28" y="60"/>
                      </a:lnTo>
                      <a:lnTo>
                        <a:pt x="28" y="60"/>
                      </a:lnTo>
                      <a:lnTo>
                        <a:pt x="26" y="60"/>
                      </a:lnTo>
                      <a:lnTo>
                        <a:pt x="23" y="60"/>
                      </a:lnTo>
                      <a:lnTo>
                        <a:pt x="23" y="60"/>
                      </a:lnTo>
                      <a:lnTo>
                        <a:pt x="22" y="60"/>
                      </a:lnTo>
                      <a:lnTo>
                        <a:pt x="21" y="59"/>
                      </a:lnTo>
                      <a:lnTo>
                        <a:pt x="2" y="44"/>
                      </a:lnTo>
                      <a:lnTo>
                        <a:pt x="1" y="43"/>
                      </a:lnTo>
                      <a:lnTo>
                        <a:pt x="0" y="42"/>
                      </a:lnTo>
                      <a:lnTo>
                        <a:pt x="0" y="42"/>
                      </a:lnTo>
                      <a:lnTo>
                        <a:pt x="0" y="42"/>
                      </a:lnTo>
                      <a:lnTo>
                        <a:pt x="0" y="40"/>
                      </a:lnTo>
                      <a:lnTo>
                        <a:pt x="0" y="40"/>
                      </a:lnTo>
                      <a:lnTo>
                        <a:pt x="2" y="33"/>
                      </a:lnTo>
                      <a:lnTo>
                        <a:pt x="4" y="33"/>
                      </a:lnTo>
                      <a:lnTo>
                        <a:pt x="8" y="28"/>
                      </a:lnTo>
                      <a:lnTo>
                        <a:pt x="11" y="25"/>
                      </a:lnTo>
                      <a:lnTo>
                        <a:pt x="14" y="23"/>
                      </a:lnTo>
                      <a:lnTo>
                        <a:pt x="15" y="23"/>
                      </a:lnTo>
                      <a:lnTo>
                        <a:pt x="15" y="23"/>
                      </a:lnTo>
                      <a:lnTo>
                        <a:pt x="15" y="23"/>
                      </a:lnTo>
                      <a:lnTo>
                        <a:pt x="16" y="22"/>
                      </a:lnTo>
                      <a:lnTo>
                        <a:pt x="18" y="18"/>
                      </a:lnTo>
                      <a:lnTo>
                        <a:pt x="18" y="18"/>
                      </a:lnTo>
                      <a:lnTo>
                        <a:pt x="18" y="16"/>
                      </a:lnTo>
                      <a:lnTo>
                        <a:pt x="19" y="16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  <p:sp>
              <p:nvSpPr>
                <p:cNvPr id="107" name="Freeform 125"/>
                <p:cNvSpPr>
                  <a:spLocks/>
                </p:cNvSpPr>
                <p:nvPr/>
              </p:nvSpPr>
              <p:spPr bwMode="auto">
                <a:xfrm>
                  <a:off x="5618162" y="2489995"/>
                  <a:ext cx="817563" cy="342900"/>
                </a:xfrm>
                <a:custGeom>
                  <a:avLst/>
                  <a:gdLst>
                    <a:gd name="T0" fmla="*/ 465 w 515"/>
                    <a:gd name="T1" fmla="*/ 166 h 216"/>
                    <a:gd name="T2" fmla="*/ 400 w 515"/>
                    <a:gd name="T3" fmla="*/ 205 h 216"/>
                    <a:gd name="T4" fmla="*/ 321 w 515"/>
                    <a:gd name="T5" fmla="*/ 208 h 216"/>
                    <a:gd name="T6" fmla="*/ 212 w 515"/>
                    <a:gd name="T7" fmla="*/ 203 h 216"/>
                    <a:gd name="T8" fmla="*/ 128 w 515"/>
                    <a:gd name="T9" fmla="*/ 203 h 216"/>
                    <a:gd name="T10" fmla="*/ 96 w 515"/>
                    <a:gd name="T11" fmla="*/ 206 h 216"/>
                    <a:gd name="T12" fmla="*/ 0 w 515"/>
                    <a:gd name="T13" fmla="*/ 216 h 216"/>
                    <a:gd name="T14" fmla="*/ 6 w 515"/>
                    <a:gd name="T15" fmla="*/ 206 h 216"/>
                    <a:gd name="T16" fmla="*/ 13 w 515"/>
                    <a:gd name="T17" fmla="*/ 210 h 216"/>
                    <a:gd name="T18" fmla="*/ 16 w 515"/>
                    <a:gd name="T19" fmla="*/ 199 h 216"/>
                    <a:gd name="T20" fmla="*/ 23 w 515"/>
                    <a:gd name="T21" fmla="*/ 178 h 216"/>
                    <a:gd name="T22" fmla="*/ 17 w 515"/>
                    <a:gd name="T23" fmla="*/ 170 h 216"/>
                    <a:gd name="T24" fmla="*/ 31 w 515"/>
                    <a:gd name="T25" fmla="*/ 157 h 216"/>
                    <a:gd name="T26" fmla="*/ 63 w 515"/>
                    <a:gd name="T27" fmla="*/ 170 h 216"/>
                    <a:gd name="T28" fmla="*/ 69 w 515"/>
                    <a:gd name="T29" fmla="*/ 163 h 216"/>
                    <a:gd name="T30" fmla="*/ 63 w 515"/>
                    <a:gd name="T31" fmla="*/ 152 h 216"/>
                    <a:gd name="T32" fmla="*/ 68 w 515"/>
                    <a:gd name="T33" fmla="*/ 142 h 216"/>
                    <a:gd name="T34" fmla="*/ 93 w 515"/>
                    <a:gd name="T35" fmla="*/ 136 h 216"/>
                    <a:gd name="T36" fmla="*/ 92 w 515"/>
                    <a:gd name="T37" fmla="*/ 129 h 216"/>
                    <a:gd name="T38" fmla="*/ 90 w 515"/>
                    <a:gd name="T39" fmla="*/ 118 h 216"/>
                    <a:gd name="T40" fmla="*/ 96 w 515"/>
                    <a:gd name="T41" fmla="*/ 112 h 216"/>
                    <a:gd name="T42" fmla="*/ 103 w 515"/>
                    <a:gd name="T43" fmla="*/ 111 h 216"/>
                    <a:gd name="T44" fmla="*/ 121 w 515"/>
                    <a:gd name="T45" fmla="*/ 105 h 216"/>
                    <a:gd name="T46" fmla="*/ 136 w 515"/>
                    <a:gd name="T47" fmla="*/ 97 h 216"/>
                    <a:gd name="T48" fmla="*/ 157 w 515"/>
                    <a:gd name="T49" fmla="*/ 109 h 216"/>
                    <a:gd name="T50" fmla="*/ 164 w 515"/>
                    <a:gd name="T51" fmla="*/ 107 h 216"/>
                    <a:gd name="T52" fmla="*/ 180 w 515"/>
                    <a:gd name="T53" fmla="*/ 94 h 216"/>
                    <a:gd name="T54" fmla="*/ 192 w 515"/>
                    <a:gd name="T55" fmla="*/ 105 h 216"/>
                    <a:gd name="T56" fmla="*/ 202 w 515"/>
                    <a:gd name="T57" fmla="*/ 97 h 216"/>
                    <a:gd name="T58" fmla="*/ 207 w 515"/>
                    <a:gd name="T59" fmla="*/ 86 h 216"/>
                    <a:gd name="T60" fmla="*/ 211 w 515"/>
                    <a:gd name="T61" fmla="*/ 76 h 216"/>
                    <a:gd name="T62" fmla="*/ 218 w 515"/>
                    <a:gd name="T63" fmla="*/ 81 h 216"/>
                    <a:gd name="T64" fmla="*/ 219 w 515"/>
                    <a:gd name="T65" fmla="*/ 88 h 216"/>
                    <a:gd name="T66" fmla="*/ 243 w 515"/>
                    <a:gd name="T67" fmla="*/ 87 h 216"/>
                    <a:gd name="T68" fmla="*/ 250 w 515"/>
                    <a:gd name="T69" fmla="*/ 69 h 216"/>
                    <a:gd name="T70" fmla="*/ 260 w 515"/>
                    <a:gd name="T71" fmla="*/ 67 h 216"/>
                    <a:gd name="T72" fmla="*/ 264 w 515"/>
                    <a:gd name="T73" fmla="*/ 58 h 216"/>
                    <a:gd name="T74" fmla="*/ 278 w 515"/>
                    <a:gd name="T75" fmla="*/ 48 h 216"/>
                    <a:gd name="T76" fmla="*/ 275 w 515"/>
                    <a:gd name="T77" fmla="*/ 35 h 216"/>
                    <a:gd name="T78" fmla="*/ 288 w 515"/>
                    <a:gd name="T79" fmla="*/ 31 h 216"/>
                    <a:gd name="T80" fmla="*/ 295 w 515"/>
                    <a:gd name="T81" fmla="*/ 35 h 216"/>
                    <a:gd name="T82" fmla="*/ 316 w 515"/>
                    <a:gd name="T83" fmla="*/ 27 h 216"/>
                    <a:gd name="T84" fmla="*/ 314 w 515"/>
                    <a:gd name="T85" fmla="*/ 7 h 216"/>
                    <a:gd name="T86" fmla="*/ 328 w 515"/>
                    <a:gd name="T87" fmla="*/ 2 h 216"/>
                    <a:gd name="T88" fmla="*/ 355 w 515"/>
                    <a:gd name="T89" fmla="*/ 10 h 216"/>
                    <a:gd name="T90" fmla="*/ 361 w 515"/>
                    <a:gd name="T91" fmla="*/ 25 h 216"/>
                    <a:gd name="T92" fmla="*/ 376 w 515"/>
                    <a:gd name="T93" fmla="*/ 28 h 216"/>
                    <a:gd name="T94" fmla="*/ 386 w 515"/>
                    <a:gd name="T95" fmla="*/ 34 h 216"/>
                    <a:gd name="T96" fmla="*/ 400 w 515"/>
                    <a:gd name="T97" fmla="*/ 41 h 216"/>
                    <a:gd name="T98" fmla="*/ 401 w 515"/>
                    <a:gd name="T99" fmla="*/ 37 h 216"/>
                    <a:gd name="T100" fmla="*/ 420 w 515"/>
                    <a:gd name="T101" fmla="*/ 39 h 216"/>
                    <a:gd name="T102" fmla="*/ 435 w 515"/>
                    <a:gd name="T103" fmla="*/ 41 h 216"/>
                    <a:gd name="T104" fmla="*/ 450 w 515"/>
                    <a:gd name="T105" fmla="*/ 31 h 216"/>
                    <a:gd name="T106" fmla="*/ 455 w 515"/>
                    <a:gd name="T107" fmla="*/ 42 h 216"/>
                    <a:gd name="T108" fmla="*/ 463 w 515"/>
                    <a:gd name="T109" fmla="*/ 46 h 216"/>
                    <a:gd name="T110" fmla="*/ 473 w 515"/>
                    <a:gd name="T111" fmla="*/ 63 h 216"/>
                    <a:gd name="T112" fmla="*/ 469 w 515"/>
                    <a:gd name="T113" fmla="*/ 79 h 216"/>
                    <a:gd name="T114" fmla="*/ 484 w 515"/>
                    <a:gd name="T115" fmla="*/ 101 h 216"/>
                    <a:gd name="T116" fmla="*/ 501 w 515"/>
                    <a:gd name="T117" fmla="*/ 122 h 216"/>
                    <a:gd name="T118" fmla="*/ 504 w 515"/>
                    <a:gd name="T119" fmla="*/ 128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15" h="216">
                      <a:moveTo>
                        <a:pt x="504" y="140"/>
                      </a:moveTo>
                      <a:lnTo>
                        <a:pt x="493" y="149"/>
                      </a:lnTo>
                      <a:lnTo>
                        <a:pt x="481" y="156"/>
                      </a:lnTo>
                      <a:lnTo>
                        <a:pt x="480" y="156"/>
                      </a:lnTo>
                      <a:lnTo>
                        <a:pt x="470" y="161"/>
                      </a:lnTo>
                      <a:lnTo>
                        <a:pt x="466" y="164"/>
                      </a:lnTo>
                      <a:lnTo>
                        <a:pt x="465" y="164"/>
                      </a:lnTo>
                      <a:lnTo>
                        <a:pt x="465" y="164"/>
                      </a:lnTo>
                      <a:lnTo>
                        <a:pt x="465" y="166"/>
                      </a:lnTo>
                      <a:lnTo>
                        <a:pt x="460" y="174"/>
                      </a:lnTo>
                      <a:lnTo>
                        <a:pt x="453" y="182"/>
                      </a:lnTo>
                      <a:lnTo>
                        <a:pt x="452" y="184"/>
                      </a:lnTo>
                      <a:lnTo>
                        <a:pt x="452" y="184"/>
                      </a:lnTo>
                      <a:lnTo>
                        <a:pt x="435" y="194"/>
                      </a:lnTo>
                      <a:lnTo>
                        <a:pt x="428" y="196"/>
                      </a:lnTo>
                      <a:lnTo>
                        <a:pt x="418" y="199"/>
                      </a:lnTo>
                      <a:lnTo>
                        <a:pt x="401" y="205"/>
                      </a:lnTo>
                      <a:lnTo>
                        <a:pt x="400" y="205"/>
                      </a:lnTo>
                      <a:lnTo>
                        <a:pt x="399" y="208"/>
                      </a:lnTo>
                      <a:lnTo>
                        <a:pt x="399" y="208"/>
                      </a:lnTo>
                      <a:lnTo>
                        <a:pt x="394" y="209"/>
                      </a:lnTo>
                      <a:lnTo>
                        <a:pt x="369" y="208"/>
                      </a:lnTo>
                      <a:lnTo>
                        <a:pt x="362" y="208"/>
                      </a:lnTo>
                      <a:lnTo>
                        <a:pt x="352" y="208"/>
                      </a:lnTo>
                      <a:lnTo>
                        <a:pt x="345" y="208"/>
                      </a:lnTo>
                      <a:lnTo>
                        <a:pt x="341" y="208"/>
                      </a:lnTo>
                      <a:lnTo>
                        <a:pt x="321" y="208"/>
                      </a:lnTo>
                      <a:lnTo>
                        <a:pt x="316" y="206"/>
                      </a:lnTo>
                      <a:lnTo>
                        <a:pt x="299" y="205"/>
                      </a:lnTo>
                      <a:lnTo>
                        <a:pt x="295" y="205"/>
                      </a:lnTo>
                      <a:lnTo>
                        <a:pt x="284" y="205"/>
                      </a:lnTo>
                      <a:lnTo>
                        <a:pt x="275" y="206"/>
                      </a:lnTo>
                      <a:lnTo>
                        <a:pt x="271" y="206"/>
                      </a:lnTo>
                      <a:lnTo>
                        <a:pt x="233" y="205"/>
                      </a:lnTo>
                      <a:lnTo>
                        <a:pt x="223" y="203"/>
                      </a:lnTo>
                      <a:lnTo>
                        <a:pt x="212" y="203"/>
                      </a:lnTo>
                      <a:lnTo>
                        <a:pt x="201" y="202"/>
                      </a:lnTo>
                      <a:lnTo>
                        <a:pt x="197" y="203"/>
                      </a:lnTo>
                      <a:lnTo>
                        <a:pt x="163" y="203"/>
                      </a:lnTo>
                      <a:lnTo>
                        <a:pt x="160" y="203"/>
                      </a:lnTo>
                      <a:lnTo>
                        <a:pt x="155" y="203"/>
                      </a:lnTo>
                      <a:lnTo>
                        <a:pt x="150" y="203"/>
                      </a:lnTo>
                      <a:lnTo>
                        <a:pt x="141" y="203"/>
                      </a:lnTo>
                      <a:lnTo>
                        <a:pt x="135" y="203"/>
                      </a:lnTo>
                      <a:lnTo>
                        <a:pt x="128" y="203"/>
                      </a:lnTo>
                      <a:lnTo>
                        <a:pt x="111" y="205"/>
                      </a:lnTo>
                      <a:lnTo>
                        <a:pt x="108" y="202"/>
                      </a:lnTo>
                      <a:lnTo>
                        <a:pt x="106" y="202"/>
                      </a:lnTo>
                      <a:lnTo>
                        <a:pt x="94" y="201"/>
                      </a:lnTo>
                      <a:lnTo>
                        <a:pt x="94" y="201"/>
                      </a:lnTo>
                      <a:lnTo>
                        <a:pt x="94" y="202"/>
                      </a:lnTo>
                      <a:lnTo>
                        <a:pt x="94" y="205"/>
                      </a:lnTo>
                      <a:lnTo>
                        <a:pt x="96" y="205"/>
                      </a:lnTo>
                      <a:lnTo>
                        <a:pt x="96" y="206"/>
                      </a:lnTo>
                      <a:lnTo>
                        <a:pt x="96" y="209"/>
                      </a:lnTo>
                      <a:lnTo>
                        <a:pt x="96" y="210"/>
                      </a:lnTo>
                      <a:lnTo>
                        <a:pt x="96" y="212"/>
                      </a:lnTo>
                      <a:lnTo>
                        <a:pt x="96" y="215"/>
                      </a:lnTo>
                      <a:lnTo>
                        <a:pt x="96" y="216"/>
                      </a:lnTo>
                      <a:lnTo>
                        <a:pt x="87" y="216"/>
                      </a:lnTo>
                      <a:lnTo>
                        <a:pt x="70" y="216"/>
                      </a:lnTo>
                      <a:lnTo>
                        <a:pt x="56" y="216"/>
                      </a:lnTo>
                      <a:lnTo>
                        <a:pt x="0" y="216"/>
                      </a:lnTo>
                      <a:lnTo>
                        <a:pt x="3" y="208"/>
                      </a:lnTo>
                      <a:lnTo>
                        <a:pt x="3" y="206"/>
                      </a:lnTo>
                      <a:lnTo>
                        <a:pt x="3" y="206"/>
                      </a:lnTo>
                      <a:lnTo>
                        <a:pt x="5" y="206"/>
                      </a:lnTo>
                      <a:lnTo>
                        <a:pt x="5" y="205"/>
                      </a:lnTo>
                      <a:lnTo>
                        <a:pt x="5" y="205"/>
                      </a:lnTo>
                      <a:lnTo>
                        <a:pt x="6" y="205"/>
                      </a:lnTo>
                      <a:lnTo>
                        <a:pt x="6" y="206"/>
                      </a:lnTo>
                      <a:lnTo>
                        <a:pt x="6" y="206"/>
                      </a:lnTo>
                      <a:lnTo>
                        <a:pt x="7" y="206"/>
                      </a:lnTo>
                      <a:lnTo>
                        <a:pt x="9" y="208"/>
                      </a:lnTo>
                      <a:lnTo>
                        <a:pt x="9" y="209"/>
                      </a:lnTo>
                      <a:lnTo>
                        <a:pt x="10" y="209"/>
                      </a:lnTo>
                      <a:lnTo>
                        <a:pt x="10" y="209"/>
                      </a:lnTo>
                      <a:lnTo>
                        <a:pt x="12" y="210"/>
                      </a:lnTo>
                      <a:lnTo>
                        <a:pt x="12" y="210"/>
                      </a:lnTo>
                      <a:lnTo>
                        <a:pt x="13" y="210"/>
                      </a:lnTo>
                      <a:lnTo>
                        <a:pt x="13" y="210"/>
                      </a:lnTo>
                      <a:lnTo>
                        <a:pt x="14" y="210"/>
                      </a:lnTo>
                      <a:lnTo>
                        <a:pt x="14" y="210"/>
                      </a:lnTo>
                      <a:lnTo>
                        <a:pt x="16" y="209"/>
                      </a:lnTo>
                      <a:lnTo>
                        <a:pt x="17" y="203"/>
                      </a:lnTo>
                      <a:lnTo>
                        <a:pt x="19" y="202"/>
                      </a:lnTo>
                      <a:lnTo>
                        <a:pt x="17" y="202"/>
                      </a:lnTo>
                      <a:lnTo>
                        <a:pt x="17" y="201"/>
                      </a:lnTo>
                      <a:lnTo>
                        <a:pt x="17" y="201"/>
                      </a:lnTo>
                      <a:lnTo>
                        <a:pt x="16" y="199"/>
                      </a:lnTo>
                      <a:lnTo>
                        <a:pt x="16" y="198"/>
                      </a:lnTo>
                      <a:lnTo>
                        <a:pt x="16" y="196"/>
                      </a:lnTo>
                      <a:lnTo>
                        <a:pt x="17" y="191"/>
                      </a:lnTo>
                      <a:lnTo>
                        <a:pt x="20" y="187"/>
                      </a:lnTo>
                      <a:lnTo>
                        <a:pt x="20" y="187"/>
                      </a:lnTo>
                      <a:lnTo>
                        <a:pt x="21" y="185"/>
                      </a:lnTo>
                      <a:lnTo>
                        <a:pt x="21" y="185"/>
                      </a:lnTo>
                      <a:lnTo>
                        <a:pt x="21" y="184"/>
                      </a:lnTo>
                      <a:lnTo>
                        <a:pt x="23" y="178"/>
                      </a:lnTo>
                      <a:lnTo>
                        <a:pt x="21" y="178"/>
                      </a:lnTo>
                      <a:lnTo>
                        <a:pt x="21" y="177"/>
                      </a:lnTo>
                      <a:lnTo>
                        <a:pt x="21" y="177"/>
                      </a:lnTo>
                      <a:lnTo>
                        <a:pt x="21" y="177"/>
                      </a:lnTo>
                      <a:lnTo>
                        <a:pt x="19" y="174"/>
                      </a:lnTo>
                      <a:lnTo>
                        <a:pt x="19" y="173"/>
                      </a:lnTo>
                      <a:lnTo>
                        <a:pt x="17" y="173"/>
                      </a:lnTo>
                      <a:lnTo>
                        <a:pt x="17" y="171"/>
                      </a:lnTo>
                      <a:lnTo>
                        <a:pt x="17" y="170"/>
                      </a:lnTo>
                      <a:lnTo>
                        <a:pt x="17" y="170"/>
                      </a:lnTo>
                      <a:lnTo>
                        <a:pt x="19" y="170"/>
                      </a:lnTo>
                      <a:lnTo>
                        <a:pt x="19" y="168"/>
                      </a:lnTo>
                      <a:lnTo>
                        <a:pt x="23" y="161"/>
                      </a:lnTo>
                      <a:lnTo>
                        <a:pt x="24" y="160"/>
                      </a:lnTo>
                      <a:lnTo>
                        <a:pt x="26" y="160"/>
                      </a:lnTo>
                      <a:lnTo>
                        <a:pt x="28" y="157"/>
                      </a:lnTo>
                      <a:lnTo>
                        <a:pt x="28" y="157"/>
                      </a:lnTo>
                      <a:lnTo>
                        <a:pt x="31" y="157"/>
                      </a:lnTo>
                      <a:lnTo>
                        <a:pt x="33" y="157"/>
                      </a:lnTo>
                      <a:lnTo>
                        <a:pt x="37" y="157"/>
                      </a:lnTo>
                      <a:lnTo>
                        <a:pt x="37" y="157"/>
                      </a:lnTo>
                      <a:lnTo>
                        <a:pt x="38" y="157"/>
                      </a:lnTo>
                      <a:lnTo>
                        <a:pt x="47" y="161"/>
                      </a:lnTo>
                      <a:lnTo>
                        <a:pt x="59" y="168"/>
                      </a:lnTo>
                      <a:lnTo>
                        <a:pt x="61" y="168"/>
                      </a:lnTo>
                      <a:lnTo>
                        <a:pt x="62" y="170"/>
                      </a:lnTo>
                      <a:lnTo>
                        <a:pt x="63" y="170"/>
                      </a:lnTo>
                      <a:lnTo>
                        <a:pt x="65" y="170"/>
                      </a:lnTo>
                      <a:lnTo>
                        <a:pt x="65" y="170"/>
                      </a:lnTo>
                      <a:lnTo>
                        <a:pt x="66" y="170"/>
                      </a:lnTo>
                      <a:lnTo>
                        <a:pt x="66" y="168"/>
                      </a:lnTo>
                      <a:lnTo>
                        <a:pt x="68" y="168"/>
                      </a:lnTo>
                      <a:lnTo>
                        <a:pt x="68" y="167"/>
                      </a:lnTo>
                      <a:lnTo>
                        <a:pt x="69" y="164"/>
                      </a:lnTo>
                      <a:lnTo>
                        <a:pt x="69" y="163"/>
                      </a:lnTo>
                      <a:lnTo>
                        <a:pt x="69" y="163"/>
                      </a:lnTo>
                      <a:lnTo>
                        <a:pt x="69" y="161"/>
                      </a:lnTo>
                      <a:lnTo>
                        <a:pt x="69" y="160"/>
                      </a:lnTo>
                      <a:lnTo>
                        <a:pt x="68" y="159"/>
                      </a:lnTo>
                      <a:lnTo>
                        <a:pt x="66" y="156"/>
                      </a:lnTo>
                      <a:lnTo>
                        <a:pt x="65" y="156"/>
                      </a:lnTo>
                      <a:lnTo>
                        <a:pt x="65" y="154"/>
                      </a:lnTo>
                      <a:lnTo>
                        <a:pt x="65" y="153"/>
                      </a:lnTo>
                      <a:lnTo>
                        <a:pt x="63" y="153"/>
                      </a:lnTo>
                      <a:lnTo>
                        <a:pt x="63" y="152"/>
                      </a:lnTo>
                      <a:lnTo>
                        <a:pt x="63" y="152"/>
                      </a:lnTo>
                      <a:lnTo>
                        <a:pt x="63" y="149"/>
                      </a:lnTo>
                      <a:lnTo>
                        <a:pt x="63" y="147"/>
                      </a:lnTo>
                      <a:lnTo>
                        <a:pt x="63" y="146"/>
                      </a:lnTo>
                      <a:lnTo>
                        <a:pt x="65" y="143"/>
                      </a:lnTo>
                      <a:lnTo>
                        <a:pt x="65" y="143"/>
                      </a:lnTo>
                      <a:lnTo>
                        <a:pt x="66" y="142"/>
                      </a:lnTo>
                      <a:lnTo>
                        <a:pt x="66" y="142"/>
                      </a:lnTo>
                      <a:lnTo>
                        <a:pt x="68" y="142"/>
                      </a:lnTo>
                      <a:lnTo>
                        <a:pt x="69" y="140"/>
                      </a:lnTo>
                      <a:lnTo>
                        <a:pt x="80" y="138"/>
                      </a:lnTo>
                      <a:lnTo>
                        <a:pt x="82" y="138"/>
                      </a:lnTo>
                      <a:lnTo>
                        <a:pt x="86" y="136"/>
                      </a:lnTo>
                      <a:lnTo>
                        <a:pt x="89" y="136"/>
                      </a:lnTo>
                      <a:lnTo>
                        <a:pt x="92" y="136"/>
                      </a:lnTo>
                      <a:lnTo>
                        <a:pt x="92" y="136"/>
                      </a:lnTo>
                      <a:lnTo>
                        <a:pt x="93" y="136"/>
                      </a:lnTo>
                      <a:lnTo>
                        <a:pt x="93" y="136"/>
                      </a:lnTo>
                      <a:lnTo>
                        <a:pt x="93" y="135"/>
                      </a:lnTo>
                      <a:lnTo>
                        <a:pt x="93" y="135"/>
                      </a:lnTo>
                      <a:lnTo>
                        <a:pt x="94" y="135"/>
                      </a:lnTo>
                      <a:lnTo>
                        <a:pt x="94" y="133"/>
                      </a:lnTo>
                      <a:lnTo>
                        <a:pt x="94" y="133"/>
                      </a:lnTo>
                      <a:lnTo>
                        <a:pt x="93" y="132"/>
                      </a:lnTo>
                      <a:lnTo>
                        <a:pt x="93" y="132"/>
                      </a:lnTo>
                      <a:lnTo>
                        <a:pt x="92" y="129"/>
                      </a:lnTo>
                      <a:lnTo>
                        <a:pt x="92" y="129"/>
                      </a:lnTo>
                      <a:lnTo>
                        <a:pt x="90" y="128"/>
                      </a:lnTo>
                      <a:lnTo>
                        <a:pt x="90" y="126"/>
                      </a:lnTo>
                      <a:lnTo>
                        <a:pt x="89" y="125"/>
                      </a:lnTo>
                      <a:lnTo>
                        <a:pt x="89" y="125"/>
                      </a:lnTo>
                      <a:lnTo>
                        <a:pt x="89" y="124"/>
                      </a:lnTo>
                      <a:lnTo>
                        <a:pt x="87" y="122"/>
                      </a:lnTo>
                      <a:lnTo>
                        <a:pt x="89" y="121"/>
                      </a:lnTo>
                      <a:lnTo>
                        <a:pt x="89" y="119"/>
                      </a:lnTo>
                      <a:lnTo>
                        <a:pt x="90" y="118"/>
                      </a:lnTo>
                      <a:lnTo>
                        <a:pt x="90" y="117"/>
                      </a:lnTo>
                      <a:lnTo>
                        <a:pt x="90" y="117"/>
                      </a:lnTo>
                      <a:lnTo>
                        <a:pt x="92" y="117"/>
                      </a:lnTo>
                      <a:lnTo>
                        <a:pt x="93" y="115"/>
                      </a:lnTo>
                      <a:lnTo>
                        <a:pt x="93" y="115"/>
                      </a:lnTo>
                      <a:lnTo>
                        <a:pt x="94" y="114"/>
                      </a:lnTo>
                      <a:lnTo>
                        <a:pt x="94" y="114"/>
                      </a:lnTo>
                      <a:lnTo>
                        <a:pt x="96" y="112"/>
                      </a:lnTo>
                      <a:lnTo>
                        <a:pt x="96" y="112"/>
                      </a:lnTo>
                      <a:lnTo>
                        <a:pt x="96" y="112"/>
                      </a:lnTo>
                      <a:lnTo>
                        <a:pt x="96" y="109"/>
                      </a:lnTo>
                      <a:lnTo>
                        <a:pt x="96" y="108"/>
                      </a:lnTo>
                      <a:lnTo>
                        <a:pt x="96" y="108"/>
                      </a:lnTo>
                      <a:lnTo>
                        <a:pt x="96" y="108"/>
                      </a:lnTo>
                      <a:lnTo>
                        <a:pt x="97" y="108"/>
                      </a:lnTo>
                      <a:lnTo>
                        <a:pt x="100" y="109"/>
                      </a:lnTo>
                      <a:lnTo>
                        <a:pt x="101" y="111"/>
                      </a:lnTo>
                      <a:lnTo>
                        <a:pt x="103" y="111"/>
                      </a:lnTo>
                      <a:lnTo>
                        <a:pt x="106" y="108"/>
                      </a:lnTo>
                      <a:lnTo>
                        <a:pt x="106" y="108"/>
                      </a:lnTo>
                      <a:lnTo>
                        <a:pt x="106" y="107"/>
                      </a:lnTo>
                      <a:lnTo>
                        <a:pt x="106" y="107"/>
                      </a:lnTo>
                      <a:lnTo>
                        <a:pt x="106" y="105"/>
                      </a:lnTo>
                      <a:lnTo>
                        <a:pt x="110" y="101"/>
                      </a:lnTo>
                      <a:lnTo>
                        <a:pt x="117" y="102"/>
                      </a:lnTo>
                      <a:lnTo>
                        <a:pt x="121" y="105"/>
                      </a:lnTo>
                      <a:lnTo>
                        <a:pt x="121" y="105"/>
                      </a:lnTo>
                      <a:lnTo>
                        <a:pt x="121" y="107"/>
                      </a:lnTo>
                      <a:lnTo>
                        <a:pt x="122" y="107"/>
                      </a:lnTo>
                      <a:lnTo>
                        <a:pt x="122" y="107"/>
                      </a:lnTo>
                      <a:lnTo>
                        <a:pt x="124" y="107"/>
                      </a:lnTo>
                      <a:lnTo>
                        <a:pt x="125" y="107"/>
                      </a:lnTo>
                      <a:lnTo>
                        <a:pt x="127" y="105"/>
                      </a:lnTo>
                      <a:lnTo>
                        <a:pt x="127" y="105"/>
                      </a:lnTo>
                      <a:lnTo>
                        <a:pt x="131" y="100"/>
                      </a:lnTo>
                      <a:lnTo>
                        <a:pt x="136" y="97"/>
                      </a:lnTo>
                      <a:lnTo>
                        <a:pt x="138" y="97"/>
                      </a:lnTo>
                      <a:lnTo>
                        <a:pt x="138" y="97"/>
                      </a:lnTo>
                      <a:lnTo>
                        <a:pt x="139" y="97"/>
                      </a:lnTo>
                      <a:lnTo>
                        <a:pt x="139" y="97"/>
                      </a:lnTo>
                      <a:lnTo>
                        <a:pt x="141" y="98"/>
                      </a:lnTo>
                      <a:lnTo>
                        <a:pt x="155" y="105"/>
                      </a:lnTo>
                      <a:lnTo>
                        <a:pt x="157" y="108"/>
                      </a:lnTo>
                      <a:lnTo>
                        <a:pt x="157" y="108"/>
                      </a:lnTo>
                      <a:lnTo>
                        <a:pt x="157" y="109"/>
                      </a:lnTo>
                      <a:lnTo>
                        <a:pt x="159" y="109"/>
                      </a:lnTo>
                      <a:lnTo>
                        <a:pt x="160" y="109"/>
                      </a:lnTo>
                      <a:lnTo>
                        <a:pt x="160" y="109"/>
                      </a:lnTo>
                      <a:lnTo>
                        <a:pt x="162" y="109"/>
                      </a:lnTo>
                      <a:lnTo>
                        <a:pt x="162" y="109"/>
                      </a:lnTo>
                      <a:lnTo>
                        <a:pt x="163" y="108"/>
                      </a:lnTo>
                      <a:lnTo>
                        <a:pt x="163" y="107"/>
                      </a:lnTo>
                      <a:lnTo>
                        <a:pt x="163" y="107"/>
                      </a:lnTo>
                      <a:lnTo>
                        <a:pt x="164" y="107"/>
                      </a:lnTo>
                      <a:lnTo>
                        <a:pt x="164" y="105"/>
                      </a:lnTo>
                      <a:lnTo>
                        <a:pt x="164" y="102"/>
                      </a:lnTo>
                      <a:lnTo>
                        <a:pt x="164" y="102"/>
                      </a:lnTo>
                      <a:lnTo>
                        <a:pt x="166" y="100"/>
                      </a:lnTo>
                      <a:lnTo>
                        <a:pt x="166" y="100"/>
                      </a:lnTo>
                      <a:lnTo>
                        <a:pt x="167" y="98"/>
                      </a:lnTo>
                      <a:lnTo>
                        <a:pt x="178" y="94"/>
                      </a:lnTo>
                      <a:lnTo>
                        <a:pt x="180" y="93"/>
                      </a:lnTo>
                      <a:lnTo>
                        <a:pt x="180" y="94"/>
                      </a:lnTo>
                      <a:lnTo>
                        <a:pt x="181" y="94"/>
                      </a:lnTo>
                      <a:lnTo>
                        <a:pt x="181" y="94"/>
                      </a:lnTo>
                      <a:lnTo>
                        <a:pt x="181" y="95"/>
                      </a:lnTo>
                      <a:lnTo>
                        <a:pt x="183" y="95"/>
                      </a:lnTo>
                      <a:lnTo>
                        <a:pt x="183" y="97"/>
                      </a:lnTo>
                      <a:lnTo>
                        <a:pt x="183" y="98"/>
                      </a:lnTo>
                      <a:lnTo>
                        <a:pt x="184" y="100"/>
                      </a:lnTo>
                      <a:lnTo>
                        <a:pt x="184" y="100"/>
                      </a:lnTo>
                      <a:lnTo>
                        <a:pt x="192" y="105"/>
                      </a:lnTo>
                      <a:lnTo>
                        <a:pt x="192" y="105"/>
                      </a:lnTo>
                      <a:lnTo>
                        <a:pt x="194" y="105"/>
                      </a:lnTo>
                      <a:lnTo>
                        <a:pt x="194" y="105"/>
                      </a:lnTo>
                      <a:lnTo>
                        <a:pt x="195" y="104"/>
                      </a:lnTo>
                      <a:lnTo>
                        <a:pt x="195" y="104"/>
                      </a:lnTo>
                      <a:lnTo>
                        <a:pt x="201" y="98"/>
                      </a:lnTo>
                      <a:lnTo>
                        <a:pt x="201" y="98"/>
                      </a:lnTo>
                      <a:lnTo>
                        <a:pt x="202" y="97"/>
                      </a:lnTo>
                      <a:lnTo>
                        <a:pt x="202" y="97"/>
                      </a:lnTo>
                      <a:lnTo>
                        <a:pt x="201" y="94"/>
                      </a:lnTo>
                      <a:lnTo>
                        <a:pt x="201" y="93"/>
                      </a:lnTo>
                      <a:lnTo>
                        <a:pt x="201" y="91"/>
                      </a:lnTo>
                      <a:lnTo>
                        <a:pt x="201" y="90"/>
                      </a:lnTo>
                      <a:lnTo>
                        <a:pt x="201" y="90"/>
                      </a:lnTo>
                      <a:lnTo>
                        <a:pt x="201" y="90"/>
                      </a:lnTo>
                      <a:lnTo>
                        <a:pt x="202" y="88"/>
                      </a:lnTo>
                      <a:lnTo>
                        <a:pt x="202" y="88"/>
                      </a:lnTo>
                      <a:lnTo>
                        <a:pt x="207" y="86"/>
                      </a:lnTo>
                      <a:lnTo>
                        <a:pt x="209" y="84"/>
                      </a:lnTo>
                      <a:lnTo>
                        <a:pt x="211" y="79"/>
                      </a:lnTo>
                      <a:lnTo>
                        <a:pt x="211" y="79"/>
                      </a:lnTo>
                      <a:lnTo>
                        <a:pt x="211" y="79"/>
                      </a:lnTo>
                      <a:lnTo>
                        <a:pt x="211" y="79"/>
                      </a:lnTo>
                      <a:lnTo>
                        <a:pt x="211" y="77"/>
                      </a:lnTo>
                      <a:lnTo>
                        <a:pt x="211" y="77"/>
                      </a:lnTo>
                      <a:lnTo>
                        <a:pt x="211" y="77"/>
                      </a:lnTo>
                      <a:lnTo>
                        <a:pt x="211" y="76"/>
                      </a:lnTo>
                      <a:lnTo>
                        <a:pt x="211" y="76"/>
                      </a:lnTo>
                      <a:lnTo>
                        <a:pt x="212" y="76"/>
                      </a:lnTo>
                      <a:lnTo>
                        <a:pt x="212" y="76"/>
                      </a:lnTo>
                      <a:lnTo>
                        <a:pt x="212" y="76"/>
                      </a:lnTo>
                      <a:lnTo>
                        <a:pt x="214" y="77"/>
                      </a:lnTo>
                      <a:lnTo>
                        <a:pt x="214" y="77"/>
                      </a:lnTo>
                      <a:lnTo>
                        <a:pt x="216" y="80"/>
                      </a:lnTo>
                      <a:lnTo>
                        <a:pt x="218" y="80"/>
                      </a:lnTo>
                      <a:lnTo>
                        <a:pt x="218" y="81"/>
                      </a:lnTo>
                      <a:lnTo>
                        <a:pt x="218" y="81"/>
                      </a:lnTo>
                      <a:lnTo>
                        <a:pt x="218" y="83"/>
                      </a:lnTo>
                      <a:lnTo>
                        <a:pt x="218" y="84"/>
                      </a:lnTo>
                      <a:lnTo>
                        <a:pt x="218" y="84"/>
                      </a:lnTo>
                      <a:lnTo>
                        <a:pt x="218" y="86"/>
                      </a:lnTo>
                      <a:lnTo>
                        <a:pt x="218" y="86"/>
                      </a:lnTo>
                      <a:lnTo>
                        <a:pt x="218" y="86"/>
                      </a:lnTo>
                      <a:lnTo>
                        <a:pt x="218" y="87"/>
                      </a:lnTo>
                      <a:lnTo>
                        <a:pt x="219" y="88"/>
                      </a:lnTo>
                      <a:lnTo>
                        <a:pt x="223" y="90"/>
                      </a:lnTo>
                      <a:lnTo>
                        <a:pt x="223" y="90"/>
                      </a:lnTo>
                      <a:lnTo>
                        <a:pt x="235" y="94"/>
                      </a:lnTo>
                      <a:lnTo>
                        <a:pt x="240" y="91"/>
                      </a:lnTo>
                      <a:lnTo>
                        <a:pt x="240" y="91"/>
                      </a:lnTo>
                      <a:lnTo>
                        <a:pt x="242" y="90"/>
                      </a:lnTo>
                      <a:lnTo>
                        <a:pt x="243" y="88"/>
                      </a:lnTo>
                      <a:lnTo>
                        <a:pt x="243" y="88"/>
                      </a:lnTo>
                      <a:lnTo>
                        <a:pt x="243" y="87"/>
                      </a:lnTo>
                      <a:lnTo>
                        <a:pt x="243" y="86"/>
                      </a:lnTo>
                      <a:lnTo>
                        <a:pt x="244" y="83"/>
                      </a:lnTo>
                      <a:lnTo>
                        <a:pt x="244" y="80"/>
                      </a:lnTo>
                      <a:lnTo>
                        <a:pt x="244" y="79"/>
                      </a:lnTo>
                      <a:lnTo>
                        <a:pt x="244" y="77"/>
                      </a:lnTo>
                      <a:lnTo>
                        <a:pt x="244" y="77"/>
                      </a:lnTo>
                      <a:lnTo>
                        <a:pt x="249" y="70"/>
                      </a:lnTo>
                      <a:lnTo>
                        <a:pt x="249" y="69"/>
                      </a:lnTo>
                      <a:lnTo>
                        <a:pt x="250" y="69"/>
                      </a:lnTo>
                      <a:lnTo>
                        <a:pt x="250" y="69"/>
                      </a:lnTo>
                      <a:lnTo>
                        <a:pt x="251" y="69"/>
                      </a:lnTo>
                      <a:lnTo>
                        <a:pt x="253" y="70"/>
                      </a:lnTo>
                      <a:lnTo>
                        <a:pt x="254" y="70"/>
                      </a:lnTo>
                      <a:lnTo>
                        <a:pt x="254" y="70"/>
                      </a:lnTo>
                      <a:lnTo>
                        <a:pt x="256" y="70"/>
                      </a:lnTo>
                      <a:lnTo>
                        <a:pt x="256" y="70"/>
                      </a:lnTo>
                      <a:lnTo>
                        <a:pt x="257" y="69"/>
                      </a:lnTo>
                      <a:lnTo>
                        <a:pt x="260" y="67"/>
                      </a:lnTo>
                      <a:lnTo>
                        <a:pt x="260" y="67"/>
                      </a:lnTo>
                      <a:lnTo>
                        <a:pt x="261" y="66"/>
                      </a:lnTo>
                      <a:lnTo>
                        <a:pt x="261" y="66"/>
                      </a:lnTo>
                      <a:lnTo>
                        <a:pt x="261" y="65"/>
                      </a:lnTo>
                      <a:lnTo>
                        <a:pt x="261" y="65"/>
                      </a:lnTo>
                      <a:lnTo>
                        <a:pt x="263" y="62"/>
                      </a:lnTo>
                      <a:lnTo>
                        <a:pt x="263" y="60"/>
                      </a:lnTo>
                      <a:lnTo>
                        <a:pt x="263" y="58"/>
                      </a:lnTo>
                      <a:lnTo>
                        <a:pt x="264" y="58"/>
                      </a:lnTo>
                      <a:lnTo>
                        <a:pt x="264" y="56"/>
                      </a:lnTo>
                      <a:lnTo>
                        <a:pt x="264" y="55"/>
                      </a:lnTo>
                      <a:lnTo>
                        <a:pt x="265" y="55"/>
                      </a:lnTo>
                      <a:lnTo>
                        <a:pt x="267" y="55"/>
                      </a:lnTo>
                      <a:lnTo>
                        <a:pt x="268" y="55"/>
                      </a:lnTo>
                      <a:lnTo>
                        <a:pt x="270" y="53"/>
                      </a:lnTo>
                      <a:lnTo>
                        <a:pt x="271" y="53"/>
                      </a:lnTo>
                      <a:lnTo>
                        <a:pt x="277" y="48"/>
                      </a:lnTo>
                      <a:lnTo>
                        <a:pt x="278" y="48"/>
                      </a:lnTo>
                      <a:lnTo>
                        <a:pt x="278" y="48"/>
                      </a:lnTo>
                      <a:lnTo>
                        <a:pt x="278" y="46"/>
                      </a:lnTo>
                      <a:lnTo>
                        <a:pt x="278" y="46"/>
                      </a:lnTo>
                      <a:lnTo>
                        <a:pt x="277" y="39"/>
                      </a:lnTo>
                      <a:lnTo>
                        <a:pt x="277" y="38"/>
                      </a:lnTo>
                      <a:lnTo>
                        <a:pt x="275" y="37"/>
                      </a:lnTo>
                      <a:lnTo>
                        <a:pt x="275" y="37"/>
                      </a:lnTo>
                      <a:lnTo>
                        <a:pt x="275" y="35"/>
                      </a:lnTo>
                      <a:lnTo>
                        <a:pt x="275" y="35"/>
                      </a:lnTo>
                      <a:lnTo>
                        <a:pt x="275" y="35"/>
                      </a:lnTo>
                      <a:lnTo>
                        <a:pt x="275" y="34"/>
                      </a:lnTo>
                      <a:lnTo>
                        <a:pt x="275" y="34"/>
                      </a:lnTo>
                      <a:lnTo>
                        <a:pt x="275" y="32"/>
                      </a:lnTo>
                      <a:lnTo>
                        <a:pt x="277" y="32"/>
                      </a:lnTo>
                      <a:lnTo>
                        <a:pt x="277" y="32"/>
                      </a:lnTo>
                      <a:lnTo>
                        <a:pt x="277" y="32"/>
                      </a:lnTo>
                      <a:lnTo>
                        <a:pt x="286" y="31"/>
                      </a:lnTo>
                      <a:lnTo>
                        <a:pt x="288" y="31"/>
                      </a:lnTo>
                      <a:lnTo>
                        <a:pt x="288" y="31"/>
                      </a:lnTo>
                      <a:lnTo>
                        <a:pt x="288" y="31"/>
                      </a:lnTo>
                      <a:lnTo>
                        <a:pt x="289" y="32"/>
                      </a:lnTo>
                      <a:lnTo>
                        <a:pt x="291" y="34"/>
                      </a:lnTo>
                      <a:lnTo>
                        <a:pt x="292" y="35"/>
                      </a:lnTo>
                      <a:lnTo>
                        <a:pt x="292" y="35"/>
                      </a:lnTo>
                      <a:lnTo>
                        <a:pt x="293" y="35"/>
                      </a:lnTo>
                      <a:lnTo>
                        <a:pt x="293" y="35"/>
                      </a:lnTo>
                      <a:lnTo>
                        <a:pt x="295" y="35"/>
                      </a:lnTo>
                      <a:lnTo>
                        <a:pt x="296" y="35"/>
                      </a:lnTo>
                      <a:lnTo>
                        <a:pt x="299" y="32"/>
                      </a:lnTo>
                      <a:lnTo>
                        <a:pt x="303" y="30"/>
                      </a:lnTo>
                      <a:lnTo>
                        <a:pt x="303" y="30"/>
                      </a:lnTo>
                      <a:lnTo>
                        <a:pt x="305" y="30"/>
                      </a:lnTo>
                      <a:lnTo>
                        <a:pt x="307" y="28"/>
                      </a:lnTo>
                      <a:lnTo>
                        <a:pt x="307" y="28"/>
                      </a:lnTo>
                      <a:lnTo>
                        <a:pt x="314" y="27"/>
                      </a:lnTo>
                      <a:lnTo>
                        <a:pt x="316" y="27"/>
                      </a:lnTo>
                      <a:lnTo>
                        <a:pt x="317" y="27"/>
                      </a:lnTo>
                      <a:lnTo>
                        <a:pt x="319" y="25"/>
                      </a:lnTo>
                      <a:lnTo>
                        <a:pt x="321" y="21"/>
                      </a:lnTo>
                      <a:lnTo>
                        <a:pt x="321" y="20"/>
                      </a:lnTo>
                      <a:lnTo>
                        <a:pt x="319" y="11"/>
                      </a:lnTo>
                      <a:lnTo>
                        <a:pt x="317" y="11"/>
                      </a:lnTo>
                      <a:lnTo>
                        <a:pt x="316" y="9"/>
                      </a:lnTo>
                      <a:lnTo>
                        <a:pt x="316" y="7"/>
                      </a:lnTo>
                      <a:lnTo>
                        <a:pt x="314" y="7"/>
                      </a:lnTo>
                      <a:lnTo>
                        <a:pt x="314" y="6"/>
                      </a:lnTo>
                      <a:lnTo>
                        <a:pt x="314" y="6"/>
                      </a:lnTo>
                      <a:lnTo>
                        <a:pt x="314" y="6"/>
                      </a:lnTo>
                      <a:lnTo>
                        <a:pt x="314" y="4"/>
                      </a:lnTo>
                      <a:lnTo>
                        <a:pt x="319" y="2"/>
                      </a:lnTo>
                      <a:lnTo>
                        <a:pt x="321" y="2"/>
                      </a:lnTo>
                      <a:lnTo>
                        <a:pt x="327" y="0"/>
                      </a:lnTo>
                      <a:lnTo>
                        <a:pt x="328" y="2"/>
                      </a:lnTo>
                      <a:lnTo>
                        <a:pt x="328" y="2"/>
                      </a:lnTo>
                      <a:lnTo>
                        <a:pt x="331" y="4"/>
                      </a:lnTo>
                      <a:lnTo>
                        <a:pt x="333" y="4"/>
                      </a:lnTo>
                      <a:lnTo>
                        <a:pt x="333" y="4"/>
                      </a:lnTo>
                      <a:lnTo>
                        <a:pt x="334" y="4"/>
                      </a:lnTo>
                      <a:lnTo>
                        <a:pt x="338" y="3"/>
                      </a:lnTo>
                      <a:lnTo>
                        <a:pt x="345" y="3"/>
                      </a:lnTo>
                      <a:lnTo>
                        <a:pt x="352" y="7"/>
                      </a:lnTo>
                      <a:lnTo>
                        <a:pt x="354" y="9"/>
                      </a:lnTo>
                      <a:lnTo>
                        <a:pt x="355" y="10"/>
                      </a:lnTo>
                      <a:lnTo>
                        <a:pt x="355" y="10"/>
                      </a:lnTo>
                      <a:lnTo>
                        <a:pt x="359" y="18"/>
                      </a:lnTo>
                      <a:lnTo>
                        <a:pt x="359" y="20"/>
                      </a:lnTo>
                      <a:lnTo>
                        <a:pt x="359" y="21"/>
                      </a:lnTo>
                      <a:lnTo>
                        <a:pt x="359" y="21"/>
                      </a:lnTo>
                      <a:lnTo>
                        <a:pt x="359" y="23"/>
                      </a:lnTo>
                      <a:lnTo>
                        <a:pt x="359" y="24"/>
                      </a:lnTo>
                      <a:lnTo>
                        <a:pt x="361" y="24"/>
                      </a:lnTo>
                      <a:lnTo>
                        <a:pt x="361" y="25"/>
                      </a:lnTo>
                      <a:lnTo>
                        <a:pt x="361" y="25"/>
                      </a:lnTo>
                      <a:lnTo>
                        <a:pt x="362" y="27"/>
                      </a:lnTo>
                      <a:lnTo>
                        <a:pt x="364" y="27"/>
                      </a:lnTo>
                      <a:lnTo>
                        <a:pt x="366" y="28"/>
                      </a:lnTo>
                      <a:lnTo>
                        <a:pt x="369" y="28"/>
                      </a:lnTo>
                      <a:lnTo>
                        <a:pt x="371" y="28"/>
                      </a:lnTo>
                      <a:lnTo>
                        <a:pt x="373" y="28"/>
                      </a:lnTo>
                      <a:lnTo>
                        <a:pt x="376" y="28"/>
                      </a:lnTo>
                      <a:lnTo>
                        <a:pt x="376" y="28"/>
                      </a:lnTo>
                      <a:lnTo>
                        <a:pt x="378" y="28"/>
                      </a:lnTo>
                      <a:lnTo>
                        <a:pt x="378" y="27"/>
                      </a:lnTo>
                      <a:lnTo>
                        <a:pt x="379" y="28"/>
                      </a:lnTo>
                      <a:lnTo>
                        <a:pt x="385" y="30"/>
                      </a:lnTo>
                      <a:lnTo>
                        <a:pt x="385" y="30"/>
                      </a:lnTo>
                      <a:lnTo>
                        <a:pt x="385" y="30"/>
                      </a:lnTo>
                      <a:lnTo>
                        <a:pt x="385" y="30"/>
                      </a:lnTo>
                      <a:lnTo>
                        <a:pt x="386" y="31"/>
                      </a:lnTo>
                      <a:lnTo>
                        <a:pt x="386" y="34"/>
                      </a:lnTo>
                      <a:lnTo>
                        <a:pt x="387" y="34"/>
                      </a:lnTo>
                      <a:lnTo>
                        <a:pt x="392" y="38"/>
                      </a:lnTo>
                      <a:lnTo>
                        <a:pt x="392" y="38"/>
                      </a:lnTo>
                      <a:lnTo>
                        <a:pt x="392" y="38"/>
                      </a:lnTo>
                      <a:lnTo>
                        <a:pt x="393" y="39"/>
                      </a:lnTo>
                      <a:lnTo>
                        <a:pt x="396" y="39"/>
                      </a:lnTo>
                      <a:lnTo>
                        <a:pt x="399" y="41"/>
                      </a:lnTo>
                      <a:lnTo>
                        <a:pt x="399" y="41"/>
                      </a:lnTo>
                      <a:lnTo>
                        <a:pt x="400" y="41"/>
                      </a:lnTo>
                      <a:lnTo>
                        <a:pt x="400" y="41"/>
                      </a:lnTo>
                      <a:lnTo>
                        <a:pt x="400" y="41"/>
                      </a:lnTo>
                      <a:lnTo>
                        <a:pt x="400" y="39"/>
                      </a:lnTo>
                      <a:lnTo>
                        <a:pt x="400" y="39"/>
                      </a:lnTo>
                      <a:lnTo>
                        <a:pt x="401" y="38"/>
                      </a:lnTo>
                      <a:lnTo>
                        <a:pt x="401" y="38"/>
                      </a:lnTo>
                      <a:lnTo>
                        <a:pt x="401" y="37"/>
                      </a:lnTo>
                      <a:lnTo>
                        <a:pt x="401" y="37"/>
                      </a:lnTo>
                      <a:lnTo>
                        <a:pt x="401" y="37"/>
                      </a:lnTo>
                      <a:lnTo>
                        <a:pt x="403" y="37"/>
                      </a:lnTo>
                      <a:lnTo>
                        <a:pt x="403" y="35"/>
                      </a:lnTo>
                      <a:lnTo>
                        <a:pt x="404" y="35"/>
                      </a:lnTo>
                      <a:lnTo>
                        <a:pt x="408" y="34"/>
                      </a:lnTo>
                      <a:lnTo>
                        <a:pt x="408" y="34"/>
                      </a:lnTo>
                      <a:lnTo>
                        <a:pt x="417" y="38"/>
                      </a:lnTo>
                      <a:lnTo>
                        <a:pt x="418" y="38"/>
                      </a:lnTo>
                      <a:lnTo>
                        <a:pt x="418" y="38"/>
                      </a:lnTo>
                      <a:lnTo>
                        <a:pt x="420" y="39"/>
                      </a:lnTo>
                      <a:lnTo>
                        <a:pt x="421" y="39"/>
                      </a:lnTo>
                      <a:lnTo>
                        <a:pt x="421" y="41"/>
                      </a:lnTo>
                      <a:lnTo>
                        <a:pt x="422" y="42"/>
                      </a:lnTo>
                      <a:lnTo>
                        <a:pt x="422" y="42"/>
                      </a:lnTo>
                      <a:lnTo>
                        <a:pt x="422" y="44"/>
                      </a:lnTo>
                      <a:lnTo>
                        <a:pt x="424" y="44"/>
                      </a:lnTo>
                      <a:lnTo>
                        <a:pt x="424" y="44"/>
                      </a:lnTo>
                      <a:lnTo>
                        <a:pt x="434" y="42"/>
                      </a:lnTo>
                      <a:lnTo>
                        <a:pt x="435" y="41"/>
                      </a:lnTo>
                      <a:lnTo>
                        <a:pt x="435" y="41"/>
                      </a:lnTo>
                      <a:lnTo>
                        <a:pt x="441" y="37"/>
                      </a:lnTo>
                      <a:lnTo>
                        <a:pt x="441" y="35"/>
                      </a:lnTo>
                      <a:lnTo>
                        <a:pt x="441" y="35"/>
                      </a:lnTo>
                      <a:lnTo>
                        <a:pt x="442" y="34"/>
                      </a:lnTo>
                      <a:lnTo>
                        <a:pt x="442" y="34"/>
                      </a:lnTo>
                      <a:lnTo>
                        <a:pt x="443" y="34"/>
                      </a:lnTo>
                      <a:lnTo>
                        <a:pt x="450" y="31"/>
                      </a:lnTo>
                      <a:lnTo>
                        <a:pt x="450" y="31"/>
                      </a:lnTo>
                      <a:lnTo>
                        <a:pt x="452" y="31"/>
                      </a:lnTo>
                      <a:lnTo>
                        <a:pt x="452" y="31"/>
                      </a:lnTo>
                      <a:lnTo>
                        <a:pt x="452" y="31"/>
                      </a:lnTo>
                      <a:lnTo>
                        <a:pt x="453" y="32"/>
                      </a:lnTo>
                      <a:lnTo>
                        <a:pt x="453" y="32"/>
                      </a:lnTo>
                      <a:lnTo>
                        <a:pt x="452" y="34"/>
                      </a:lnTo>
                      <a:lnTo>
                        <a:pt x="452" y="35"/>
                      </a:lnTo>
                      <a:lnTo>
                        <a:pt x="452" y="35"/>
                      </a:lnTo>
                      <a:lnTo>
                        <a:pt x="455" y="42"/>
                      </a:lnTo>
                      <a:lnTo>
                        <a:pt x="455" y="42"/>
                      </a:lnTo>
                      <a:lnTo>
                        <a:pt x="455" y="44"/>
                      </a:lnTo>
                      <a:lnTo>
                        <a:pt x="456" y="45"/>
                      </a:lnTo>
                      <a:lnTo>
                        <a:pt x="456" y="45"/>
                      </a:lnTo>
                      <a:lnTo>
                        <a:pt x="457" y="46"/>
                      </a:lnTo>
                      <a:lnTo>
                        <a:pt x="460" y="46"/>
                      </a:lnTo>
                      <a:lnTo>
                        <a:pt x="462" y="46"/>
                      </a:lnTo>
                      <a:lnTo>
                        <a:pt x="462" y="46"/>
                      </a:lnTo>
                      <a:lnTo>
                        <a:pt x="463" y="46"/>
                      </a:lnTo>
                      <a:lnTo>
                        <a:pt x="465" y="48"/>
                      </a:lnTo>
                      <a:lnTo>
                        <a:pt x="465" y="48"/>
                      </a:lnTo>
                      <a:lnTo>
                        <a:pt x="466" y="49"/>
                      </a:lnTo>
                      <a:lnTo>
                        <a:pt x="472" y="56"/>
                      </a:lnTo>
                      <a:lnTo>
                        <a:pt x="473" y="59"/>
                      </a:lnTo>
                      <a:lnTo>
                        <a:pt x="472" y="62"/>
                      </a:lnTo>
                      <a:lnTo>
                        <a:pt x="473" y="62"/>
                      </a:lnTo>
                      <a:lnTo>
                        <a:pt x="473" y="63"/>
                      </a:lnTo>
                      <a:lnTo>
                        <a:pt x="473" y="63"/>
                      </a:lnTo>
                      <a:lnTo>
                        <a:pt x="474" y="65"/>
                      </a:lnTo>
                      <a:lnTo>
                        <a:pt x="474" y="66"/>
                      </a:lnTo>
                      <a:lnTo>
                        <a:pt x="474" y="66"/>
                      </a:lnTo>
                      <a:lnTo>
                        <a:pt x="473" y="73"/>
                      </a:lnTo>
                      <a:lnTo>
                        <a:pt x="472" y="76"/>
                      </a:lnTo>
                      <a:lnTo>
                        <a:pt x="472" y="76"/>
                      </a:lnTo>
                      <a:lnTo>
                        <a:pt x="472" y="77"/>
                      </a:lnTo>
                      <a:lnTo>
                        <a:pt x="470" y="77"/>
                      </a:lnTo>
                      <a:lnTo>
                        <a:pt x="469" y="79"/>
                      </a:lnTo>
                      <a:lnTo>
                        <a:pt x="469" y="79"/>
                      </a:lnTo>
                      <a:lnTo>
                        <a:pt x="469" y="79"/>
                      </a:lnTo>
                      <a:lnTo>
                        <a:pt x="469" y="79"/>
                      </a:lnTo>
                      <a:lnTo>
                        <a:pt x="470" y="80"/>
                      </a:lnTo>
                      <a:lnTo>
                        <a:pt x="470" y="81"/>
                      </a:lnTo>
                      <a:lnTo>
                        <a:pt x="476" y="88"/>
                      </a:lnTo>
                      <a:lnTo>
                        <a:pt x="479" y="93"/>
                      </a:lnTo>
                      <a:lnTo>
                        <a:pt x="481" y="95"/>
                      </a:lnTo>
                      <a:lnTo>
                        <a:pt x="484" y="101"/>
                      </a:lnTo>
                      <a:lnTo>
                        <a:pt x="484" y="102"/>
                      </a:lnTo>
                      <a:lnTo>
                        <a:pt x="484" y="102"/>
                      </a:lnTo>
                      <a:lnTo>
                        <a:pt x="486" y="105"/>
                      </a:lnTo>
                      <a:lnTo>
                        <a:pt x="486" y="105"/>
                      </a:lnTo>
                      <a:lnTo>
                        <a:pt x="486" y="107"/>
                      </a:lnTo>
                      <a:lnTo>
                        <a:pt x="486" y="108"/>
                      </a:lnTo>
                      <a:lnTo>
                        <a:pt x="491" y="114"/>
                      </a:lnTo>
                      <a:lnTo>
                        <a:pt x="497" y="121"/>
                      </a:lnTo>
                      <a:lnTo>
                        <a:pt x="501" y="122"/>
                      </a:lnTo>
                      <a:lnTo>
                        <a:pt x="501" y="122"/>
                      </a:lnTo>
                      <a:lnTo>
                        <a:pt x="502" y="125"/>
                      </a:lnTo>
                      <a:lnTo>
                        <a:pt x="504" y="126"/>
                      </a:lnTo>
                      <a:lnTo>
                        <a:pt x="504" y="126"/>
                      </a:lnTo>
                      <a:lnTo>
                        <a:pt x="504" y="126"/>
                      </a:lnTo>
                      <a:lnTo>
                        <a:pt x="504" y="128"/>
                      </a:lnTo>
                      <a:lnTo>
                        <a:pt x="504" y="128"/>
                      </a:lnTo>
                      <a:lnTo>
                        <a:pt x="504" y="128"/>
                      </a:lnTo>
                      <a:lnTo>
                        <a:pt x="504" y="128"/>
                      </a:lnTo>
                      <a:lnTo>
                        <a:pt x="509" y="131"/>
                      </a:lnTo>
                      <a:lnTo>
                        <a:pt x="511" y="131"/>
                      </a:lnTo>
                      <a:lnTo>
                        <a:pt x="515" y="131"/>
                      </a:lnTo>
                      <a:lnTo>
                        <a:pt x="504" y="14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  <p:sp>
              <p:nvSpPr>
                <p:cNvPr id="108" name="Freeform 154"/>
                <p:cNvSpPr>
                  <a:spLocks/>
                </p:cNvSpPr>
                <p:nvPr/>
              </p:nvSpPr>
              <p:spPr bwMode="auto">
                <a:xfrm>
                  <a:off x="6124575" y="2120107"/>
                  <a:ext cx="471488" cy="463550"/>
                </a:xfrm>
                <a:custGeom>
                  <a:avLst/>
                  <a:gdLst>
                    <a:gd name="T0" fmla="*/ 242 w 297"/>
                    <a:gd name="T1" fmla="*/ 20 h 292"/>
                    <a:gd name="T2" fmla="*/ 178 w 297"/>
                    <a:gd name="T3" fmla="*/ 44 h 292"/>
                    <a:gd name="T4" fmla="*/ 130 w 297"/>
                    <a:gd name="T5" fmla="*/ 35 h 292"/>
                    <a:gd name="T6" fmla="*/ 88 w 297"/>
                    <a:gd name="T7" fmla="*/ 17 h 292"/>
                    <a:gd name="T8" fmla="*/ 1 w 297"/>
                    <a:gd name="T9" fmla="*/ 20 h 292"/>
                    <a:gd name="T10" fmla="*/ 1 w 297"/>
                    <a:gd name="T11" fmla="*/ 58 h 292"/>
                    <a:gd name="T12" fmla="*/ 0 w 297"/>
                    <a:gd name="T13" fmla="*/ 226 h 292"/>
                    <a:gd name="T14" fmla="*/ 9 w 297"/>
                    <a:gd name="T15" fmla="*/ 235 h 292"/>
                    <a:gd name="T16" fmla="*/ 19 w 297"/>
                    <a:gd name="T17" fmla="*/ 236 h 292"/>
                    <a:gd name="T18" fmla="*/ 36 w 297"/>
                    <a:gd name="T19" fmla="*/ 243 h 292"/>
                    <a:gd name="T20" fmla="*/ 40 w 297"/>
                    <a:gd name="T21" fmla="*/ 256 h 292"/>
                    <a:gd name="T22" fmla="*/ 43 w 297"/>
                    <a:gd name="T23" fmla="*/ 260 h 292"/>
                    <a:gd name="T24" fmla="*/ 54 w 297"/>
                    <a:gd name="T25" fmla="*/ 261 h 292"/>
                    <a:gd name="T26" fmla="*/ 60 w 297"/>
                    <a:gd name="T27" fmla="*/ 261 h 292"/>
                    <a:gd name="T28" fmla="*/ 67 w 297"/>
                    <a:gd name="T29" fmla="*/ 264 h 292"/>
                    <a:gd name="T30" fmla="*/ 73 w 297"/>
                    <a:gd name="T31" fmla="*/ 271 h 292"/>
                    <a:gd name="T32" fmla="*/ 81 w 297"/>
                    <a:gd name="T33" fmla="*/ 274 h 292"/>
                    <a:gd name="T34" fmla="*/ 82 w 297"/>
                    <a:gd name="T35" fmla="*/ 271 h 292"/>
                    <a:gd name="T36" fmla="*/ 84 w 297"/>
                    <a:gd name="T37" fmla="*/ 270 h 292"/>
                    <a:gd name="T38" fmla="*/ 98 w 297"/>
                    <a:gd name="T39" fmla="*/ 271 h 292"/>
                    <a:gd name="T40" fmla="*/ 102 w 297"/>
                    <a:gd name="T41" fmla="*/ 274 h 292"/>
                    <a:gd name="T42" fmla="*/ 105 w 297"/>
                    <a:gd name="T43" fmla="*/ 277 h 292"/>
                    <a:gd name="T44" fmla="*/ 122 w 297"/>
                    <a:gd name="T45" fmla="*/ 268 h 292"/>
                    <a:gd name="T46" fmla="*/ 131 w 297"/>
                    <a:gd name="T47" fmla="*/ 264 h 292"/>
                    <a:gd name="T48" fmla="*/ 134 w 297"/>
                    <a:gd name="T49" fmla="*/ 265 h 292"/>
                    <a:gd name="T50" fmla="*/ 136 w 297"/>
                    <a:gd name="T51" fmla="*/ 275 h 292"/>
                    <a:gd name="T52" fmla="*/ 138 w 297"/>
                    <a:gd name="T53" fmla="*/ 279 h 292"/>
                    <a:gd name="T54" fmla="*/ 146 w 297"/>
                    <a:gd name="T55" fmla="*/ 281 h 292"/>
                    <a:gd name="T56" fmla="*/ 155 w 297"/>
                    <a:gd name="T57" fmla="*/ 292 h 292"/>
                    <a:gd name="T58" fmla="*/ 172 w 297"/>
                    <a:gd name="T59" fmla="*/ 289 h 292"/>
                    <a:gd name="T60" fmla="*/ 174 w 297"/>
                    <a:gd name="T61" fmla="*/ 285 h 292"/>
                    <a:gd name="T62" fmla="*/ 175 w 297"/>
                    <a:gd name="T63" fmla="*/ 278 h 292"/>
                    <a:gd name="T64" fmla="*/ 181 w 297"/>
                    <a:gd name="T65" fmla="*/ 277 h 292"/>
                    <a:gd name="T66" fmla="*/ 182 w 297"/>
                    <a:gd name="T67" fmla="*/ 267 h 292"/>
                    <a:gd name="T68" fmla="*/ 186 w 297"/>
                    <a:gd name="T69" fmla="*/ 249 h 292"/>
                    <a:gd name="T70" fmla="*/ 192 w 297"/>
                    <a:gd name="T71" fmla="*/ 242 h 292"/>
                    <a:gd name="T72" fmla="*/ 199 w 297"/>
                    <a:gd name="T73" fmla="*/ 244 h 292"/>
                    <a:gd name="T74" fmla="*/ 200 w 297"/>
                    <a:gd name="T75" fmla="*/ 249 h 292"/>
                    <a:gd name="T76" fmla="*/ 199 w 297"/>
                    <a:gd name="T77" fmla="*/ 251 h 292"/>
                    <a:gd name="T78" fmla="*/ 200 w 297"/>
                    <a:gd name="T79" fmla="*/ 253 h 292"/>
                    <a:gd name="T80" fmla="*/ 211 w 297"/>
                    <a:gd name="T81" fmla="*/ 229 h 292"/>
                    <a:gd name="T82" fmla="*/ 216 w 297"/>
                    <a:gd name="T83" fmla="*/ 221 h 292"/>
                    <a:gd name="T84" fmla="*/ 232 w 297"/>
                    <a:gd name="T85" fmla="*/ 209 h 292"/>
                    <a:gd name="T86" fmla="*/ 235 w 297"/>
                    <a:gd name="T87" fmla="*/ 212 h 292"/>
                    <a:gd name="T88" fmla="*/ 237 w 297"/>
                    <a:gd name="T89" fmla="*/ 213 h 292"/>
                    <a:gd name="T90" fmla="*/ 248 w 297"/>
                    <a:gd name="T91" fmla="*/ 211 h 292"/>
                    <a:gd name="T92" fmla="*/ 256 w 297"/>
                    <a:gd name="T93" fmla="*/ 202 h 292"/>
                    <a:gd name="T94" fmla="*/ 267 w 297"/>
                    <a:gd name="T95" fmla="*/ 194 h 292"/>
                    <a:gd name="T96" fmla="*/ 272 w 297"/>
                    <a:gd name="T97" fmla="*/ 191 h 292"/>
                    <a:gd name="T98" fmla="*/ 277 w 297"/>
                    <a:gd name="T99" fmla="*/ 171 h 292"/>
                    <a:gd name="T100" fmla="*/ 282 w 297"/>
                    <a:gd name="T101" fmla="*/ 156 h 292"/>
                    <a:gd name="T102" fmla="*/ 290 w 297"/>
                    <a:gd name="T103" fmla="*/ 136 h 292"/>
                    <a:gd name="T104" fmla="*/ 290 w 297"/>
                    <a:gd name="T105" fmla="*/ 120 h 292"/>
                    <a:gd name="T106" fmla="*/ 297 w 297"/>
                    <a:gd name="T107" fmla="*/ 107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97" h="292">
                      <a:moveTo>
                        <a:pt x="294" y="2"/>
                      </a:moveTo>
                      <a:lnTo>
                        <a:pt x="280" y="5"/>
                      </a:lnTo>
                      <a:lnTo>
                        <a:pt x="267" y="10"/>
                      </a:lnTo>
                      <a:lnTo>
                        <a:pt x="255" y="16"/>
                      </a:lnTo>
                      <a:lnTo>
                        <a:pt x="242" y="20"/>
                      </a:lnTo>
                      <a:lnTo>
                        <a:pt x="231" y="28"/>
                      </a:lnTo>
                      <a:lnTo>
                        <a:pt x="221" y="35"/>
                      </a:lnTo>
                      <a:lnTo>
                        <a:pt x="207" y="40"/>
                      </a:lnTo>
                      <a:lnTo>
                        <a:pt x="190" y="38"/>
                      </a:lnTo>
                      <a:lnTo>
                        <a:pt x="178" y="44"/>
                      </a:lnTo>
                      <a:lnTo>
                        <a:pt x="164" y="47"/>
                      </a:lnTo>
                      <a:lnTo>
                        <a:pt x="151" y="42"/>
                      </a:lnTo>
                      <a:lnTo>
                        <a:pt x="136" y="42"/>
                      </a:lnTo>
                      <a:lnTo>
                        <a:pt x="147" y="35"/>
                      </a:lnTo>
                      <a:lnTo>
                        <a:pt x="130" y="35"/>
                      </a:lnTo>
                      <a:lnTo>
                        <a:pt x="120" y="30"/>
                      </a:lnTo>
                      <a:lnTo>
                        <a:pt x="106" y="23"/>
                      </a:lnTo>
                      <a:lnTo>
                        <a:pt x="94" y="19"/>
                      </a:lnTo>
                      <a:lnTo>
                        <a:pt x="94" y="19"/>
                      </a:lnTo>
                      <a:lnTo>
                        <a:pt x="88" y="17"/>
                      </a:lnTo>
                      <a:lnTo>
                        <a:pt x="68" y="19"/>
                      </a:lnTo>
                      <a:lnTo>
                        <a:pt x="42" y="19"/>
                      </a:lnTo>
                      <a:lnTo>
                        <a:pt x="29" y="20"/>
                      </a:lnTo>
                      <a:lnTo>
                        <a:pt x="24" y="20"/>
                      </a:lnTo>
                      <a:lnTo>
                        <a:pt x="1" y="20"/>
                      </a:lnTo>
                      <a:lnTo>
                        <a:pt x="1" y="20"/>
                      </a:lnTo>
                      <a:lnTo>
                        <a:pt x="1" y="20"/>
                      </a:lnTo>
                      <a:lnTo>
                        <a:pt x="1" y="21"/>
                      </a:lnTo>
                      <a:lnTo>
                        <a:pt x="1" y="44"/>
                      </a:lnTo>
                      <a:lnTo>
                        <a:pt x="1" y="58"/>
                      </a:lnTo>
                      <a:lnTo>
                        <a:pt x="1" y="62"/>
                      </a:lnTo>
                      <a:lnTo>
                        <a:pt x="1" y="77"/>
                      </a:lnTo>
                      <a:lnTo>
                        <a:pt x="1" y="83"/>
                      </a:lnTo>
                      <a:lnTo>
                        <a:pt x="0" y="190"/>
                      </a:lnTo>
                      <a:lnTo>
                        <a:pt x="0" y="226"/>
                      </a:lnTo>
                      <a:lnTo>
                        <a:pt x="0" y="235"/>
                      </a:lnTo>
                      <a:lnTo>
                        <a:pt x="2" y="235"/>
                      </a:lnTo>
                      <a:lnTo>
                        <a:pt x="8" y="233"/>
                      </a:lnTo>
                      <a:lnTo>
                        <a:pt x="9" y="235"/>
                      </a:lnTo>
                      <a:lnTo>
                        <a:pt x="9" y="235"/>
                      </a:lnTo>
                      <a:lnTo>
                        <a:pt x="12" y="237"/>
                      </a:lnTo>
                      <a:lnTo>
                        <a:pt x="14" y="237"/>
                      </a:lnTo>
                      <a:lnTo>
                        <a:pt x="15" y="237"/>
                      </a:lnTo>
                      <a:lnTo>
                        <a:pt x="15" y="237"/>
                      </a:lnTo>
                      <a:lnTo>
                        <a:pt x="19" y="236"/>
                      </a:lnTo>
                      <a:lnTo>
                        <a:pt x="26" y="236"/>
                      </a:lnTo>
                      <a:lnTo>
                        <a:pt x="33" y="240"/>
                      </a:lnTo>
                      <a:lnTo>
                        <a:pt x="35" y="242"/>
                      </a:lnTo>
                      <a:lnTo>
                        <a:pt x="36" y="243"/>
                      </a:lnTo>
                      <a:lnTo>
                        <a:pt x="36" y="243"/>
                      </a:lnTo>
                      <a:lnTo>
                        <a:pt x="40" y="251"/>
                      </a:lnTo>
                      <a:lnTo>
                        <a:pt x="40" y="253"/>
                      </a:lnTo>
                      <a:lnTo>
                        <a:pt x="40" y="254"/>
                      </a:lnTo>
                      <a:lnTo>
                        <a:pt x="40" y="254"/>
                      </a:lnTo>
                      <a:lnTo>
                        <a:pt x="40" y="256"/>
                      </a:lnTo>
                      <a:lnTo>
                        <a:pt x="40" y="257"/>
                      </a:lnTo>
                      <a:lnTo>
                        <a:pt x="42" y="257"/>
                      </a:lnTo>
                      <a:lnTo>
                        <a:pt x="42" y="258"/>
                      </a:lnTo>
                      <a:lnTo>
                        <a:pt x="42" y="258"/>
                      </a:lnTo>
                      <a:lnTo>
                        <a:pt x="43" y="260"/>
                      </a:lnTo>
                      <a:lnTo>
                        <a:pt x="45" y="260"/>
                      </a:lnTo>
                      <a:lnTo>
                        <a:pt x="47" y="261"/>
                      </a:lnTo>
                      <a:lnTo>
                        <a:pt x="50" y="261"/>
                      </a:lnTo>
                      <a:lnTo>
                        <a:pt x="52" y="261"/>
                      </a:lnTo>
                      <a:lnTo>
                        <a:pt x="54" y="261"/>
                      </a:lnTo>
                      <a:lnTo>
                        <a:pt x="57" y="261"/>
                      </a:lnTo>
                      <a:lnTo>
                        <a:pt x="57" y="261"/>
                      </a:lnTo>
                      <a:lnTo>
                        <a:pt x="59" y="261"/>
                      </a:lnTo>
                      <a:lnTo>
                        <a:pt x="60" y="260"/>
                      </a:lnTo>
                      <a:lnTo>
                        <a:pt x="60" y="261"/>
                      </a:lnTo>
                      <a:lnTo>
                        <a:pt x="66" y="263"/>
                      </a:lnTo>
                      <a:lnTo>
                        <a:pt x="66" y="263"/>
                      </a:lnTo>
                      <a:lnTo>
                        <a:pt x="66" y="263"/>
                      </a:lnTo>
                      <a:lnTo>
                        <a:pt x="66" y="263"/>
                      </a:lnTo>
                      <a:lnTo>
                        <a:pt x="67" y="264"/>
                      </a:lnTo>
                      <a:lnTo>
                        <a:pt x="67" y="267"/>
                      </a:lnTo>
                      <a:lnTo>
                        <a:pt x="68" y="267"/>
                      </a:lnTo>
                      <a:lnTo>
                        <a:pt x="73" y="271"/>
                      </a:lnTo>
                      <a:lnTo>
                        <a:pt x="73" y="271"/>
                      </a:lnTo>
                      <a:lnTo>
                        <a:pt x="73" y="271"/>
                      </a:lnTo>
                      <a:lnTo>
                        <a:pt x="74" y="272"/>
                      </a:lnTo>
                      <a:lnTo>
                        <a:pt x="77" y="272"/>
                      </a:lnTo>
                      <a:lnTo>
                        <a:pt x="80" y="274"/>
                      </a:lnTo>
                      <a:lnTo>
                        <a:pt x="80" y="274"/>
                      </a:lnTo>
                      <a:lnTo>
                        <a:pt x="81" y="274"/>
                      </a:lnTo>
                      <a:lnTo>
                        <a:pt x="81" y="274"/>
                      </a:lnTo>
                      <a:lnTo>
                        <a:pt x="81" y="274"/>
                      </a:lnTo>
                      <a:lnTo>
                        <a:pt x="81" y="272"/>
                      </a:lnTo>
                      <a:lnTo>
                        <a:pt x="81" y="272"/>
                      </a:lnTo>
                      <a:lnTo>
                        <a:pt x="82" y="271"/>
                      </a:lnTo>
                      <a:lnTo>
                        <a:pt x="82" y="271"/>
                      </a:lnTo>
                      <a:lnTo>
                        <a:pt x="82" y="270"/>
                      </a:lnTo>
                      <a:lnTo>
                        <a:pt x="82" y="270"/>
                      </a:lnTo>
                      <a:lnTo>
                        <a:pt x="82" y="270"/>
                      </a:lnTo>
                      <a:lnTo>
                        <a:pt x="84" y="270"/>
                      </a:lnTo>
                      <a:lnTo>
                        <a:pt x="84" y="268"/>
                      </a:lnTo>
                      <a:lnTo>
                        <a:pt x="85" y="268"/>
                      </a:lnTo>
                      <a:lnTo>
                        <a:pt x="89" y="267"/>
                      </a:lnTo>
                      <a:lnTo>
                        <a:pt x="89" y="267"/>
                      </a:lnTo>
                      <a:lnTo>
                        <a:pt x="98" y="271"/>
                      </a:lnTo>
                      <a:lnTo>
                        <a:pt x="99" y="271"/>
                      </a:lnTo>
                      <a:lnTo>
                        <a:pt x="99" y="271"/>
                      </a:lnTo>
                      <a:lnTo>
                        <a:pt x="101" y="272"/>
                      </a:lnTo>
                      <a:lnTo>
                        <a:pt x="102" y="272"/>
                      </a:lnTo>
                      <a:lnTo>
                        <a:pt x="102" y="274"/>
                      </a:lnTo>
                      <a:lnTo>
                        <a:pt x="103" y="275"/>
                      </a:lnTo>
                      <a:lnTo>
                        <a:pt x="103" y="275"/>
                      </a:lnTo>
                      <a:lnTo>
                        <a:pt x="103" y="277"/>
                      </a:lnTo>
                      <a:lnTo>
                        <a:pt x="105" y="277"/>
                      </a:lnTo>
                      <a:lnTo>
                        <a:pt x="105" y="277"/>
                      </a:lnTo>
                      <a:lnTo>
                        <a:pt x="115" y="275"/>
                      </a:lnTo>
                      <a:lnTo>
                        <a:pt x="116" y="274"/>
                      </a:lnTo>
                      <a:lnTo>
                        <a:pt x="116" y="274"/>
                      </a:lnTo>
                      <a:lnTo>
                        <a:pt x="122" y="270"/>
                      </a:lnTo>
                      <a:lnTo>
                        <a:pt x="122" y="268"/>
                      </a:lnTo>
                      <a:lnTo>
                        <a:pt x="122" y="268"/>
                      </a:lnTo>
                      <a:lnTo>
                        <a:pt x="123" y="267"/>
                      </a:lnTo>
                      <a:lnTo>
                        <a:pt x="123" y="267"/>
                      </a:lnTo>
                      <a:lnTo>
                        <a:pt x="124" y="267"/>
                      </a:lnTo>
                      <a:lnTo>
                        <a:pt x="131" y="264"/>
                      </a:lnTo>
                      <a:lnTo>
                        <a:pt x="131" y="264"/>
                      </a:lnTo>
                      <a:lnTo>
                        <a:pt x="133" y="264"/>
                      </a:lnTo>
                      <a:lnTo>
                        <a:pt x="133" y="264"/>
                      </a:lnTo>
                      <a:lnTo>
                        <a:pt x="133" y="264"/>
                      </a:lnTo>
                      <a:lnTo>
                        <a:pt x="134" y="265"/>
                      </a:lnTo>
                      <a:lnTo>
                        <a:pt x="134" y="265"/>
                      </a:lnTo>
                      <a:lnTo>
                        <a:pt x="133" y="267"/>
                      </a:lnTo>
                      <a:lnTo>
                        <a:pt x="133" y="268"/>
                      </a:lnTo>
                      <a:lnTo>
                        <a:pt x="133" y="268"/>
                      </a:lnTo>
                      <a:lnTo>
                        <a:pt x="136" y="275"/>
                      </a:lnTo>
                      <a:lnTo>
                        <a:pt x="136" y="275"/>
                      </a:lnTo>
                      <a:lnTo>
                        <a:pt x="136" y="277"/>
                      </a:lnTo>
                      <a:lnTo>
                        <a:pt x="137" y="278"/>
                      </a:lnTo>
                      <a:lnTo>
                        <a:pt x="137" y="278"/>
                      </a:lnTo>
                      <a:lnTo>
                        <a:pt x="138" y="279"/>
                      </a:lnTo>
                      <a:lnTo>
                        <a:pt x="141" y="279"/>
                      </a:lnTo>
                      <a:lnTo>
                        <a:pt x="143" y="279"/>
                      </a:lnTo>
                      <a:lnTo>
                        <a:pt x="143" y="279"/>
                      </a:lnTo>
                      <a:lnTo>
                        <a:pt x="144" y="279"/>
                      </a:lnTo>
                      <a:lnTo>
                        <a:pt x="146" y="281"/>
                      </a:lnTo>
                      <a:lnTo>
                        <a:pt x="146" y="281"/>
                      </a:lnTo>
                      <a:lnTo>
                        <a:pt x="147" y="282"/>
                      </a:lnTo>
                      <a:lnTo>
                        <a:pt x="153" y="289"/>
                      </a:lnTo>
                      <a:lnTo>
                        <a:pt x="154" y="292"/>
                      </a:lnTo>
                      <a:lnTo>
                        <a:pt x="155" y="292"/>
                      </a:lnTo>
                      <a:lnTo>
                        <a:pt x="155" y="292"/>
                      </a:lnTo>
                      <a:lnTo>
                        <a:pt x="157" y="292"/>
                      </a:lnTo>
                      <a:lnTo>
                        <a:pt x="158" y="292"/>
                      </a:lnTo>
                      <a:lnTo>
                        <a:pt x="171" y="289"/>
                      </a:lnTo>
                      <a:lnTo>
                        <a:pt x="172" y="289"/>
                      </a:lnTo>
                      <a:lnTo>
                        <a:pt x="172" y="289"/>
                      </a:lnTo>
                      <a:lnTo>
                        <a:pt x="172" y="288"/>
                      </a:lnTo>
                      <a:lnTo>
                        <a:pt x="174" y="288"/>
                      </a:lnTo>
                      <a:lnTo>
                        <a:pt x="174" y="286"/>
                      </a:lnTo>
                      <a:lnTo>
                        <a:pt x="174" y="285"/>
                      </a:lnTo>
                      <a:lnTo>
                        <a:pt x="174" y="284"/>
                      </a:lnTo>
                      <a:lnTo>
                        <a:pt x="174" y="282"/>
                      </a:lnTo>
                      <a:lnTo>
                        <a:pt x="174" y="281"/>
                      </a:lnTo>
                      <a:lnTo>
                        <a:pt x="175" y="278"/>
                      </a:lnTo>
                      <a:lnTo>
                        <a:pt x="175" y="278"/>
                      </a:lnTo>
                      <a:lnTo>
                        <a:pt x="176" y="277"/>
                      </a:lnTo>
                      <a:lnTo>
                        <a:pt x="176" y="277"/>
                      </a:lnTo>
                      <a:lnTo>
                        <a:pt x="178" y="277"/>
                      </a:lnTo>
                      <a:lnTo>
                        <a:pt x="179" y="277"/>
                      </a:lnTo>
                      <a:lnTo>
                        <a:pt x="181" y="277"/>
                      </a:lnTo>
                      <a:lnTo>
                        <a:pt x="181" y="277"/>
                      </a:lnTo>
                      <a:lnTo>
                        <a:pt x="182" y="275"/>
                      </a:lnTo>
                      <a:lnTo>
                        <a:pt x="182" y="275"/>
                      </a:lnTo>
                      <a:lnTo>
                        <a:pt x="182" y="274"/>
                      </a:lnTo>
                      <a:lnTo>
                        <a:pt x="182" y="267"/>
                      </a:lnTo>
                      <a:lnTo>
                        <a:pt x="182" y="265"/>
                      </a:lnTo>
                      <a:lnTo>
                        <a:pt x="182" y="265"/>
                      </a:lnTo>
                      <a:lnTo>
                        <a:pt x="182" y="258"/>
                      </a:lnTo>
                      <a:lnTo>
                        <a:pt x="186" y="250"/>
                      </a:lnTo>
                      <a:lnTo>
                        <a:pt x="186" y="249"/>
                      </a:lnTo>
                      <a:lnTo>
                        <a:pt x="186" y="249"/>
                      </a:lnTo>
                      <a:lnTo>
                        <a:pt x="188" y="247"/>
                      </a:lnTo>
                      <a:lnTo>
                        <a:pt x="192" y="243"/>
                      </a:lnTo>
                      <a:lnTo>
                        <a:pt x="192" y="242"/>
                      </a:lnTo>
                      <a:lnTo>
                        <a:pt x="192" y="242"/>
                      </a:lnTo>
                      <a:lnTo>
                        <a:pt x="193" y="242"/>
                      </a:lnTo>
                      <a:lnTo>
                        <a:pt x="193" y="242"/>
                      </a:lnTo>
                      <a:lnTo>
                        <a:pt x="195" y="242"/>
                      </a:lnTo>
                      <a:lnTo>
                        <a:pt x="199" y="244"/>
                      </a:lnTo>
                      <a:lnTo>
                        <a:pt x="199" y="244"/>
                      </a:lnTo>
                      <a:lnTo>
                        <a:pt x="199" y="244"/>
                      </a:lnTo>
                      <a:lnTo>
                        <a:pt x="199" y="244"/>
                      </a:lnTo>
                      <a:lnTo>
                        <a:pt x="200" y="247"/>
                      </a:lnTo>
                      <a:lnTo>
                        <a:pt x="200" y="249"/>
                      </a:lnTo>
                      <a:lnTo>
                        <a:pt x="200" y="249"/>
                      </a:lnTo>
                      <a:lnTo>
                        <a:pt x="200" y="250"/>
                      </a:lnTo>
                      <a:lnTo>
                        <a:pt x="200" y="251"/>
                      </a:lnTo>
                      <a:lnTo>
                        <a:pt x="199" y="251"/>
                      </a:lnTo>
                      <a:lnTo>
                        <a:pt x="199" y="251"/>
                      </a:lnTo>
                      <a:lnTo>
                        <a:pt x="199" y="251"/>
                      </a:lnTo>
                      <a:lnTo>
                        <a:pt x="199" y="253"/>
                      </a:lnTo>
                      <a:lnTo>
                        <a:pt x="199" y="253"/>
                      </a:lnTo>
                      <a:lnTo>
                        <a:pt x="199" y="253"/>
                      </a:lnTo>
                      <a:lnTo>
                        <a:pt x="200" y="253"/>
                      </a:lnTo>
                      <a:lnTo>
                        <a:pt x="200" y="253"/>
                      </a:lnTo>
                      <a:lnTo>
                        <a:pt x="202" y="253"/>
                      </a:lnTo>
                      <a:lnTo>
                        <a:pt x="202" y="253"/>
                      </a:lnTo>
                      <a:lnTo>
                        <a:pt x="210" y="249"/>
                      </a:lnTo>
                      <a:lnTo>
                        <a:pt x="210" y="242"/>
                      </a:lnTo>
                      <a:lnTo>
                        <a:pt x="211" y="229"/>
                      </a:lnTo>
                      <a:lnTo>
                        <a:pt x="211" y="229"/>
                      </a:lnTo>
                      <a:lnTo>
                        <a:pt x="211" y="229"/>
                      </a:lnTo>
                      <a:lnTo>
                        <a:pt x="213" y="226"/>
                      </a:lnTo>
                      <a:lnTo>
                        <a:pt x="216" y="222"/>
                      </a:lnTo>
                      <a:lnTo>
                        <a:pt x="216" y="221"/>
                      </a:lnTo>
                      <a:lnTo>
                        <a:pt x="225" y="215"/>
                      </a:lnTo>
                      <a:lnTo>
                        <a:pt x="231" y="209"/>
                      </a:lnTo>
                      <a:lnTo>
                        <a:pt x="231" y="209"/>
                      </a:lnTo>
                      <a:lnTo>
                        <a:pt x="232" y="209"/>
                      </a:lnTo>
                      <a:lnTo>
                        <a:pt x="232" y="209"/>
                      </a:lnTo>
                      <a:lnTo>
                        <a:pt x="234" y="209"/>
                      </a:lnTo>
                      <a:lnTo>
                        <a:pt x="234" y="209"/>
                      </a:lnTo>
                      <a:lnTo>
                        <a:pt x="234" y="209"/>
                      </a:lnTo>
                      <a:lnTo>
                        <a:pt x="235" y="211"/>
                      </a:lnTo>
                      <a:lnTo>
                        <a:pt x="235" y="212"/>
                      </a:lnTo>
                      <a:lnTo>
                        <a:pt x="235" y="212"/>
                      </a:lnTo>
                      <a:lnTo>
                        <a:pt x="235" y="212"/>
                      </a:lnTo>
                      <a:lnTo>
                        <a:pt x="235" y="213"/>
                      </a:lnTo>
                      <a:lnTo>
                        <a:pt x="237" y="213"/>
                      </a:lnTo>
                      <a:lnTo>
                        <a:pt x="237" y="213"/>
                      </a:lnTo>
                      <a:lnTo>
                        <a:pt x="238" y="215"/>
                      </a:lnTo>
                      <a:lnTo>
                        <a:pt x="238" y="215"/>
                      </a:lnTo>
                      <a:lnTo>
                        <a:pt x="238" y="215"/>
                      </a:lnTo>
                      <a:lnTo>
                        <a:pt x="241" y="213"/>
                      </a:lnTo>
                      <a:lnTo>
                        <a:pt x="248" y="211"/>
                      </a:lnTo>
                      <a:lnTo>
                        <a:pt x="255" y="205"/>
                      </a:lnTo>
                      <a:lnTo>
                        <a:pt x="256" y="204"/>
                      </a:lnTo>
                      <a:lnTo>
                        <a:pt x="256" y="204"/>
                      </a:lnTo>
                      <a:lnTo>
                        <a:pt x="256" y="204"/>
                      </a:lnTo>
                      <a:lnTo>
                        <a:pt x="256" y="202"/>
                      </a:lnTo>
                      <a:lnTo>
                        <a:pt x="258" y="202"/>
                      </a:lnTo>
                      <a:lnTo>
                        <a:pt x="260" y="198"/>
                      </a:lnTo>
                      <a:lnTo>
                        <a:pt x="262" y="197"/>
                      </a:lnTo>
                      <a:lnTo>
                        <a:pt x="265" y="195"/>
                      </a:lnTo>
                      <a:lnTo>
                        <a:pt x="267" y="194"/>
                      </a:lnTo>
                      <a:lnTo>
                        <a:pt x="269" y="192"/>
                      </a:lnTo>
                      <a:lnTo>
                        <a:pt x="270" y="192"/>
                      </a:lnTo>
                      <a:lnTo>
                        <a:pt x="272" y="192"/>
                      </a:lnTo>
                      <a:lnTo>
                        <a:pt x="272" y="192"/>
                      </a:lnTo>
                      <a:lnTo>
                        <a:pt x="272" y="191"/>
                      </a:lnTo>
                      <a:lnTo>
                        <a:pt x="272" y="191"/>
                      </a:lnTo>
                      <a:lnTo>
                        <a:pt x="275" y="185"/>
                      </a:lnTo>
                      <a:lnTo>
                        <a:pt x="275" y="181"/>
                      </a:lnTo>
                      <a:lnTo>
                        <a:pt x="275" y="177"/>
                      </a:lnTo>
                      <a:lnTo>
                        <a:pt x="277" y="171"/>
                      </a:lnTo>
                      <a:lnTo>
                        <a:pt x="280" y="167"/>
                      </a:lnTo>
                      <a:lnTo>
                        <a:pt x="282" y="162"/>
                      </a:lnTo>
                      <a:lnTo>
                        <a:pt x="282" y="160"/>
                      </a:lnTo>
                      <a:lnTo>
                        <a:pt x="282" y="159"/>
                      </a:lnTo>
                      <a:lnTo>
                        <a:pt x="282" y="156"/>
                      </a:lnTo>
                      <a:lnTo>
                        <a:pt x="282" y="155"/>
                      </a:lnTo>
                      <a:lnTo>
                        <a:pt x="282" y="153"/>
                      </a:lnTo>
                      <a:lnTo>
                        <a:pt x="284" y="145"/>
                      </a:lnTo>
                      <a:lnTo>
                        <a:pt x="290" y="138"/>
                      </a:lnTo>
                      <a:lnTo>
                        <a:pt x="290" y="136"/>
                      </a:lnTo>
                      <a:lnTo>
                        <a:pt x="290" y="135"/>
                      </a:lnTo>
                      <a:lnTo>
                        <a:pt x="291" y="134"/>
                      </a:lnTo>
                      <a:lnTo>
                        <a:pt x="291" y="122"/>
                      </a:lnTo>
                      <a:lnTo>
                        <a:pt x="290" y="121"/>
                      </a:lnTo>
                      <a:lnTo>
                        <a:pt x="290" y="120"/>
                      </a:lnTo>
                      <a:lnTo>
                        <a:pt x="289" y="117"/>
                      </a:lnTo>
                      <a:lnTo>
                        <a:pt x="289" y="117"/>
                      </a:lnTo>
                      <a:lnTo>
                        <a:pt x="287" y="115"/>
                      </a:lnTo>
                      <a:lnTo>
                        <a:pt x="291" y="110"/>
                      </a:lnTo>
                      <a:lnTo>
                        <a:pt x="297" y="107"/>
                      </a:lnTo>
                      <a:lnTo>
                        <a:pt x="297" y="82"/>
                      </a:lnTo>
                      <a:lnTo>
                        <a:pt x="297" y="80"/>
                      </a:lnTo>
                      <a:lnTo>
                        <a:pt x="297" y="0"/>
                      </a:lnTo>
                      <a:lnTo>
                        <a:pt x="294" y="2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  <p:sp>
              <p:nvSpPr>
                <p:cNvPr id="109" name="Freeform 155"/>
                <p:cNvSpPr>
                  <a:spLocks/>
                </p:cNvSpPr>
                <p:nvPr/>
              </p:nvSpPr>
              <p:spPr bwMode="auto">
                <a:xfrm>
                  <a:off x="5389562" y="2045495"/>
                  <a:ext cx="438150" cy="725488"/>
                </a:xfrm>
                <a:custGeom>
                  <a:avLst/>
                  <a:gdLst>
                    <a:gd name="T0" fmla="*/ 266 w 276"/>
                    <a:gd name="T1" fmla="*/ 282 h 457"/>
                    <a:gd name="T2" fmla="*/ 272 w 276"/>
                    <a:gd name="T3" fmla="*/ 262 h 457"/>
                    <a:gd name="T4" fmla="*/ 276 w 276"/>
                    <a:gd name="T5" fmla="*/ 110 h 457"/>
                    <a:gd name="T6" fmla="*/ 251 w 276"/>
                    <a:gd name="T7" fmla="*/ 4 h 457"/>
                    <a:gd name="T8" fmla="*/ 140 w 276"/>
                    <a:gd name="T9" fmla="*/ 1 h 457"/>
                    <a:gd name="T10" fmla="*/ 60 w 276"/>
                    <a:gd name="T11" fmla="*/ 2 h 457"/>
                    <a:gd name="T12" fmla="*/ 73 w 276"/>
                    <a:gd name="T13" fmla="*/ 12 h 457"/>
                    <a:gd name="T14" fmla="*/ 77 w 276"/>
                    <a:gd name="T15" fmla="*/ 22 h 457"/>
                    <a:gd name="T16" fmla="*/ 94 w 276"/>
                    <a:gd name="T17" fmla="*/ 33 h 457"/>
                    <a:gd name="T18" fmla="*/ 91 w 276"/>
                    <a:gd name="T19" fmla="*/ 57 h 457"/>
                    <a:gd name="T20" fmla="*/ 83 w 276"/>
                    <a:gd name="T21" fmla="*/ 64 h 457"/>
                    <a:gd name="T22" fmla="*/ 74 w 276"/>
                    <a:gd name="T23" fmla="*/ 81 h 457"/>
                    <a:gd name="T24" fmla="*/ 38 w 276"/>
                    <a:gd name="T25" fmla="*/ 89 h 457"/>
                    <a:gd name="T26" fmla="*/ 29 w 276"/>
                    <a:gd name="T27" fmla="*/ 101 h 457"/>
                    <a:gd name="T28" fmla="*/ 32 w 276"/>
                    <a:gd name="T29" fmla="*/ 110 h 457"/>
                    <a:gd name="T30" fmla="*/ 39 w 276"/>
                    <a:gd name="T31" fmla="*/ 120 h 457"/>
                    <a:gd name="T32" fmla="*/ 35 w 276"/>
                    <a:gd name="T33" fmla="*/ 133 h 457"/>
                    <a:gd name="T34" fmla="*/ 29 w 276"/>
                    <a:gd name="T35" fmla="*/ 143 h 457"/>
                    <a:gd name="T36" fmla="*/ 25 w 276"/>
                    <a:gd name="T37" fmla="*/ 153 h 457"/>
                    <a:gd name="T38" fmla="*/ 11 w 276"/>
                    <a:gd name="T39" fmla="*/ 158 h 457"/>
                    <a:gd name="T40" fmla="*/ 10 w 276"/>
                    <a:gd name="T41" fmla="*/ 164 h 457"/>
                    <a:gd name="T42" fmla="*/ 10 w 276"/>
                    <a:gd name="T43" fmla="*/ 175 h 457"/>
                    <a:gd name="T44" fmla="*/ 3 w 276"/>
                    <a:gd name="T45" fmla="*/ 182 h 457"/>
                    <a:gd name="T46" fmla="*/ 0 w 276"/>
                    <a:gd name="T47" fmla="*/ 197 h 457"/>
                    <a:gd name="T48" fmla="*/ 11 w 276"/>
                    <a:gd name="T49" fmla="*/ 231 h 457"/>
                    <a:gd name="T50" fmla="*/ 27 w 276"/>
                    <a:gd name="T51" fmla="*/ 245 h 457"/>
                    <a:gd name="T52" fmla="*/ 41 w 276"/>
                    <a:gd name="T53" fmla="*/ 258 h 457"/>
                    <a:gd name="T54" fmla="*/ 53 w 276"/>
                    <a:gd name="T55" fmla="*/ 270 h 457"/>
                    <a:gd name="T56" fmla="*/ 57 w 276"/>
                    <a:gd name="T57" fmla="*/ 293 h 457"/>
                    <a:gd name="T58" fmla="*/ 64 w 276"/>
                    <a:gd name="T59" fmla="*/ 300 h 457"/>
                    <a:gd name="T60" fmla="*/ 71 w 276"/>
                    <a:gd name="T61" fmla="*/ 294 h 457"/>
                    <a:gd name="T62" fmla="*/ 95 w 276"/>
                    <a:gd name="T63" fmla="*/ 303 h 457"/>
                    <a:gd name="T64" fmla="*/ 93 w 276"/>
                    <a:gd name="T65" fmla="*/ 311 h 457"/>
                    <a:gd name="T66" fmla="*/ 93 w 276"/>
                    <a:gd name="T67" fmla="*/ 319 h 457"/>
                    <a:gd name="T68" fmla="*/ 78 w 276"/>
                    <a:gd name="T69" fmla="*/ 346 h 457"/>
                    <a:gd name="T70" fmla="*/ 88 w 276"/>
                    <a:gd name="T71" fmla="*/ 361 h 457"/>
                    <a:gd name="T72" fmla="*/ 125 w 276"/>
                    <a:gd name="T73" fmla="*/ 387 h 457"/>
                    <a:gd name="T74" fmla="*/ 129 w 276"/>
                    <a:gd name="T75" fmla="*/ 394 h 457"/>
                    <a:gd name="T76" fmla="*/ 139 w 276"/>
                    <a:gd name="T77" fmla="*/ 404 h 457"/>
                    <a:gd name="T78" fmla="*/ 140 w 276"/>
                    <a:gd name="T79" fmla="*/ 415 h 457"/>
                    <a:gd name="T80" fmla="*/ 143 w 276"/>
                    <a:gd name="T81" fmla="*/ 425 h 457"/>
                    <a:gd name="T82" fmla="*/ 139 w 276"/>
                    <a:gd name="T83" fmla="*/ 429 h 457"/>
                    <a:gd name="T84" fmla="*/ 147 w 276"/>
                    <a:gd name="T85" fmla="*/ 451 h 457"/>
                    <a:gd name="T86" fmla="*/ 165 w 276"/>
                    <a:gd name="T87" fmla="*/ 457 h 457"/>
                    <a:gd name="T88" fmla="*/ 163 w 276"/>
                    <a:gd name="T89" fmla="*/ 448 h 457"/>
                    <a:gd name="T90" fmla="*/ 181 w 276"/>
                    <a:gd name="T91" fmla="*/ 437 h 457"/>
                    <a:gd name="T92" fmla="*/ 209 w 276"/>
                    <a:gd name="T93" fmla="*/ 450 h 457"/>
                    <a:gd name="T94" fmla="*/ 213 w 276"/>
                    <a:gd name="T95" fmla="*/ 443 h 457"/>
                    <a:gd name="T96" fmla="*/ 207 w 276"/>
                    <a:gd name="T97" fmla="*/ 433 h 457"/>
                    <a:gd name="T98" fmla="*/ 210 w 276"/>
                    <a:gd name="T99" fmla="*/ 422 h 457"/>
                    <a:gd name="T100" fmla="*/ 236 w 276"/>
                    <a:gd name="T101" fmla="*/ 416 h 457"/>
                    <a:gd name="T102" fmla="*/ 238 w 276"/>
                    <a:gd name="T103" fmla="*/ 413 h 457"/>
                    <a:gd name="T104" fmla="*/ 233 w 276"/>
                    <a:gd name="T105" fmla="*/ 405 h 457"/>
                    <a:gd name="T106" fmla="*/ 236 w 276"/>
                    <a:gd name="T107" fmla="*/ 397 h 457"/>
                    <a:gd name="T108" fmla="*/ 240 w 276"/>
                    <a:gd name="T109" fmla="*/ 389 h 457"/>
                    <a:gd name="T110" fmla="*/ 237 w 276"/>
                    <a:gd name="T111" fmla="*/ 381 h 457"/>
                    <a:gd name="T112" fmla="*/ 240 w 276"/>
                    <a:gd name="T113" fmla="*/ 370 h 457"/>
                    <a:gd name="T114" fmla="*/ 241 w 276"/>
                    <a:gd name="T115" fmla="*/ 366 h 457"/>
                    <a:gd name="T116" fmla="*/ 244 w 276"/>
                    <a:gd name="T117" fmla="*/ 354 h 457"/>
                    <a:gd name="T118" fmla="*/ 250 w 276"/>
                    <a:gd name="T119" fmla="*/ 349 h 457"/>
                    <a:gd name="T120" fmla="*/ 269 w 276"/>
                    <a:gd name="T121" fmla="*/ 318 h 457"/>
                    <a:gd name="T122" fmla="*/ 275 w 276"/>
                    <a:gd name="T123" fmla="*/ 315 h 4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76" h="457">
                      <a:moveTo>
                        <a:pt x="275" y="294"/>
                      </a:moveTo>
                      <a:lnTo>
                        <a:pt x="275" y="293"/>
                      </a:lnTo>
                      <a:lnTo>
                        <a:pt x="272" y="286"/>
                      </a:lnTo>
                      <a:lnTo>
                        <a:pt x="271" y="286"/>
                      </a:lnTo>
                      <a:lnTo>
                        <a:pt x="271" y="284"/>
                      </a:lnTo>
                      <a:lnTo>
                        <a:pt x="268" y="283"/>
                      </a:lnTo>
                      <a:lnTo>
                        <a:pt x="266" y="282"/>
                      </a:lnTo>
                      <a:lnTo>
                        <a:pt x="266" y="282"/>
                      </a:lnTo>
                      <a:lnTo>
                        <a:pt x="266" y="282"/>
                      </a:lnTo>
                      <a:lnTo>
                        <a:pt x="266" y="279"/>
                      </a:lnTo>
                      <a:lnTo>
                        <a:pt x="269" y="265"/>
                      </a:lnTo>
                      <a:lnTo>
                        <a:pt x="269" y="265"/>
                      </a:lnTo>
                      <a:lnTo>
                        <a:pt x="271" y="263"/>
                      </a:lnTo>
                      <a:lnTo>
                        <a:pt x="272" y="262"/>
                      </a:lnTo>
                      <a:lnTo>
                        <a:pt x="272" y="262"/>
                      </a:lnTo>
                      <a:lnTo>
                        <a:pt x="272" y="262"/>
                      </a:lnTo>
                      <a:lnTo>
                        <a:pt x="275" y="260"/>
                      </a:lnTo>
                      <a:lnTo>
                        <a:pt x="275" y="260"/>
                      </a:lnTo>
                      <a:lnTo>
                        <a:pt x="275" y="259"/>
                      </a:lnTo>
                      <a:lnTo>
                        <a:pt x="275" y="231"/>
                      </a:lnTo>
                      <a:lnTo>
                        <a:pt x="276" y="209"/>
                      </a:lnTo>
                      <a:lnTo>
                        <a:pt x="276" y="185"/>
                      </a:lnTo>
                      <a:lnTo>
                        <a:pt x="276" y="113"/>
                      </a:lnTo>
                      <a:lnTo>
                        <a:pt x="276" y="110"/>
                      </a:lnTo>
                      <a:lnTo>
                        <a:pt x="276" y="96"/>
                      </a:lnTo>
                      <a:lnTo>
                        <a:pt x="276" y="71"/>
                      </a:lnTo>
                      <a:lnTo>
                        <a:pt x="275" y="71"/>
                      </a:lnTo>
                      <a:lnTo>
                        <a:pt x="266" y="61"/>
                      </a:lnTo>
                      <a:lnTo>
                        <a:pt x="261" y="47"/>
                      </a:lnTo>
                      <a:lnTo>
                        <a:pt x="254" y="35"/>
                      </a:lnTo>
                      <a:lnTo>
                        <a:pt x="248" y="21"/>
                      </a:lnTo>
                      <a:lnTo>
                        <a:pt x="251" y="4"/>
                      </a:lnTo>
                      <a:lnTo>
                        <a:pt x="251" y="2"/>
                      </a:lnTo>
                      <a:lnTo>
                        <a:pt x="240" y="2"/>
                      </a:lnTo>
                      <a:lnTo>
                        <a:pt x="219" y="1"/>
                      </a:lnTo>
                      <a:lnTo>
                        <a:pt x="213" y="1"/>
                      </a:lnTo>
                      <a:lnTo>
                        <a:pt x="192" y="1"/>
                      </a:lnTo>
                      <a:lnTo>
                        <a:pt x="182" y="1"/>
                      </a:lnTo>
                      <a:lnTo>
                        <a:pt x="157" y="1"/>
                      </a:lnTo>
                      <a:lnTo>
                        <a:pt x="140" y="1"/>
                      </a:lnTo>
                      <a:lnTo>
                        <a:pt x="122" y="1"/>
                      </a:lnTo>
                      <a:lnTo>
                        <a:pt x="98" y="1"/>
                      </a:lnTo>
                      <a:lnTo>
                        <a:pt x="69" y="1"/>
                      </a:lnTo>
                      <a:lnTo>
                        <a:pt x="62" y="1"/>
                      </a:lnTo>
                      <a:lnTo>
                        <a:pt x="60" y="0"/>
                      </a:lnTo>
                      <a:lnTo>
                        <a:pt x="60" y="1"/>
                      </a:lnTo>
                      <a:lnTo>
                        <a:pt x="60" y="2"/>
                      </a:lnTo>
                      <a:lnTo>
                        <a:pt x="60" y="2"/>
                      </a:lnTo>
                      <a:lnTo>
                        <a:pt x="60" y="4"/>
                      </a:lnTo>
                      <a:lnTo>
                        <a:pt x="62" y="4"/>
                      </a:lnTo>
                      <a:lnTo>
                        <a:pt x="67" y="8"/>
                      </a:lnTo>
                      <a:lnTo>
                        <a:pt x="69" y="10"/>
                      </a:lnTo>
                      <a:lnTo>
                        <a:pt x="70" y="10"/>
                      </a:lnTo>
                      <a:lnTo>
                        <a:pt x="71" y="11"/>
                      </a:lnTo>
                      <a:lnTo>
                        <a:pt x="73" y="11"/>
                      </a:lnTo>
                      <a:lnTo>
                        <a:pt x="73" y="12"/>
                      </a:lnTo>
                      <a:lnTo>
                        <a:pt x="74" y="12"/>
                      </a:lnTo>
                      <a:lnTo>
                        <a:pt x="76" y="14"/>
                      </a:lnTo>
                      <a:lnTo>
                        <a:pt x="76" y="14"/>
                      </a:lnTo>
                      <a:lnTo>
                        <a:pt x="76" y="15"/>
                      </a:lnTo>
                      <a:lnTo>
                        <a:pt x="77" y="17"/>
                      </a:lnTo>
                      <a:lnTo>
                        <a:pt x="77" y="19"/>
                      </a:lnTo>
                      <a:lnTo>
                        <a:pt x="77" y="21"/>
                      </a:lnTo>
                      <a:lnTo>
                        <a:pt x="77" y="22"/>
                      </a:lnTo>
                      <a:lnTo>
                        <a:pt x="77" y="22"/>
                      </a:lnTo>
                      <a:lnTo>
                        <a:pt x="80" y="25"/>
                      </a:lnTo>
                      <a:lnTo>
                        <a:pt x="81" y="26"/>
                      </a:lnTo>
                      <a:lnTo>
                        <a:pt x="84" y="26"/>
                      </a:lnTo>
                      <a:lnTo>
                        <a:pt x="85" y="28"/>
                      </a:lnTo>
                      <a:lnTo>
                        <a:pt x="90" y="31"/>
                      </a:lnTo>
                      <a:lnTo>
                        <a:pt x="93" y="32"/>
                      </a:lnTo>
                      <a:lnTo>
                        <a:pt x="94" y="33"/>
                      </a:lnTo>
                      <a:lnTo>
                        <a:pt x="94" y="33"/>
                      </a:lnTo>
                      <a:lnTo>
                        <a:pt x="94" y="33"/>
                      </a:lnTo>
                      <a:lnTo>
                        <a:pt x="95" y="39"/>
                      </a:lnTo>
                      <a:lnTo>
                        <a:pt x="95" y="42"/>
                      </a:lnTo>
                      <a:lnTo>
                        <a:pt x="95" y="43"/>
                      </a:lnTo>
                      <a:lnTo>
                        <a:pt x="93" y="54"/>
                      </a:lnTo>
                      <a:lnTo>
                        <a:pt x="91" y="57"/>
                      </a:lnTo>
                      <a:lnTo>
                        <a:pt x="91" y="57"/>
                      </a:lnTo>
                      <a:lnTo>
                        <a:pt x="91" y="59"/>
                      </a:lnTo>
                      <a:lnTo>
                        <a:pt x="91" y="59"/>
                      </a:lnTo>
                      <a:lnTo>
                        <a:pt x="90" y="59"/>
                      </a:lnTo>
                      <a:lnTo>
                        <a:pt x="88" y="60"/>
                      </a:lnTo>
                      <a:lnTo>
                        <a:pt x="85" y="61"/>
                      </a:lnTo>
                      <a:lnTo>
                        <a:pt x="84" y="63"/>
                      </a:lnTo>
                      <a:lnTo>
                        <a:pt x="84" y="64"/>
                      </a:lnTo>
                      <a:lnTo>
                        <a:pt x="83" y="64"/>
                      </a:lnTo>
                      <a:lnTo>
                        <a:pt x="81" y="70"/>
                      </a:lnTo>
                      <a:lnTo>
                        <a:pt x="81" y="71"/>
                      </a:lnTo>
                      <a:lnTo>
                        <a:pt x="81" y="71"/>
                      </a:lnTo>
                      <a:lnTo>
                        <a:pt x="81" y="74"/>
                      </a:lnTo>
                      <a:lnTo>
                        <a:pt x="81" y="74"/>
                      </a:lnTo>
                      <a:lnTo>
                        <a:pt x="81" y="77"/>
                      </a:lnTo>
                      <a:lnTo>
                        <a:pt x="80" y="77"/>
                      </a:lnTo>
                      <a:lnTo>
                        <a:pt x="74" y="81"/>
                      </a:lnTo>
                      <a:lnTo>
                        <a:pt x="74" y="81"/>
                      </a:lnTo>
                      <a:lnTo>
                        <a:pt x="73" y="81"/>
                      </a:lnTo>
                      <a:lnTo>
                        <a:pt x="60" y="87"/>
                      </a:lnTo>
                      <a:lnTo>
                        <a:pt x="53" y="88"/>
                      </a:lnTo>
                      <a:lnTo>
                        <a:pt x="45" y="89"/>
                      </a:lnTo>
                      <a:lnTo>
                        <a:pt x="42" y="89"/>
                      </a:lnTo>
                      <a:lnTo>
                        <a:pt x="39" y="89"/>
                      </a:lnTo>
                      <a:lnTo>
                        <a:pt x="38" y="89"/>
                      </a:lnTo>
                      <a:lnTo>
                        <a:pt x="36" y="89"/>
                      </a:lnTo>
                      <a:lnTo>
                        <a:pt x="35" y="89"/>
                      </a:lnTo>
                      <a:lnTo>
                        <a:pt x="35" y="89"/>
                      </a:lnTo>
                      <a:lnTo>
                        <a:pt x="34" y="91"/>
                      </a:lnTo>
                      <a:lnTo>
                        <a:pt x="34" y="92"/>
                      </a:lnTo>
                      <a:lnTo>
                        <a:pt x="32" y="92"/>
                      </a:lnTo>
                      <a:lnTo>
                        <a:pt x="32" y="94"/>
                      </a:lnTo>
                      <a:lnTo>
                        <a:pt x="29" y="101"/>
                      </a:lnTo>
                      <a:lnTo>
                        <a:pt x="29" y="102"/>
                      </a:lnTo>
                      <a:lnTo>
                        <a:pt x="29" y="102"/>
                      </a:lnTo>
                      <a:lnTo>
                        <a:pt x="29" y="105"/>
                      </a:lnTo>
                      <a:lnTo>
                        <a:pt x="29" y="106"/>
                      </a:lnTo>
                      <a:lnTo>
                        <a:pt x="29" y="108"/>
                      </a:lnTo>
                      <a:lnTo>
                        <a:pt x="29" y="109"/>
                      </a:lnTo>
                      <a:lnTo>
                        <a:pt x="31" y="109"/>
                      </a:lnTo>
                      <a:lnTo>
                        <a:pt x="32" y="110"/>
                      </a:lnTo>
                      <a:lnTo>
                        <a:pt x="34" y="112"/>
                      </a:lnTo>
                      <a:lnTo>
                        <a:pt x="36" y="113"/>
                      </a:lnTo>
                      <a:lnTo>
                        <a:pt x="36" y="115"/>
                      </a:lnTo>
                      <a:lnTo>
                        <a:pt x="38" y="115"/>
                      </a:lnTo>
                      <a:lnTo>
                        <a:pt x="39" y="116"/>
                      </a:lnTo>
                      <a:lnTo>
                        <a:pt x="39" y="117"/>
                      </a:lnTo>
                      <a:lnTo>
                        <a:pt x="39" y="119"/>
                      </a:lnTo>
                      <a:lnTo>
                        <a:pt x="39" y="120"/>
                      </a:lnTo>
                      <a:lnTo>
                        <a:pt x="39" y="123"/>
                      </a:lnTo>
                      <a:lnTo>
                        <a:pt x="39" y="124"/>
                      </a:lnTo>
                      <a:lnTo>
                        <a:pt x="39" y="127"/>
                      </a:lnTo>
                      <a:lnTo>
                        <a:pt x="39" y="127"/>
                      </a:lnTo>
                      <a:lnTo>
                        <a:pt x="39" y="129"/>
                      </a:lnTo>
                      <a:lnTo>
                        <a:pt x="38" y="130"/>
                      </a:lnTo>
                      <a:lnTo>
                        <a:pt x="38" y="130"/>
                      </a:lnTo>
                      <a:lnTo>
                        <a:pt x="35" y="133"/>
                      </a:lnTo>
                      <a:lnTo>
                        <a:pt x="34" y="134"/>
                      </a:lnTo>
                      <a:lnTo>
                        <a:pt x="31" y="137"/>
                      </a:lnTo>
                      <a:lnTo>
                        <a:pt x="31" y="139"/>
                      </a:lnTo>
                      <a:lnTo>
                        <a:pt x="29" y="139"/>
                      </a:lnTo>
                      <a:lnTo>
                        <a:pt x="29" y="140"/>
                      </a:lnTo>
                      <a:lnTo>
                        <a:pt x="29" y="141"/>
                      </a:lnTo>
                      <a:lnTo>
                        <a:pt x="29" y="141"/>
                      </a:lnTo>
                      <a:lnTo>
                        <a:pt x="29" y="143"/>
                      </a:lnTo>
                      <a:lnTo>
                        <a:pt x="29" y="143"/>
                      </a:lnTo>
                      <a:lnTo>
                        <a:pt x="29" y="144"/>
                      </a:lnTo>
                      <a:lnTo>
                        <a:pt x="28" y="147"/>
                      </a:lnTo>
                      <a:lnTo>
                        <a:pt x="28" y="150"/>
                      </a:lnTo>
                      <a:lnTo>
                        <a:pt x="28" y="150"/>
                      </a:lnTo>
                      <a:lnTo>
                        <a:pt x="27" y="151"/>
                      </a:lnTo>
                      <a:lnTo>
                        <a:pt x="27" y="153"/>
                      </a:lnTo>
                      <a:lnTo>
                        <a:pt x="25" y="153"/>
                      </a:lnTo>
                      <a:lnTo>
                        <a:pt x="24" y="154"/>
                      </a:lnTo>
                      <a:lnTo>
                        <a:pt x="24" y="154"/>
                      </a:lnTo>
                      <a:lnTo>
                        <a:pt x="20" y="155"/>
                      </a:lnTo>
                      <a:lnTo>
                        <a:pt x="18" y="155"/>
                      </a:lnTo>
                      <a:lnTo>
                        <a:pt x="17" y="155"/>
                      </a:lnTo>
                      <a:lnTo>
                        <a:pt x="14" y="155"/>
                      </a:lnTo>
                      <a:lnTo>
                        <a:pt x="14" y="157"/>
                      </a:lnTo>
                      <a:lnTo>
                        <a:pt x="11" y="158"/>
                      </a:lnTo>
                      <a:lnTo>
                        <a:pt x="8" y="160"/>
                      </a:lnTo>
                      <a:lnTo>
                        <a:pt x="8" y="161"/>
                      </a:lnTo>
                      <a:lnTo>
                        <a:pt x="8" y="161"/>
                      </a:lnTo>
                      <a:lnTo>
                        <a:pt x="7" y="161"/>
                      </a:lnTo>
                      <a:lnTo>
                        <a:pt x="7" y="162"/>
                      </a:lnTo>
                      <a:lnTo>
                        <a:pt x="7" y="162"/>
                      </a:lnTo>
                      <a:lnTo>
                        <a:pt x="8" y="164"/>
                      </a:lnTo>
                      <a:lnTo>
                        <a:pt x="10" y="164"/>
                      </a:lnTo>
                      <a:lnTo>
                        <a:pt x="10" y="164"/>
                      </a:lnTo>
                      <a:lnTo>
                        <a:pt x="10" y="165"/>
                      </a:lnTo>
                      <a:lnTo>
                        <a:pt x="10" y="167"/>
                      </a:lnTo>
                      <a:lnTo>
                        <a:pt x="11" y="167"/>
                      </a:lnTo>
                      <a:lnTo>
                        <a:pt x="11" y="168"/>
                      </a:lnTo>
                      <a:lnTo>
                        <a:pt x="10" y="175"/>
                      </a:lnTo>
                      <a:lnTo>
                        <a:pt x="10" y="175"/>
                      </a:lnTo>
                      <a:lnTo>
                        <a:pt x="10" y="175"/>
                      </a:lnTo>
                      <a:lnTo>
                        <a:pt x="10" y="175"/>
                      </a:lnTo>
                      <a:lnTo>
                        <a:pt x="8" y="175"/>
                      </a:lnTo>
                      <a:lnTo>
                        <a:pt x="6" y="176"/>
                      </a:lnTo>
                      <a:lnTo>
                        <a:pt x="4" y="176"/>
                      </a:lnTo>
                      <a:lnTo>
                        <a:pt x="4" y="178"/>
                      </a:lnTo>
                      <a:lnTo>
                        <a:pt x="4" y="178"/>
                      </a:lnTo>
                      <a:lnTo>
                        <a:pt x="3" y="179"/>
                      </a:lnTo>
                      <a:lnTo>
                        <a:pt x="3" y="182"/>
                      </a:lnTo>
                      <a:lnTo>
                        <a:pt x="1" y="183"/>
                      </a:lnTo>
                      <a:lnTo>
                        <a:pt x="1" y="185"/>
                      </a:lnTo>
                      <a:lnTo>
                        <a:pt x="1" y="188"/>
                      </a:lnTo>
                      <a:lnTo>
                        <a:pt x="0" y="189"/>
                      </a:lnTo>
                      <a:lnTo>
                        <a:pt x="0" y="190"/>
                      </a:lnTo>
                      <a:lnTo>
                        <a:pt x="0" y="192"/>
                      </a:lnTo>
                      <a:lnTo>
                        <a:pt x="0" y="196"/>
                      </a:lnTo>
                      <a:lnTo>
                        <a:pt x="0" y="197"/>
                      </a:lnTo>
                      <a:lnTo>
                        <a:pt x="1" y="207"/>
                      </a:lnTo>
                      <a:lnTo>
                        <a:pt x="3" y="209"/>
                      </a:lnTo>
                      <a:lnTo>
                        <a:pt x="6" y="214"/>
                      </a:lnTo>
                      <a:lnTo>
                        <a:pt x="8" y="223"/>
                      </a:lnTo>
                      <a:lnTo>
                        <a:pt x="10" y="230"/>
                      </a:lnTo>
                      <a:lnTo>
                        <a:pt x="10" y="230"/>
                      </a:lnTo>
                      <a:lnTo>
                        <a:pt x="10" y="231"/>
                      </a:lnTo>
                      <a:lnTo>
                        <a:pt x="11" y="231"/>
                      </a:lnTo>
                      <a:lnTo>
                        <a:pt x="11" y="232"/>
                      </a:lnTo>
                      <a:lnTo>
                        <a:pt x="13" y="232"/>
                      </a:lnTo>
                      <a:lnTo>
                        <a:pt x="14" y="234"/>
                      </a:lnTo>
                      <a:lnTo>
                        <a:pt x="15" y="234"/>
                      </a:lnTo>
                      <a:lnTo>
                        <a:pt x="18" y="237"/>
                      </a:lnTo>
                      <a:lnTo>
                        <a:pt x="20" y="238"/>
                      </a:lnTo>
                      <a:lnTo>
                        <a:pt x="20" y="238"/>
                      </a:lnTo>
                      <a:lnTo>
                        <a:pt x="27" y="245"/>
                      </a:lnTo>
                      <a:lnTo>
                        <a:pt x="31" y="251"/>
                      </a:lnTo>
                      <a:lnTo>
                        <a:pt x="31" y="251"/>
                      </a:lnTo>
                      <a:lnTo>
                        <a:pt x="32" y="252"/>
                      </a:lnTo>
                      <a:lnTo>
                        <a:pt x="32" y="252"/>
                      </a:lnTo>
                      <a:lnTo>
                        <a:pt x="34" y="253"/>
                      </a:lnTo>
                      <a:lnTo>
                        <a:pt x="38" y="256"/>
                      </a:lnTo>
                      <a:lnTo>
                        <a:pt x="39" y="258"/>
                      </a:lnTo>
                      <a:lnTo>
                        <a:pt x="41" y="258"/>
                      </a:lnTo>
                      <a:lnTo>
                        <a:pt x="42" y="259"/>
                      </a:lnTo>
                      <a:lnTo>
                        <a:pt x="43" y="259"/>
                      </a:lnTo>
                      <a:lnTo>
                        <a:pt x="45" y="260"/>
                      </a:lnTo>
                      <a:lnTo>
                        <a:pt x="50" y="265"/>
                      </a:lnTo>
                      <a:lnTo>
                        <a:pt x="50" y="265"/>
                      </a:lnTo>
                      <a:lnTo>
                        <a:pt x="53" y="269"/>
                      </a:lnTo>
                      <a:lnTo>
                        <a:pt x="53" y="269"/>
                      </a:lnTo>
                      <a:lnTo>
                        <a:pt x="53" y="270"/>
                      </a:lnTo>
                      <a:lnTo>
                        <a:pt x="53" y="270"/>
                      </a:lnTo>
                      <a:lnTo>
                        <a:pt x="55" y="275"/>
                      </a:lnTo>
                      <a:lnTo>
                        <a:pt x="55" y="276"/>
                      </a:lnTo>
                      <a:lnTo>
                        <a:pt x="56" y="280"/>
                      </a:lnTo>
                      <a:lnTo>
                        <a:pt x="56" y="287"/>
                      </a:lnTo>
                      <a:lnTo>
                        <a:pt x="57" y="291"/>
                      </a:lnTo>
                      <a:lnTo>
                        <a:pt x="57" y="291"/>
                      </a:lnTo>
                      <a:lnTo>
                        <a:pt x="57" y="293"/>
                      </a:lnTo>
                      <a:lnTo>
                        <a:pt x="57" y="294"/>
                      </a:lnTo>
                      <a:lnTo>
                        <a:pt x="59" y="294"/>
                      </a:lnTo>
                      <a:lnTo>
                        <a:pt x="60" y="298"/>
                      </a:lnTo>
                      <a:lnTo>
                        <a:pt x="62" y="298"/>
                      </a:lnTo>
                      <a:lnTo>
                        <a:pt x="62" y="300"/>
                      </a:lnTo>
                      <a:lnTo>
                        <a:pt x="63" y="300"/>
                      </a:lnTo>
                      <a:lnTo>
                        <a:pt x="64" y="300"/>
                      </a:lnTo>
                      <a:lnTo>
                        <a:pt x="64" y="300"/>
                      </a:lnTo>
                      <a:lnTo>
                        <a:pt x="66" y="300"/>
                      </a:lnTo>
                      <a:lnTo>
                        <a:pt x="67" y="300"/>
                      </a:lnTo>
                      <a:lnTo>
                        <a:pt x="67" y="300"/>
                      </a:lnTo>
                      <a:lnTo>
                        <a:pt x="67" y="298"/>
                      </a:lnTo>
                      <a:lnTo>
                        <a:pt x="70" y="296"/>
                      </a:lnTo>
                      <a:lnTo>
                        <a:pt x="70" y="294"/>
                      </a:lnTo>
                      <a:lnTo>
                        <a:pt x="71" y="294"/>
                      </a:lnTo>
                      <a:lnTo>
                        <a:pt x="71" y="294"/>
                      </a:lnTo>
                      <a:lnTo>
                        <a:pt x="73" y="293"/>
                      </a:lnTo>
                      <a:lnTo>
                        <a:pt x="73" y="293"/>
                      </a:lnTo>
                      <a:lnTo>
                        <a:pt x="73" y="293"/>
                      </a:lnTo>
                      <a:lnTo>
                        <a:pt x="74" y="293"/>
                      </a:lnTo>
                      <a:lnTo>
                        <a:pt x="77" y="293"/>
                      </a:lnTo>
                      <a:lnTo>
                        <a:pt x="87" y="297"/>
                      </a:lnTo>
                      <a:lnTo>
                        <a:pt x="94" y="301"/>
                      </a:lnTo>
                      <a:lnTo>
                        <a:pt x="95" y="303"/>
                      </a:lnTo>
                      <a:lnTo>
                        <a:pt x="97" y="304"/>
                      </a:lnTo>
                      <a:lnTo>
                        <a:pt x="97" y="304"/>
                      </a:lnTo>
                      <a:lnTo>
                        <a:pt x="97" y="305"/>
                      </a:lnTo>
                      <a:lnTo>
                        <a:pt x="95" y="307"/>
                      </a:lnTo>
                      <a:lnTo>
                        <a:pt x="94" y="308"/>
                      </a:lnTo>
                      <a:lnTo>
                        <a:pt x="94" y="308"/>
                      </a:lnTo>
                      <a:lnTo>
                        <a:pt x="93" y="310"/>
                      </a:lnTo>
                      <a:lnTo>
                        <a:pt x="93" y="311"/>
                      </a:lnTo>
                      <a:lnTo>
                        <a:pt x="91" y="312"/>
                      </a:lnTo>
                      <a:lnTo>
                        <a:pt x="91" y="314"/>
                      </a:lnTo>
                      <a:lnTo>
                        <a:pt x="91" y="314"/>
                      </a:lnTo>
                      <a:lnTo>
                        <a:pt x="91" y="315"/>
                      </a:lnTo>
                      <a:lnTo>
                        <a:pt x="91" y="317"/>
                      </a:lnTo>
                      <a:lnTo>
                        <a:pt x="93" y="318"/>
                      </a:lnTo>
                      <a:lnTo>
                        <a:pt x="93" y="318"/>
                      </a:lnTo>
                      <a:lnTo>
                        <a:pt x="93" y="319"/>
                      </a:lnTo>
                      <a:lnTo>
                        <a:pt x="93" y="319"/>
                      </a:lnTo>
                      <a:lnTo>
                        <a:pt x="93" y="321"/>
                      </a:lnTo>
                      <a:lnTo>
                        <a:pt x="85" y="332"/>
                      </a:lnTo>
                      <a:lnTo>
                        <a:pt x="81" y="340"/>
                      </a:lnTo>
                      <a:lnTo>
                        <a:pt x="81" y="340"/>
                      </a:lnTo>
                      <a:lnTo>
                        <a:pt x="80" y="342"/>
                      </a:lnTo>
                      <a:lnTo>
                        <a:pt x="78" y="345"/>
                      </a:lnTo>
                      <a:lnTo>
                        <a:pt x="78" y="346"/>
                      </a:lnTo>
                      <a:lnTo>
                        <a:pt x="78" y="347"/>
                      </a:lnTo>
                      <a:lnTo>
                        <a:pt x="78" y="349"/>
                      </a:lnTo>
                      <a:lnTo>
                        <a:pt x="78" y="352"/>
                      </a:lnTo>
                      <a:lnTo>
                        <a:pt x="80" y="353"/>
                      </a:lnTo>
                      <a:lnTo>
                        <a:pt x="80" y="354"/>
                      </a:lnTo>
                      <a:lnTo>
                        <a:pt x="81" y="354"/>
                      </a:lnTo>
                      <a:lnTo>
                        <a:pt x="83" y="357"/>
                      </a:lnTo>
                      <a:lnTo>
                        <a:pt x="88" y="361"/>
                      </a:lnTo>
                      <a:lnTo>
                        <a:pt x="97" y="370"/>
                      </a:lnTo>
                      <a:lnTo>
                        <a:pt x="107" y="380"/>
                      </a:lnTo>
                      <a:lnTo>
                        <a:pt x="114" y="381"/>
                      </a:lnTo>
                      <a:lnTo>
                        <a:pt x="114" y="381"/>
                      </a:lnTo>
                      <a:lnTo>
                        <a:pt x="115" y="381"/>
                      </a:lnTo>
                      <a:lnTo>
                        <a:pt x="115" y="381"/>
                      </a:lnTo>
                      <a:lnTo>
                        <a:pt x="123" y="385"/>
                      </a:lnTo>
                      <a:lnTo>
                        <a:pt x="125" y="387"/>
                      </a:lnTo>
                      <a:lnTo>
                        <a:pt x="126" y="389"/>
                      </a:lnTo>
                      <a:lnTo>
                        <a:pt x="126" y="389"/>
                      </a:lnTo>
                      <a:lnTo>
                        <a:pt x="126" y="389"/>
                      </a:lnTo>
                      <a:lnTo>
                        <a:pt x="128" y="391"/>
                      </a:lnTo>
                      <a:lnTo>
                        <a:pt x="128" y="392"/>
                      </a:lnTo>
                      <a:lnTo>
                        <a:pt x="128" y="392"/>
                      </a:lnTo>
                      <a:lnTo>
                        <a:pt x="128" y="394"/>
                      </a:lnTo>
                      <a:lnTo>
                        <a:pt x="129" y="394"/>
                      </a:lnTo>
                      <a:lnTo>
                        <a:pt x="130" y="395"/>
                      </a:lnTo>
                      <a:lnTo>
                        <a:pt x="132" y="397"/>
                      </a:lnTo>
                      <a:lnTo>
                        <a:pt x="135" y="397"/>
                      </a:lnTo>
                      <a:lnTo>
                        <a:pt x="136" y="398"/>
                      </a:lnTo>
                      <a:lnTo>
                        <a:pt x="137" y="398"/>
                      </a:lnTo>
                      <a:lnTo>
                        <a:pt x="137" y="399"/>
                      </a:lnTo>
                      <a:lnTo>
                        <a:pt x="137" y="399"/>
                      </a:lnTo>
                      <a:lnTo>
                        <a:pt x="139" y="404"/>
                      </a:lnTo>
                      <a:lnTo>
                        <a:pt x="139" y="405"/>
                      </a:lnTo>
                      <a:lnTo>
                        <a:pt x="137" y="406"/>
                      </a:lnTo>
                      <a:lnTo>
                        <a:pt x="137" y="406"/>
                      </a:lnTo>
                      <a:lnTo>
                        <a:pt x="137" y="408"/>
                      </a:lnTo>
                      <a:lnTo>
                        <a:pt x="137" y="409"/>
                      </a:lnTo>
                      <a:lnTo>
                        <a:pt x="139" y="411"/>
                      </a:lnTo>
                      <a:lnTo>
                        <a:pt x="139" y="413"/>
                      </a:lnTo>
                      <a:lnTo>
                        <a:pt x="140" y="415"/>
                      </a:lnTo>
                      <a:lnTo>
                        <a:pt x="142" y="416"/>
                      </a:lnTo>
                      <a:lnTo>
                        <a:pt x="142" y="418"/>
                      </a:lnTo>
                      <a:lnTo>
                        <a:pt x="143" y="419"/>
                      </a:lnTo>
                      <a:lnTo>
                        <a:pt x="143" y="419"/>
                      </a:lnTo>
                      <a:lnTo>
                        <a:pt x="143" y="420"/>
                      </a:lnTo>
                      <a:lnTo>
                        <a:pt x="143" y="420"/>
                      </a:lnTo>
                      <a:lnTo>
                        <a:pt x="143" y="423"/>
                      </a:lnTo>
                      <a:lnTo>
                        <a:pt x="143" y="425"/>
                      </a:lnTo>
                      <a:lnTo>
                        <a:pt x="143" y="426"/>
                      </a:lnTo>
                      <a:lnTo>
                        <a:pt x="142" y="426"/>
                      </a:lnTo>
                      <a:lnTo>
                        <a:pt x="142" y="427"/>
                      </a:lnTo>
                      <a:lnTo>
                        <a:pt x="142" y="427"/>
                      </a:lnTo>
                      <a:lnTo>
                        <a:pt x="142" y="427"/>
                      </a:lnTo>
                      <a:lnTo>
                        <a:pt x="140" y="427"/>
                      </a:lnTo>
                      <a:lnTo>
                        <a:pt x="139" y="429"/>
                      </a:lnTo>
                      <a:lnTo>
                        <a:pt x="139" y="429"/>
                      </a:lnTo>
                      <a:lnTo>
                        <a:pt x="139" y="429"/>
                      </a:lnTo>
                      <a:lnTo>
                        <a:pt x="139" y="432"/>
                      </a:lnTo>
                      <a:lnTo>
                        <a:pt x="137" y="432"/>
                      </a:lnTo>
                      <a:lnTo>
                        <a:pt x="139" y="433"/>
                      </a:lnTo>
                      <a:lnTo>
                        <a:pt x="142" y="437"/>
                      </a:lnTo>
                      <a:lnTo>
                        <a:pt x="144" y="443"/>
                      </a:lnTo>
                      <a:lnTo>
                        <a:pt x="147" y="450"/>
                      </a:lnTo>
                      <a:lnTo>
                        <a:pt x="147" y="451"/>
                      </a:lnTo>
                      <a:lnTo>
                        <a:pt x="147" y="451"/>
                      </a:lnTo>
                      <a:lnTo>
                        <a:pt x="147" y="451"/>
                      </a:lnTo>
                      <a:lnTo>
                        <a:pt x="149" y="453"/>
                      </a:lnTo>
                      <a:lnTo>
                        <a:pt x="154" y="455"/>
                      </a:lnTo>
                      <a:lnTo>
                        <a:pt x="154" y="455"/>
                      </a:lnTo>
                      <a:lnTo>
                        <a:pt x="163" y="457"/>
                      </a:lnTo>
                      <a:lnTo>
                        <a:pt x="163" y="457"/>
                      </a:lnTo>
                      <a:lnTo>
                        <a:pt x="165" y="457"/>
                      </a:lnTo>
                      <a:lnTo>
                        <a:pt x="163" y="454"/>
                      </a:lnTo>
                      <a:lnTo>
                        <a:pt x="163" y="453"/>
                      </a:lnTo>
                      <a:lnTo>
                        <a:pt x="161" y="453"/>
                      </a:lnTo>
                      <a:lnTo>
                        <a:pt x="161" y="451"/>
                      </a:lnTo>
                      <a:lnTo>
                        <a:pt x="161" y="450"/>
                      </a:lnTo>
                      <a:lnTo>
                        <a:pt x="161" y="450"/>
                      </a:lnTo>
                      <a:lnTo>
                        <a:pt x="163" y="450"/>
                      </a:lnTo>
                      <a:lnTo>
                        <a:pt x="163" y="448"/>
                      </a:lnTo>
                      <a:lnTo>
                        <a:pt x="167" y="441"/>
                      </a:lnTo>
                      <a:lnTo>
                        <a:pt x="168" y="440"/>
                      </a:lnTo>
                      <a:lnTo>
                        <a:pt x="170" y="440"/>
                      </a:lnTo>
                      <a:lnTo>
                        <a:pt x="172" y="437"/>
                      </a:lnTo>
                      <a:lnTo>
                        <a:pt x="172" y="437"/>
                      </a:lnTo>
                      <a:lnTo>
                        <a:pt x="175" y="437"/>
                      </a:lnTo>
                      <a:lnTo>
                        <a:pt x="178" y="437"/>
                      </a:lnTo>
                      <a:lnTo>
                        <a:pt x="181" y="437"/>
                      </a:lnTo>
                      <a:lnTo>
                        <a:pt x="181" y="437"/>
                      </a:lnTo>
                      <a:lnTo>
                        <a:pt x="182" y="437"/>
                      </a:lnTo>
                      <a:lnTo>
                        <a:pt x="191" y="441"/>
                      </a:lnTo>
                      <a:lnTo>
                        <a:pt x="203" y="448"/>
                      </a:lnTo>
                      <a:lnTo>
                        <a:pt x="205" y="448"/>
                      </a:lnTo>
                      <a:lnTo>
                        <a:pt x="206" y="450"/>
                      </a:lnTo>
                      <a:lnTo>
                        <a:pt x="207" y="450"/>
                      </a:lnTo>
                      <a:lnTo>
                        <a:pt x="209" y="450"/>
                      </a:lnTo>
                      <a:lnTo>
                        <a:pt x="209" y="450"/>
                      </a:lnTo>
                      <a:lnTo>
                        <a:pt x="210" y="450"/>
                      </a:lnTo>
                      <a:lnTo>
                        <a:pt x="210" y="448"/>
                      </a:lnTo>
                      <a:lnTo>
                        <a:pt x="212" y="448"/>
                      </a:lnTo>
                      <a:lnTo>
                        <a:pt x="212" y="447"/>
                      </a:lnTo>
                      <a:lnTo>
                        <a:pt x="213" y="444"/>
                      </a:lnTo>
                      <a:lnTo>
                        <a:pt x="213" y="443"/>
                      </a:lnTo>
                      <a:lnTo>
                        <a:pt x="213" y="443"/>
                      </a:lnTo>
                      <a:lnTo>
                        <a:pt x="213" y="441"/>
                      </a:lnTo>
                      <a:lnTo>
                        <a:pt x="213" y="440"/>
                      </a:lnTo>
                      <a:lnTo>
                        <a:pt x="212" y="439"/>
                      </a:lnTo>
                      <a:lnTo>
                        <a:pt x="210" y="436"/>
                      </a:lnTo>
                      <a:lnTo>
                        <a:pt x="209" y="436"/>
                      </a:lnTo>
                      <a:lnTo>
                        <a:pt x="209" y="434"/>
                      </a:lnTo>
                      <a:lnTo>
                        <a:pt x="209" y="433"/>
                      </a:lnTo>
                      <a:lnTo>
                        <a:pt x="207" y="433"/>
                      </a:lnTo>
                      <a:lnTo>
                        <a:pt x="207" y="432"/>
                      </a:lnTo>
                      <a:lnTo>
                        <a:pt x="207" y="432"/>
                      </a:lnTo>
                      <a:lnTo>
                        <a:pt x="207" y="429"/>
                      </a:lnTo>
                      <a:lnTo>
                        <a:pt x="207" y="427"/>
                      </a:lnTo>
                      <a:lnTo>
                        <a:pt x="207" y="426"/>
                      </a:lnTo>
                      <a:lnTo>
                        <a:pt x="209" y="423"/>
                      </a:lnTo>
                      <a:lnTo>
                        <a:pt x="209" y="423"/>
                      </a:lnTo>
                      <a:lnTo>
                        <a:pt x="210" y="422"/>
                      </a:lnTo>
                      <a:lnTo>
                        <a:pt x="210" y="422"/>
                      </a:lnTo>
                      <a:lnTo>
                        <a:pt x="212" y="422"/>
                      </a:lnTo>
                      <a:lnTo>
                        <a:pt x="213" y="420"/>
                      </a:lnTo>
                      <a:lnTo>
                        <a:pt x="224" y="418"/>
                      </a:lnTo>
                      <a:lnTo>
                        <a:pt x="226" y="418"/>
                      </a:lnTo>
                      <a:lnTo>
                        <a:pt x="230" y="416"/>
                      </a:lnTo>
                      <a:lnTo>
                        <a:pt x="233" y="416"/>
                      </a:lnTo>
                      <a:lnTo>
                        <a:pt x="236" y="416"/>
                      </a:lnTo>
                      <a:lnTo>
                        <a:pt x="236" y="416"/>
                      </a:lnTo>
                      <a:lnTo>
                        <a:pt x="237" y="416"/>
                      </a:lnTo>
                      <a:lnTo>
                        <a:pt x="237" y="416"/>
                      </a:lnTo>
                      <a:lnTo>
                        <a:pt x="237" y="415"/>
                      </a:lnTo>
                      <a:lnTo>
                        <a:pt x="237" y="415"/>
                      </a:lnTo>
                      <a:lnTo>
                        <a:pt x="238" y="415"/>
                      </a:lnTo>
                      <a:lnTo>
                        <a:pt x="238" y="413"/>
                      </a:lnTo>
                      <a:lnTo>
                        <a:pt x="238" y="413"/>
                      </a:lnTo>
                      <a:lnTo>
                        <a:pt x="237" y="412"/>
                      </a:lnTo>
                      <a:lnTo>
                        <a:pt x="237" y="412"/>
                      </a:lnTo>
                      <a:lnTo>
                        <a:pt x="236" y="409"/>
                      </a:lnTo>
                      <a:lnTo>
                        <a:pt x="236" y="409"/>
                      </a:lnTo>
                      <a:lnTo>
                        <a:pt x="234" y="408"/>
                      </a:lnTo>
                      <a:lnTo>
                        <a:pt x="234" y="406"/>
                      </a:lnTo>
                      <a:lnTo>
                        <a:pt x="233" y="405"/>
                      </a:lnTo>
                      <a:lnTo>
                        <a:pt x="233" y="405"/>
                      </a:lnTo>
                      <a:lnTo>
                        <a:pt x="233" y="404"/>
                      </a:lnTo>
                      <a:lnTo>
                        <a:pt x="231" y="402"/>
                      </a:lnTo>
                      <a:lnTo>
                        <a:pt x="233" y="401"/>
                      </a:lnTo>
                      <a:lnTo>
                        <a:pt x="233" y="399"/>
                      </a:lnTo>
                      <a:lnTo>
                        <a:pt x="234" y="398"/>
                      </a:lnTo>
                      <a:lnTo>
                        <a:pt x="234" y="397"/>
                      </a:lnTo>
                      <a:lnTo>
                        <a:pt x="234" y="397"/>
                      </a:lnTo>
                      <a:lnTo>
                        <a:pt x="236" y="397"/>
                      </a:lnTo>
                      <a:lnTo>
                        <a:pt x="237" y="395"/>
                      </a:lnTo>
                      <a:lnTo>
                        <a:pt x="237" y="395"/>
                      </a:lnTo>
                      <a:lnTo>
                        <a:pt x="238" y="394"/>
                      </a:lnTo>
                      <a:lnTo>
                        <a:pt x="238" y="394"/>
                      </a:lnTo>
                      <a:lnTo>
                        <a:pt x="240" y="392"/>
                      </a:lnTo>
                      <a:lnTo>
                        <a:pt x="240" y="392"/>
                      </a:lnTo>
                      <a:lnTo>
                        <a:pt x="240" y="392"/>
                      </a:lnTo>
                      <a:lnTo>
                        <a:pt x="240" y="389"/>
                      </a:lnTo>
                      <a:lnTo>
                        <a:pt x="240" y="388"/>
                      </a:lnTo>
                      <a:lnTo>
                        <a:pt x="237" y="388"/>
                      </a:lnTo>
                      <a:lnTo>
                        <a:pt x="237" y="388"/>
                      </a:lnTo>
                      <a:lnTo>
                        <a:pt x="237" y="387"/>
                      </a:lnTo>
                      <a:lnTo>
                        <a:pt x="236" y="381"/>
                      </a:lnTo>
                      <a:lnTo>
                        <a:pt x="236" y="381"/>
                      </a:lnTo>
                      <a:lnTo>
                        <a:pt x="236" y="381"/>
                      </a:lnTo>
                      <a:lnTo>
                        <a:pt x="237" y="381"/>
                      </a:lnTo>
                      <a:lnTo>
                        <a:pt x="238" y="381"/>
                      </a:lnTo>
                      <a:lnTo>
                        <a:pt x="238" y="381"/>
                      </a:lnTo>
                      <a:lnTo>
                        <a:pt x="240" y="381"/>
                      </a:lnTo>
                      <a:lnTo>
                        <a:pt x="240" y="381"/>
                      </a:lnTo>
                      <a:lnTo>
                        <a:pt x="241" y="381"/>
                      </a:lnTo>
                      <a:lnTo>
                        <a:pt x="241" y="381"/>
                      </a:lnTo>
                      <a:lnTo>
                        <a:pt x="241" y="374"/>
                      </a:lnTo>
                      <a:lnTo>
                        <a:pt x="240" y="370"/>
                      </a:lnTo>
                      <a:lnTo>
                        <a:pt x="244" y="367"/>
                      </a:lnTo>
                      <a:lnTo>
                        <a:pt x="245" y="367"/>
                      </a:lnTo>
                      <a:lnTo>
                        <a:pt x="245" y="366"/>
                      </a:lnTo>
                      <a:lnTo>
                        <a:pt x="245" y="366"/>
                      </a:lnTo>
                      <a:lnTo>
                        <a:pt x="245" y="366"/>
                      </a:lnTo>
                      <a:lnTo>
                        <a:pt x="245" y="366"/>
                      </a:lnTo>
                      <a:lnTo>
                        <a:pt x="244" y="364"/>
                      </a:lnTo>
                      <a:lnTo>
                        <a:pt x="241" y="366"/>
                      </a:lnTo>
                      <a:lnTo>
                        <a:pt x="241" y="364"/>
                      </a:lnTo>
                      <a:lnTo>
                        <a:pt x="245" y="361"/>
                      </a:lnTo>
                      <a:lnTo>
                        <a:pt x="247" y="359"/>
                      </a:lnTo>
                      <a:lnTo>
                        <a:pt x="245" y="357"/>
                      </a:lnTo>
                      <a:lnTo>
                        <a:pt x="245" y="357"/>
                      </a:lnTo>
                      <a:lnTo>
                        <a:pt x="244" y="357"/>
                      </a:lnTo>
                      <a:lnTo>
                        <a:pt x="244" y="356"/>
                      </a:lnTo>
                      <a:lnTo>
                        <a:pt x="244" y="354"/>
                      </a:lnTo>
                      <a:lnTo>
                        <a:pt x="244" y="354"/>
                      </a:lnTo>
                      <a:lnTo>
                        <a:pt x="244" y="354"/>
                      </a:lnTo>
                      <a:lnTo>
                        <a:pt x="244" y="353"/>
                      </a:lnTo>
                      <a:lnTo>
                        <a:pt x="247" y="349"/>
                      </a:lnTo>
                      <a:lnTo>
                        <a:pt x="247" y="347"/>
                      </a:lnTo>
                      <a:lnTo>
                        <a:pt x="248" y="347"/>
                      </a:lnTo>
                      <a:lnTo>
                        <a:pt x="248" y="347"/>
                      </a:lnTo>
                      <a:lnTo>
                        <a:pt x="250" y="349"/>
                      </a:lnTo>
                      <a:lnTo>
                        <a:pt x="252" y="349"/>
                      </a:lnTo>
                      <a:lnTo>
                        <a:pt x="254" y="349"/>
                      </a:lnTo>
                      <a:lnTo>
                        <a:pt x="254" y="349"/>
                      </a:lnTo>
                      <a:lnTo>
                        <a:pt x="258" y="340"/>
                      </a:lnTo>
                      <a:lnTo>
                        <a:pt x="266" y="326"/>
                      </a:lnTo>
                      <a:lnTo>
                        <a:pt x="266" y="326"/>
                      </a:lnTo>
                      <a:lnTo>
                        <a:pt x="269" y="319"/>
                      </a:lnTo>
                      <a:lnTo>
                        <a:pt x="269" y="318"/>
                      </a:lnTo>
                      <a:lnTo>
                        <a:pt x="271" y="317"/>
                      </a:lnTo>
                      <a:lnTo>
                        <a:pt x="272" y="317"/>
                      </a:lnTo>
                      <a:lnTo>
                        <a:pt x="272" y="317"/>
                      </a:lnTo>
                      <a:lnTo>
                        <a:pt x="273" y="317"/>
                      </a:lnTo>
                      <a:lnTo>
                        <a:pt x="273" y="317"/>
                      </a:lnTo>
                      <a:lnTo>
                        <a:pt x="275" y="317"/>
                      </a:lnTo>
                      <a:lnTo>
                        <a:pt x="275" y="315"/>
                      </a:lnTo>
                      <a:lnTo>
                        <a:pt x="275" y="315"/>
                      </a:lnTo>
                      <a:lnTo>
                        <a:pt x="276" y="315"/>
                      </a:lnTo>
                      <a:lnTo>
                        <a:pt x="276" y="311"/>
                      </a:lnTo>
                      <a:lnTo>
                        <a:pt x="276" y="310"/>
                      </a:lnTo>
                      <a:lnTo>
                        <a:pt x="275" y="294"/>
                      </a:lnTo>
                      <a:lnTo>
                        <a:pt x="275" y="294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</p:grpSp>
          <p:grpSp>
            <p:nvGrpSpPr>
              <p:cNvPr id="102" name="Group 76"/>
              <p:cNvGrpSpPr/>
              <p:nvPr/>
            </p:nvGrpSpPr>
            <p:grpSpPr>
              <a:xfrm>
                <a:off x="5511800" y="1450182"/>
                <a:ext cx="2038350" cy="1066800"/>
                <a:chOff x="5511800" y="1450182"/>
                <a:chExt cx="2038350" cy="1066800"/>
              </a:xfrm>
              <a:grpFill/>
            </p:grpSpPr>
            <p:sp>
              <p:nvSpPr>
                <p:cNvPr id="103" name="Freeform 132"/>
                <p:cNvSpPr>
                  <a:spLocks/>
                </p:cNvSpPr>
                <p:nvPr/>
              </p:nvSpPr>
              <p:spPr bwMode="auto">
                <a:xfrm>
                  <a:off x="7339012" y="2105820"/>
                  <a:ext cx="211138" cy="136525"/>
                </a:xfrm>
                <a:custGeom>
                  <a:avLst/>
                  <a:gdLst>
                    <a:gd name="T0" fmla="*/ 129 w 133"/>
                    <a:gd name="T1" fmla="*/ 60 h 86"/>
                    <a:gd name="T2" fmla="*/ 128 w 133"/>
                    <a:gd name="T3" fmla="*/ 58 h 86"/>
                    <a:gd name="T4" fmla="*/ 128 w 133"/>
                    <a:gd name="T5" fmla="*/ 58 h 86"/>
                    <a:gd name="T6" fmla="*/ 122 w 133"/>
                    <a:gd name="T7" fmla="*/ 58 h 86"/>
                    <a:gd name="T8" fmla="*/ 107 w 133"/>
                    <a:gd name="T9" fmla="*/ 60 h 86"/>
                    <a:gd name="T10" fmla="*/ 104 w 133"/>
                    <a:gd name="T11" fmla="*/ 61 h 86"/>
                    <a:gd name="T12" fmla="*/ 103 w 133"/>
                    <a:gd name="T13" fmla="*/ 63 h 86"/>
                    <a:gd name="T14" fmla="*/ 103 w 133"/>
                    <a:gd name="T15" fmla="*/ 63 h 86"/>
                    <a:gd name="T16" fmla="*/ 101 w 133"/>
                    <a:gd name="T17" fmla="*/ 64 h 86"/>
                    <a:gd name="T18" fmla="*/ 93 w 133"/>
                    <a:gd name="T19" fmla="*/ 64 h 86"/>
                    <a:gd name="T20" fmla="*/ 93 w 133"/>
                    <a:gd name="T21" fmla="*/ 64 h 86"/>
                    <a:gd name="T22" fmla="*/ 83 w 133"/>
                    <a:gd name="T23" fmla="*/ 65 h 86"/>
                    <a:gd name="T24" fmla="*/ 80 w 133"/>
                    <a:gd name="T25" fmla="*/ 64 h 86"/>
                    <a:gd name="T26" fmla="*/ 77 w 133"/>
                    <a:gd name="T27" fmla="*/ 64 h 86"/>
                    <a:gd name="T28" fmla="*/ 76 w 133"/>
                    <a:gd name="T29" fmla="*/ 64 h 86"/>
                    <a:gd name="T30" fmla="*/ 63 w 133"/>
                    <a:gd name="T31" fmla="*/ 65 h 86"/>
                    <a:gd name="T32" fmla="*/ 59 w 133"/>
                    <a:gd name="T33" fmla="*/ 67 h 86"/>
                    <a:gd name="T34" fmla="*/ 58 w 133"/>
                    <a:gd name="T35" fmla="*/ 67 h 86"/>
                    <a:gd name="T36" fmla="*/ 58 w 133"/>
                    <a:gd name="T37" fmla="*/ 65 h 86"/>
                    <a:gd name="T38" fmla="*/ 58 w 133"/>
                    <a:gd name="T39" fmla="*/ 65 h 86"/>
                    <a:gd name="T40" fmla="*/ 56 w 133"/>
                    <a:gd name="T41" fmla="*/ 64 h 86"/>
                    <a:gd name="T42" fmla="*/ 55 w 133"/>
                    <a:gd name="T43" fmla="*/ 64 h 86"/>
                    <a:gd name="T44" fmla="*/ 48 w 133"/>
                    <a:gd name="T45" fmla="*/ 70 h 86"/>
                    <a:gd name="T46" fmla="*/ 44 w 133"/>
                    <a:gd name="T47" fmla="*/ 72 h 86"/>
                    <a:gd name="T48" fmla="*/ 40 w 133"/>
                    <a:gd name="T49" fmla="*/ 74 h 86"/>
                    <a:gd name="T50" fmla="*/ 38 w 133"/>
                    <a:gd name="T51" fmla="*/ 72 h 86"/>
                    <a:gd name="T52" fmla="*/ 31 w 133"/>
                    <a:gd name="T53" fmla="*/ 75 h 86"/>
                    <a:gd name="T54" fmla="*/ 28 w 133"/>
                    <a:gd name="T55" fmla="*/ 77 h 86"/>
                    <a:gd name="T56" fmla="*/ 24 w 133"/>
                    <a:gd name="T57" fmla="*/ 79 h 86"/>
                    <a:gd name="T58" fmla="*/ 20 w 133"/>
                    <a:gd name="T59" fmla="*/ 81 h 86"/>
                    <a:gd name="T60" fmla="*/ 17 w 133"/>
                    <a:gd name="T61" fmla="*/ 82 h 86"/>
                    <a:gd name="T62" fmla="*/ 11 w 133"/>
                    <a:gd name="T63" fmla="*/ 85 h 86"/>
                    <a:gd name="T64" fmla="*/ 11 w 133"/>
                    <a:gd name="T65" fmla="*/ 86 h 86"/>
                    <a:gd name="T66" fmla="*/ 6 w 133"/>
                    <a:gd name="T67" fmla="*/ 86 h 86"/>
                    <a:gd name="T68" fmla="*/ 0 w 133"/>
                    <a:gd name="T69" fmla="*/ 78 h 86"/>
                    <a:gd name="T70" fmla="*/ 17 w 133"/>
                    <a:gd name="T71" fmla="*/ 70 h 86"/>
                    <a:gd name="T72" fmla="*/ 16 w 133"/>
                    <a:gd name="T73" fmla="*/ 67 h 86"/>
                    <a:gd name="T74" fmla="*/ 14 w 133"/>
                    <a:gd name="T75" fmla="*/ 64 h 86"/>
                    <a:gd name="T76" fmla="*/ 13 w 133"/>
                    <a:gd name="T77" fmla="*/ 63 h 86"/>
                    <a:gd name="T78" fmla="*/ 13 w 133"/>
                    <a:gd name="T79" fmla="*/ 61 h 86"/>
                    <a:gd name="T80" fmla="*/ 13 w 133"/>
                    <a:gd name="T81" fmla="*/ 47 h 86"/>
                    <a:gd name="T82" fmla="*/ 14 w 133"/>
                    <a:gd name="T83" fmla="*/ 39 h 86"/>
                    <a:gd name="T84" fmla="*/ 17 w 133"/>
                    <a:gd name="T85" fmla="*/ 8 h 86"/>
                    <a:gd name="T86" fmla="*/ 17 w 133"/>
                    <a:gd name="T87" fmla="*/ 2 h 86"/>
                    <a:gd name="T88" fmla="*/ 17 w 133"/>
                    <a:gd name="T89" fmla="*/ 0 h 86"/>
                    <a:gd name="T90" fmla="*/ 35 w 133"/>
                    <a:gd name="T91" fmla="*/ 1 h 86"/>
                    <a:gd name="T92" fmla="*/ 42 w 133"/>
                    <a:gd name="T93" fmla="*/ 1 h 86"/>
                    <a:gd name="T94" fmla="*/ 59 w 133"/>
                    <a:gd name="T95" fmla="*/ 1 h 86"/>
                    <a:gd name="T96" fmla="*/ 80 w 133"/>
                    <a:gd name="T97" fmla="*/ 2 h 86"/>
                    <a:gd name="T98" fmla="*/ 86 w 133"/>
                    <a:gd name="T99" fmla="*/ 2 h 86"/>
                    <a:gd name="T100" fmla="*/ 107 w 133"/>
                    <a:gd name="T101" fmla="*/ 2 h 86"/>
                    <a:gd name="T102" fmla="*/ 119 w 133"/>
                    <a:gd name="T103" fmla="*/ 2 h 86"/>
                    <a:gd name="T104" fmla="*/ 133 w 133"/>
                    <a:gd name="T105" fmla="*/ 2 h 86"/>
                    <a:gd name="T106" fmla="*/ 133 w 133"/>
                    <a:gd name="T107" fmla="*/ 4 h 86"/>
                    <a:gd name="T108" fmla="*/ 133 w 133"/>
                    <a:gd name="T109" fmla="*/ 23 h 86"/>
                    <a:gd name="T110" fmla="*/ 133 w 133"/>
                    <a:gd name="T111" fmla="*/ 39 h 86"/>
                    <a:gd name="T112" fmla="*/ 133 w 133"/>
                    <a:gd name="T113" fmla="*/ 53 h 86"/>
                    <a:gd name="T114" fmla="*/ 133 w 133"/>
                    <a:gd name="T115" fmla="*/ 53 h 86"/>
                    <a:gd name="T116" fmla="*/ 131 w 133"/>
                    <a:gd name="T117" fmla="*/ 58 h 86"/>
                    <a:gd name="T118" fmla="*/ 131 w 133"/>
                    <a:gd name="T119" fmla="*/ 61 h 86"/>
                    <a:gd name="T120" fmla="*/ 129 w 133"/>
                    <a:gd name="T121" fmla="*/ 60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33" h="86">
                      <a:moveTo>
                        <a:pt x="129" y="60"/>
                      </a:moveTo>
                      <a:lnTo>
                        <a:pt x="128" y="58"/>
                      </a:lnTo>
                      <a:lnTo>
                        <a:pt x="128" y="58"/>
                      </a:lnTo>
                      <a:lnTo>
                        <a:pt x="122" y="58"/>
                      </a:lnTo>
                      <a:lnTo>
                        <a:pt x="107" y="60"/>
                      </a:lnTo>
                      <a:lnTo>
                        <a:pt x="104" y="61"/>
                      </a:lnTo>
                      <a:lnTo>
                        <a:pt x="103" y="63"/>
                      </a:lnTo>
                      <a:lnTo>
                        <a:pt x="103" y="63"/>
                      </a:lnTo>
                      <a:lnTo>
                        <a:pt x="101" y="64"/>
                      </a:lnTo>
                      <a:lnTo>
                        <a:pt x="93" y="64"/>
                      </a:lnTo>
                      <a:lnTo>
                        <a:pt x="93" y="64"/>
                      </a:lnTo>
                      <a:lnTo>
                        <a:pt x="83" y="65"/>
                      </a:lnTo>
                      <a:lnTo>
                        <a:pt x="80" y="64"/>
                      </a:lnTo>
                      <a:lnTo>
                        <a:pt x="77" y="64"/>
                      </a:lnTo>
                      <a:lnTo>
                        <a:pt x="76" y="64"/>
                      </a:lnTo>
                      <a:lnTo>
                        <a:pt x="63" y="65"/>
                      </a:lnTo>
                      <a:lnTo>
                        <a:pt x="59" y="67"/>
                      </a:lnTo>
                      <a:lnTo>
                        <a:pt x="58" y="67"/>
                      </a:lnTo>
                      <a:lnTo>
                        <a:pt x="58" y="65"/>
                      </a:lnTo>
                      <a:lnTo>
                        <a:pt x="58" y="65"/>
                      </a:lnTo>
                      <a:lnTo>
                        <a:pt x="56" y="64"/>
                      </a:lnTo>
                      <a:lnTo>
                        <a:pt x="55" y="64"/>
                      </a:lnTo>
                      <a:lnTo>
                        <a:pt x="48" y="70"/>
                      </a:lnTo>
                      <a:lnTo>
                        <a:pt x="44" y="72"/>
                      </a:lnTo>
                      <a:lnTo>
                        <a:pt x="40" y="74"/>
                      </a:lnTo>
                      <a:lnTo>
                        <a:pt x="38" y="72"/>
                      </a:lnTo>
                      <a:lnTo>
                        <a:pt x="31" y="75"/>
                      </a:lnTo>
                      <a:lnTo>
                        <a:pt x="28" y="77"/>
                      </a:lnTo>
                      <a:lnTo>
                        <a:pt x="24" y="79"/>
                      </a:lnTo>
                      <a:lnTo>
                        <a:pt x="20" y="81"/>
                      </a:lnTo>
                      <a:lnTo>
                        <a:pt x="17" y="82"/>
                      </a:lnTo>
                      <a:lnTo>
                        <a:pt x="11" y="85"/>
                      </a:lnTo>
                      <a:lnTo>
                        <a:pt x="11" y="86"/>
                      </a:lnTo>
                      <a:lnTo>
                        <a:pt x="6" y="86"/>
                      </a:lnTo>
                      <a:lnTo>
                        <a:pt x="0" y="78"/>
                      </a:lnTo>
                      <a:lnTo>
                        <a:pt x="17" y="70"/>
                      </a:lnTo>
                      <a:lnTo>
                        <a:pt x="16" y="67"/>
                      </a:lnTo>
                      <a:lnTo>
                        <a:pt x="14" y="64"/>
                      </a:lnTo>
                      <a:lnTo>
                        <a:pt x="13" y="63"/>
                      </a:lnTo>
                      <a:lnTo>
                        <a:pt x="13" y="61"/>
                      </a:lnTo>
                      <a:lnTo>
                        <a:pt x="13" y="47"/>
                      </a:lnTo>
                      <a:lnTo>
                        <a:pt x="14" y="39"/>
                      </a:lnTo>
                      <a:lnTo>
                        <a:pt x="17" y="8"/>
                      </a:lnTo>
                      <a:lnTo>
                        <a:pt x="17" y="2"/>
                      </a:lnTo>
                      <a:lnTo>
                        <a:pt x="17" y="0"/>
                      </a:lnTo>
                      <a:lnTo>
                        <a:pt x="35" y="1"/>
                      </a:lnTo>
                      <a:lnTo>
                        <a:pt x="42" y="1"/>
                      </a:lnTo>
                      <a:lnTo>
                        <a:pt x="59" y="1"/>
                      </a:lnTo>
                      <a:lnTo>
                        <a:pt x="80" y="2"/>
                      </a:lnTo>
                      <a:lnTo>
                        <a:pt x="86" y="2"/>
                      </a:lnTo>
                      <a:lnTo>
                        <a:pt x="107" y="2"/>
                      </a:lnTo>
                      <a:lnTo>
                        <a:pt x="119" y="2"/>
                      </a:lnTo>
                      <a:lnTo>
                        <a:pt x="133" y="2"/>
                      </a:lnTo>
                      <a:lnTo>
                        <a:pt x="133" y="4"/>
                      </a:lnTo>
                      <a:lnTo>
                        <a:pt x="133" y="23"/>
                      </a:lnTo>
                      <a:lnTo>
                        <a:pt x="133" y="39"/>
                      </a:lnTo>
                      <a:lnTo>
                        <a:pt x="133" y="53"/>
                      </a:lnTo>
                      <a:lnTo>
                        <a:pt x="133" y="53"/>
                      </a:lnTo>
                      <a:lnTo>
                        <a:pt x="131" y="58"/>
                      </a:lnTo>
                      <a:lnTo>
                        <a:pt x="131" y="61"/>
                      </a:lnTo>
                      <a:lnTo>
                        <a:pt x="129" y="60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  <p:sp>
              <p:nvSpPr>
                <p:cNvPr id="104" name="Freeform 128"/>
                <p:cNvSpPr>
                  <a:spLocks/>
                </p:cNvSpPr>
                <p:nvPr/>
              </p:nvSpPr>
              <p:spPr bwMode="auto">
                <a:xfrm>
                  <a:off x="7138987" y="2196307"/>
                  <a:ext cx="180975" cy="320675"/>
                </a:xfrm>
                <a:custGeom>
                  <a:avLst/>
                  <a:gdLst>
                    <a:gd name="T0" fmla="*/ 51 w 114"/>
                    <a:gd name="T1" fmla="*/ 198 h 202"/>
                    <a:gd name="T2" fmla="*/ 46 w 114"/>
                    <a:gd name="T3" fmla="*/ 201 h 202"/>
                    <a:gd name="T4" fmla="*/ 42 w 114"/>
                    <a:gd name="T5" fmla="*/ 202 h 202"/>
                    <a:gd name="T6" fmla="*/ 41 w 114"/>
                    <a:gd name="T7" fmla="*/ 201 h 202"/>
                    <a:gd name="T8" fmla="*/ 42 w 114"/>
                    <a:gd name="T9" fmla="*/ 195 h 202"/>
                    <a:gd name="T10" fmla="*/ 45 w 114"/>
                    <a:gd name="T11" fmla="*/ 187 h 202"/>
                    <a:gd name="T12" fmla="*/ 46 w 114"/>
                    <a:gd name="T13" fmla="*/ 182 h 202"/>
                    <a:gd name="T14" fmla="*/ 44 w 114"/>
                    <a:gd name="T15" fmla="*/ 180 h 202"/>
                    <a:gd name="T16" fmla="*/ 17 w 114"/>
                    <a:gd name="T17" fmla="*/ 170 h 202"/>
                    <a:gd name="T18" fmla="*/ 3 w 114"/>
                    <a:gd name="T19" fmla="*/ 157 h 202"/>
                    <a:gd name="T20" fmla="*/ 0 w 114"/>
                    <a:gd name="T21" fmla="*/ 144 h 202"/>
                    <a:gd name="T22" fmla="*/ 8 w 114"/>
                    <a:gd name="T23" fmla="*/ 130 h 202"/>
                    <a:gd name="T24" fmla="*/ 14 w 114"/>
                    <a:gd name="T25" fmla="*/ 126 h 202"/>
                    <a:gd name="T26" fmla="*/ 28 w 114"/>
                    <a:gd name="T27" fmla="*/ 123 h 202"/>
                    <a:gd name="T28" fmla="*/ 34 w 114"/>
                    <a:gd name="T29" fmla="*/ 115 h 202"/>
                    <a:gd name="T30" fmla="*/ 56 w 114"/>
                    <a:gd name="T31" fmla="*/ 101 h 202"/>
                    <a:gd name="T32" fmla="*/ 58 w 114"/>
                    <a:gd name="T33" fmla="*/ 100 h 202"/>
                    <a:gd name="T34" fmla="*/ 53 w 114"/>
                    <a:gd name="T35" fmla="*/ 95 h 202"/>
                    <a:gd name="T36" fmla="*/ 27 w 114"/>
                    <a:gd name="T37" fmla="*/ 66 h 202"/>
                    <a:gd name="T38" fmla="*/ 25 w 114"/>
                    <a:gd name="T39" fmla="*/ 65 h 202"/>
                    <a:gd name="T40" fmla="*/ 25 w 114"/>
                    <a:gd name="T41" fmla="*/ 51 h 202"/>
                    <a:gd name="T42" fmla="*/ 30 w 114"/>
                    <a:gd name="T43" fmla="*/ 48 h 202"/>
                    <a:gd name="T44" fmla="*/ 34 w 114"/>
                    <a:gd name="T45" fmla="*/ 42 h 202"/>
                    <a:gd name="T46" fmla="*/ 34 w 114"/>
                    <a:gd name="T47" fmla="*/ 39 h 202"/>
                    <a:gd name="T48" fmla="*/ 31 w 114"/>
                    <a:gd name="T49" fmla="*/ 35 h 202"/>
                    <a:gd name="T50" fmla="*/ 30 w 114"/>
                    <a:gd name="T51" fmla="*/ 32 h 202"/>
                    <a:gd name="T52" fmla="*/ 31 w 114"/>
                    <a:gd name="T53" fmla="*/ 29 h 202"/>
                    <a:gd name="T54" fmla="*/ 46 w 114"/>
                    <a:gd name="T55" fmla="*/ 15 h 202"/>
                    <a:gd name="T56" fmla="*/ 48 w 114"/>
                    <a:gd name="T57" fmla="*/ 13 h 202"/>
                    <a:gd name="T58" fmla="*/ 48 w 114"/>
                    <a:gd name="T59" fmla="*/ 10 h 202"/>
                    <a:gd name="T60" fmla="*/ 53 w 114"/>
                    <a:gd name="T61" fmla="*/ 3 h 202"/>
                    <a:gd name="T62" fmla="*/ 60 w 114"/>
                    <a:gd name="T63" fmla="*/ 1 h 202"/>
                    <a:gd name="T64" fmla="*/ 88 w 114"/>
                    <a:gd name="T65" fmla="*/ 17 h 202"/>
                    <a:gd name="T66" fmla="*/ 114 w 114"/>
                    <a:gd name="T67" fmla="*/ 31 h 202"/>
                    <a:gd name="T68" fmla="*/ 107 w 114"/>
                    <a:gd name="T69" fmla="*/ 53 h 202"/>
                    <a:gd name="T70" fmla="*/ 100 w 114"/>
                    <a:gd name="T71" fmla="*/ 58 h 202"/>
                    <a:gd name="T72" fmla="*/ 100 w 114"/>
                    <a:gd name="T73" fmla="*/ 56 h 202"/>
                    <a:gd name="T74" fmla="*/ 100 w 114"/>
                    <a:gd name="T75" fmla="*/ 53 h 202"/>
                    <a:gd name="T76" fmla="*/ 98 w 114"/>
                    <a:gd name="T77" fmla="*/ 55 h 202"/>
                    <a:gd name="T78" fmla="*/ 90 w 114"/>
                    <a:gd name="T79" fmla="*/ 67 h 202"/>
                    <a:gd name="T80" fmla="*/ 90 w 114"/>
                    <a:gd name="T81" fmla="*/ 74 h 202"/>
                    <a:gd name="T82" fmla="*/ 94 w 114"/>
                    <a:gd name="T83" fmla="*/ 77 h 202"/>
                    <a:gd name="T84" fmla="*/ 107 w 114"/>
                    <a:gd name="T85" fmla="*/ 74 h 202"/>
                    <a:gd name="T86" fmla="*/ 109 w 114"/>
                    <a:gd name="T87" fmla="*/ 76 h 202"/>
                    <a:gd name="T88" fmla="*/ 105 w 114"/>
                    <a:gd name="T89" fmla="*/ 109 h 202"/>
                    <a:gd name="T90" fmla="*/ 101 w 114"/>
                    <a:gd name="T91" fmla="*/ 130 h 202"/>
                    <a:gd name="T92" fmla="*/ 102 w 114"/>
                    <a:gd name="T93" fmla="*/ 118 h 202"/>
                    <a:gd name="T94" fmla="*/ 104 w 114"/>
                    <a:gd name="T95" fmla="*/ 108 h 202"/>
                    <a:gd name="T96" fmla="*/ 102 w 114"/>
                    <a:gd name="T97" fmla="*/ 108 h 202"/>
                    <a:gd name="T98" fmla="*/ 95 w 114"/>
                    <a:gd name="T99" fmla="*/ 130 h 202"/>
                    <a:gd name="T100" fmla="*/ 97 w 114"/>
                    <a:gd name="T101" fmla="*/ 135 h 202"/>
                    <a:gd name="T102" fmla="*/ 97 w 114"/>
                    <a:gd name="T103" fmla="*/ 137 h 202"/>
                    <a:gd name="T104" fmla="*/ 86 w 114"/>
                    <a:gd name="T105" fmla="*/ 149 h 202"/>
                    <a:gd name="T106" fmla="*/ 79 w 114"/>
                    <a:gd name="T107" fmla="*/ 157 h 202"/>
                    <a:gd name="T108" fmla="*/ 77 w 114"/>
                    <a:gd name="T109" fmla="*/ 163 h 202"/>
                    <a:gd name="T110" fmla="*/ 79 w 114"/>
                    <a:gd name="T111" fmla="*/ 165 h 202"/>
                    <a:gd name="T112" fmla="*/ 72 w 114"/>
                    <a:gd name="T113" fmla="*/ 170 h 202"/>
                    <a:gd name="T114" fmla="*/ 72 w 114"/>
                    <a:gd name="T115" fmla="*/ 167 h 202"/>
                    <a:gd name="T116" fmla="*/ 62 w 114"/>
                    <a:gd name="T117" fmla="*/ 171 h 202"/>
                    <a:gd name="T118" fmla="*/ 65 w 114"/>
                    <a:gd name="T119" fmla="*/ 173 h 202"/>
                    <a:gd name="T120" fmla="*/ 62 w 114"/>
                    <a:gd name="T121" fmla="*/ 180 h 2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14" h="202">
                      <a:moveTo>
                        <a:pt x="58" y="188"/>
                      </a:moveTo>
                      <a:lnTo>
                        <a:pt x="55" y="192"/>
                      </a:lnTo>
                      <a:lnTo>
                        <a:pt x="51" y="196"/>
                      </a:lnTo>
                      <a:lnTo>
                        <a:pt x="51" y="198"/>
                      </a:lnTo>
                      <a:lnTo>
                        <a:pt x="51" y="198"/>
                      </a:lnTo>
                      <a:lnTo>
                        <a:pt x="49" y="199"/>
                      </a:lnTo>
                      <a:lnTo>
                        <a:pt x="49" y="199"/>
                      </a:lnTo>
                      <a:lnTo>
                        <a:pt x="46" y="201"/>
                      </a:lnTo>
                      <a:lnTo>
                        <a:pt x="45" y="201"/>
                      </a:lnTo>
                      <a:lnTo>
                        <a:pt x="44" y="201"/>
                      </a:lnTo>
                      <a:lnTo>
                        <a:pt x="42" y="202"/>
                      </a:lnTo>
                      <a:lnTo>
                        <a:pt x="42" y="202"/>
                      </a:lnTo>
                      <a:lnTo>
                        <a:pt x="42" y="202"/>
                      </a:lnTo>
                      <a:lnTo>
                        <a:pt x="41" y="201"/>
                      </a:lnTo>
                      <a:lnTo>
                        <a:pt x="41" y="201"/>
                      </a:lnTo>
                      <a:lnTo>
                        <a:pt x="41" y="201"/>
                      </a:lnTo>
                      <a:lnTo>
                        <a:pt x="41" y="201"/>
                      </a:lnTo>
                      <a:lnTo>
                        <a:pt x="41" y="196"/>
                      </a:lnTo>
                      <a:lnTo>
                        <a:pt x="41" y="196"/>
                      </a:lnTo>
                      <a:lnTo>
                        <a:pt x="42" y="195"/>
                      </a:lnTo>
                      <a:lnTo>
                        <a:pt x="42" y="194"/>
                      </a:lnTo>
                      <a:lnTo>
                        <a:pt x="44" y="192"/>
                      </a:lnTo>
                      <a:lnTo>
                        <a:pt x="45" y="189"/>
                      </a:lnTo>
                      <a:lnTo>
                        <a:pt x="45" y="187"/>
                      </a:lnTo>
                      <a:lnTo>
                        <a:pt x="46" y="187"/>
                      </a:lnTo>
                      <a:lnTo>
                        <a:pt x="46" y="184"/>
                      </a:lnTo>
                      <a:lnTo>
                        <a:pt x="46" y="184"/>
                      </a:lnTo>
                      <a:lnTo>
                        <a:pt x="46" y="182"/>
                      </a:lnTo>
                      <a:lnTo>
                        <a:pt x="46" y="182"/>
                      </a:lnTo>
                      <a:lnTo>
                        <a:pt x="46" y="181"/>
                      </a:lnTo>
                      <a:lnTo>
                        <a:pt x="45" y="181"/>
                      </a:lnTo>
                      <a:lnTo>
                        <a:pt x="44" y="180"/>
                      </a:lnTo>
                      <a:lnTo>
                        <a:pt x="35" y="177"/>
                      </a:lnTo>
                      <a:lnTo>
                        <a:pt x="32" y="178"/>
                      </a:lnTo>
                      <a:lnTo>
                        <a:pt x="27" y="175"/>
                      </a:lnTo>
                      <a:lnTo>
                        <a:pt x="17" y="170"/>
                      </a:lnTo>
                      <a:lnTo>
                        <a:pt x="13" y="165"/>
                      </a:lnTo>
                      <a:lnTo>
                        <a:pt x="10" y="164"/>
                      </a:lnTo>
                      <a:lnTo>
                        <a:pt x="10" y="164"/>
                      </a:lnTo>
                      <a:lnTo>
                        <a:pt x="3" y="157"/>
                      </a:lnTo>
                      <a:lnTo>
                        <a:pt x="1" y="157"/>
                      </a:lnTo>
                      <a:lnTo>
                        <a:pt x="1" y="156"/>
                      </a:lnTo>
                      <a:lnTo>
                        <a:pt x="1" y="154"/>
                      </a:lnTo>
                      <a:lnTo>
                        <a:pt x="0" y="144"/>
                      </a:lnTo>
                      <a:lnTo>
                        <a:pt x="0" y="143"/>
                      </a:lnTo>
                      <a:lnTo>
                        <a:pt x="7" y="133"/>
                      </a:lnTo>
                      <a:lnTo>
                        <a:pt x="7" y="132"/>
                      </a:lnTo>
                      <a:lnTo>
                        <a:pt x="8" y="130"/>
                      </a:lnTo>
                      <a:lnTo>
                        <a:pt x="10" y="130"/>
                      </a:lnTo>
                      <a:lnTo>
                        <a:pt x="11" y="129"/>
                      </a:lnTo>
                      <a:lnTo>
                        <a:pt x="13" y="128"/>
                      </a:lnTo>
                      <a:lnTo>
                        <a:pt x="14" y="126"/>
                      </a:lnTo>
                      <a:lnTo>
                        <a:pt x="15" y="126"/>
                      </a:lnTo>
                      <a:lnTo>
                        <a:pt x="18" y="125"/>
                      </a:lnTo>
                      <a:lnTo>
                        <a:pt x="25" y="123"/>
                      </a:lnTo>
                      <a:lnTo>
                        <a:pt x="28" y="123"/>
                      </a:lnTo>
                      <a:lnTo>
                        <a:pt x="28" y="123"/>
                      </a:lnTo>
                      <a:lnTo>
                        <a:pt x="30" y="122"/>
                      </a:lnTo>
                      <a:lnTo>
                        <a:pt x="31" y="121"/>
                      </a:lnTo>
                      <a:lnTo>
                        <a:pt x="34" y="115"/>
                      </a:lnTo>
                      <a:lnTo>
                        <a:pt x="37" y="111"/>
                      </a:lnTo>
                      <a:lnTo>
                        <a:pt x="41" y="109"/>
                      </a:lnTo>
                      <a:lnTo>
                        <a:pt x="56" y="101"/>
                      </a:lnTo>
                      <a:lnTo>
                        <a:pt x="56" y="101"/>
                      </a:lnTo>
                      <a:lnTo>
                        <a:pt x="56" y="101"/>
                      </a:lnTo>
                      <a:lnTo>
                        <a:pt x="58" y="101"/>
                      </a:lnTo>
                      <a:lnTo>
                        <a:pt x="58" y="100"/>
                      </a:lnTo>
                      <a:lnTo>
                        <a:pt x="58" y="100"/>
                      </a:lnTo>
                      <a:lnTo>
                        <a:pt x="58" y="100"/>
                      </a:lnTo>
                      <a:lnTo>
                        <a:pt x="58" y="98"/>
                      </a:lnTo>
                      <a:lnTo>
                        <a:pt x="58" y="98"/>
                      </a:lnTo>
                      <a:lnTo>
                        <a:pt x="53" y="95"/>
                      </a:lnTo>
                      <a:lnTo>
                        <a:pt x="46" y="87"/>
                      </a:lnTo>
                      <a:lnTo>
                        <a:pt x="38" y="79"/>
                      </a:lnTo>
                      <a:lnTo>
                        <a:pt x="34" y="72"/>
                      </a:lnTo>
                      <a:lnTo>
                        <a:pt x="27" y="66"/>
                      </a:lnTo>
                      <a:lnTo>
                        <a:pt x="25" y="66"/>
                      </a:lnTo>
                      <a:lnTo>
                        <a:pt x="25" y="66"/>
                      </a:lnTo>
                      <a:lnTo>
                        <a:pt x="25" y="65"/>
                      </a:lnTo>
                      <a:lnTo>
                        <a:pt x="25" y="65"/>
                      </a:lnTo>
                      <a:lnTo>
                        <a:pt x="24" y="59"/>
                      </a:lnTo>
                      <a:lnTo>
                        <a:pt x="24" y="55"/>
                      </a:lnTo>
                      <a:lnTo>
                        <a:pt x="25" y="51"/>
                      </a:lnTo>
                      <a:lnTo>
                        <a:pt x="25" y="51"/>
                      </a:lnTo>
                      <a:lnTo>
                        <a:pt x="27" y="48"/>
                      </a:lnTo>
                      <a:lnTo>
                        <a:pt x="28" y="48"/>
                      </a:lnTo>
                      <a:lnTo>
                        <a:pt x="28" y="48"/>
                      </a:lnTo>
                      <a:lnTo>
                        <a:pt x="30" y="48"/>
                      </a:lnTo>
                      <a:lnTo>
                        <a:pt x="30" y="48"/>
                      </a:lnTo>
                      <a:lnTo>
                        <a:pt x="31" y="48"/>
                      </a:lnTo>
                      <a:lnTo>
                        <a:pt x="31" y="46"/>
                      </a:lnTo>
                      <a:lnTo>
                        <a:pt x="34" y="42"/>
                      </a:lnTo>
                      <a:lnTo>
                        <a:pt x="34" y="42"/>
                      </a:lnTo>
                      <a:lnTo>
                        <a:pt x="34" y="41"/>
                      </a:lnTo>
                      <a:lnTo>
                        <a:pt x="35" y="41"/>
                      </a:lnTo>
                      <a:lnTo>
                        <a:pt x="34" y="39"/>
                      </a:lnTo>
                      <a:lnTo>
                        <a:pt x="32" y="38"/>
                      </a:lnTo>
                      <a:lnTo>
                        <a:pt x="32" y="36"/>
                      </a:lnTo>
                      <a:lnTo>
                        <a:pt x="32" y="36"/>
                      </a:lnTo>
                      <a:lnTo>
                        <a:pt x="31" y="35"/>
                      </a:lnTo>
                      <a:lnTo>
                        <a:pt x="31" y="35"/>
                      </a:lnTo>
                      <a:lnTo>
                        <a:pt x="30" y="35"/>
                      </a:lnTo>
                      <a:lnTo>
                        <a:pt x="30" y="32"/>
                      </a:lnTo>
                      <a:lnTo>
                        <a:pt x="30" y="32"/>
                      </a:lnTo>
                      <a:lnTo>
                        <a:pt x="30" y="31"/>
                      </a:lnTo>
                      <a:lnTo>
                        <a:pt x="30" y="31"/>
                      </a:lnTo>
                      <a:lnTo>
                        <a:pt x="31" y="29"/>
                      </a:lnTo>
                      <a:lnTo>
                        <a:pt x="31" y="29"/>
                      </a:lnTo>
                      <a:lnTo>
                        <a:pt x="32" y="28"/>
                      </a:lnTo>
                      <a:lnTo>
                        <a:pt x="37" y="27"/>
                      </a:lnTo>
                      <a:lnTo>
                        <a:pt x="39" y="24"/>
                      </a:lnTo>
                      <a:lnTo>
                        <a:pt x="46" y="15"/>
                      </a:lnTo>
                      <a:lnTo>
                        <a:pt x="46" y="14"/>
                      </a:lnTo>
                      <a:lnTo>
                        <a:pt x="48" y="14"/>
                      </a:lnTo>
                      <a:lnTo>
                        <a:pt x="48" y="13"/>
                      </a:lnTo>
                      <a:lnTo>
                        <a:pt x="48" y="13"/>
                      </a:lnTo>
                      <a:lnTo>
                        <a:pt x="48" y="11"/>
                      </a:lnTo>
                      <a:lnTo>
                        <a:pt x="48" y="11"/>
                      </a:lnTo>
                      <a:lnTo>
                        <a:pt x="48" y="10"/>
                      </a:lnTo>
                      <a:lnTo>
                        <a:pt x="48" y="10"/>
                      </a:lnTo>
                      <a:lnTo>
                        <a:pt x="51" y="7"/>
                      </a:lnTo>
                      <a:lnTo>
                        <a:pt x="51" y="6"/>
                      </a:lnTo>
                      <a:lnTo>
                        <a:pt x="53" y="4"/>
                      </a:lnTo>
                      <a:lnTo>
                        <a:pt x="53" y="3"/>
                      </a:lnTo>
                      <a:lnTo>
                        <a:pt x="56" y="1"/>
                      </a:lnTo>
                      <a:lnTo>
                        <a:pt x="59" y="0"/>
                      </a:lnTo>
                      <a:lnTo>
                        <a:pt x="59" y="1"/>
                      </a:lnTo>
                      <a:lnTo>
                        <a:pt x="60" y="1"/>
                      </a:lnTo>
                      <a:lnTo>
                        <a:pt x="69" y="6"/>
                      </a:lnTo>
                      <a:lnTo>
                        <a:pt x="73" y="8"/>
                      </a:lnTo>
                      <a:lnTo>
                        <a:pt x="84" y="14"/>
                      </a:lnTo>
                      <a:lnTo>
                        <a:pt x="88" y="17"/>
                      </a:lnTo>
                      <a:lnTo>
                        <a:pt x="104" y="25"/>
                      </a:lnTo>
                      <a:lnTo>
                        <a:pt x="107" y="27"/>
                      </a:lnTo>
                      <a:lnTo>
                        <a:pt x="111" y="29"/>
                      </a:lnTo>
                      <a:lnTo>
                        <a:pt x="114" y="31"/>
                      </a:lnTo>
                      <a:lnTo>
                        <a:pt x="114" y="32"/>
                      </a:lnTo>
                      <a:lnTo>
                        <a:pt x="114" y="34"/>
                      </a:lnTo>
                      <a:lnTo>
                        <a:pt x="112" y="38"/>
                      </a:lnTo>
                      <a:lnTo>
                        <a:pt x="107" y="53"/>
                      </a:lnTo>
                      <a:lnTo>
                        <a:pt x="105" y="53"/>
                      </a:lnTo>
                      <a:lnTo>
                        <a:pt x="101" y="58"/>
                      </a:lnTo>
                      <a:lnTo>
                        <a:pt x="100" y="58"/>
                      </a:lnTo>
                      <a:lnTo>
                        <a:pt x="100" y="58"/>
                      </a:lnTo>
                      <a:lnTo>
                        <a:pt x="98" y="58"/>
                      </a:lnTo>
                      <a:lnTo>
                        <a:pt x="98" y="58"/>
                      </a:lnTo>
                      <a:lnTo>
                        <a:pt x="100" y="56"/>
                      </a:lnTo>
                      <a:lnTo>
                        <a:pt x="100" y="56"/>
                      </a:lnTo>
                      <a:lnTo>
                        <a:pt x="100" y="55"/>
                      </a:lnTo>
                      <a:lnTo>
                        <a:pt x="101" y="55"/>
                      </a:lnTo>
                      <a:lnTo>
                        <a:pt x="101" y="53"/>
                      </a:lnTo>
                      <a:lnTo>
                        <a:pt x="100" y="53"/>
                      </a:lnTo>
                      <a:lnTo>
                        <a:pt x="100" y="53"/>
                      </a:lnTo>
                      <a:lnTo>
                        <a:pt x="100" y="53"/>
                      </a:lnTo>
                      <a:lnTo>
                        <a:pt x="98" y="55"/>
                      </a:lnTo>
                      <a:lnTo>
                        <a:pt x="98" y="55"/>
                      </a:lnTo>
                      <a:lnTo>
                        <a:pt x="94" y="59"/>
                      </a:lnTo>
                      <a:lnTo>
                        <a:pt x="94" y="59"/>
                      </a:lnTo>
                      <a:lnTo>
                        <a:pt x="94" y="60"/>
                      </a:lnTo>
                      <a:lnTo>
                        <a:pt x="90" y="67"/>
                      </a:lnTo>
                      <a:lnTo>
                        <a:pt x="90" y="69"/>
                      </a:lnTo>
                      <a:lnTo>
                        <a:pt x="88" y="73"/>
                      </a:lnTo>
                      <a:lnTo>
                        <a:pt x="88" y="73"/>
                      </a:lnTo>
                      <a:lnTo>
                        <a:pt x="90" y="74"/>
                      </a:lnTo>
                      <a:lnTo>
                        <a:pt x="90" y="74"/>
                      </a:lnTo>
                      <a:lnTo>
                        <a:pt x="90" y="76"/>
                      </a:lnTo>
                      <a:lnTo>
                        <a:pt x="93" y="76"/>
                      </a:lnTo>
                      <a:lnTo>
                        <a:pt x="94" y="77"/>
                      </a:lnTo>
                      <a:lnTo>
                        <a:pt x="101" y="76"/>
                      </a:lnTo>
                      <a:lnTo>
                        <a:pt x="107" y="76"/>
                      </a:lnTo>
                      <a:lnTo>
                        <a:pt x="107" y="74"/>
                      </a:lnTo>
                      <a:lnTo>
                        <a:pt x="107" y="74"/>
                      </a:lnTo>
                      <a:lnTo>
                        <a:pt x="108" y="74"/>
                      </a:lnTo>
                      <a:lnTo>
                        <a:pt x="108" y="74"/>
                      </a:lnTo>
                      <a:lnTo>
                        <a:pt x="108" y="74"/>
                      </a:lnTo>
                      <a:lnTo>
                        <a:pt x="109" y="76"/>
                      </a:lnTo>
                      <a:lnTo>
                        <a:pt x="111" y="80"/>
                      </a:lnTo>
                      <a:lnTo>
                        <a:pt x="111" y="80"/>
                      </a:lnTo>
                      <a:lnTo>
                        <a:pt x="111" y="88"/>
                      </a:lnTo>
                      <a:lnTo>
                        <a:pt x="105" y="109"/>
                      </a:lnTo>
                      <a:lnTo>
                        <a:pt x="102" y="130"/>
                      </a:lnTo>
                      <a:lnTo>
                        <a:pt x="101" y="132"/>
                      </a:lnTo>
                      <a:lnTo>
                        <a:pt x="101" y="132"/>
                      </a:lnTo>
                      <a:lnTo>
                        <a:pt x="101" y="130"/>
                      </a:lnTo>
                      <a:lnTo>
                        <a:pt x="101" y="130"/>
                      </a:lnTo>
                      <a:lnTo>
                        <a:pt x="101" y="123"/>
                      </a:lnTo>
                      <a:lnTo>
                        <a:pt x="101" y="122"/>
                      </a:lnTo>
                      <a:lnTo>
                        <a:pt x="102" y="118"/>
                      </a:lnTo>
                      <a:lnTo>
                        <a:pt x="104" y="116"/>
                      </a:lnTo>
                      <a:lnTo>
                        <a:pt x="104" y="115"/>
                      </a:lnTo>
                      <a:lnTo>
                        <a:pt x="104" y="112"/>
                      </a:lnTo>
                      <a:lnTo>
                        <a:pt x="104" y="108"/>
                      </a:lnTo>
                      <a:lnTo>
                        <a:pt x="104" y="108"/>
                      </a:lnTo>
                      <a:lnTo>
                        <a:pt x="104" y="108"/>
                      </a:lnTo>
                      <a:lnTo>
                        <a:pt x="104" y="108"/>
                      </a:lnTo>
                      <a:lnTo>
                        <a:pt x="102" y="108"/>
                      </a:lnTo>
                      <a:lnTo>
                        <a:pt x="102" y="108"/>
                      </a:lnTo>
                      <a:lnTo>
                        <a:pt x="102" y="109"/>
                      </a:lnTo>
                      <a:lnTo>
                        <a:pt x="101" y="116"/>
                      </a:lnTo>
                      <a:lnTo>
                        <a:pt x="95" y="130"/>
                      </a:lnTo>
                      <a:lnTo>
                        <a:pt x="95" y="133"/>
                      </a:lnTo>
                      <a:lnTo>
                        <a:pt x="95" y="133"/>
                      </a:lnTo>
                      <a:lnTo>
                        <a:pt x="95" y="135"/>
                      </a:lnTo>
                      <a:lnTo>
                        <a:pt x="97" y="135"/>
                      </a:lnTo>
                      <a:lnTo>
                        <a:pt x="97" y="136"/>
                      </a:lnTo>
                      <a:lnTo>
                        <a:pt x="97" y="136"/>
                      </a:lnTo>
                      <a:lnTo>
                        <a:pt x="97" y="136"/>
                      </a:lnTo>
                      <a:lnTo>
                        <a:pt x="97" y="137"/>
                      </a:lnTo>
                      <a:lnTo>
                        <a:pt x="97" y="137"/>
                      </a:lnTo>
                      <a:lnTo>
                        <a:pt x="95" y="140"/>
                      </a:lnTo>
                      <a:lnTo>
                        <a:pt x="93" y="142"/>
                      </a:lnTo>
                      <a:lnTo>
                        <a:pt x="86" y="149"/>
                      </a:lnTo>
                      <a:lnTo>
                        <a:pt x="80" y="153"/>
                      </a:lnTo>
                      <a:lnTo>
                        <a:pt x="81" y="156"/>
                      </a:lnTo>
                      <a:lnTo>
                        <a:pt x="80" y="158"/>
                      </a:lnTo>
                      <a:lnTo>
                        <a:pt x="79" y="157"/>
                      </a:lnTo>
                      <a:lnTo>
                        <a:pt x="77" y="158"/>
                      </a:lnTo>
                      <a:lnTo>
                        <a:pt x="76" y="160"/>
                      </a:lnTo>
                      <a:lnTo>
                        <a:pt x="76" y="161"/>
                      </a:lnTo>
                      <a:lnTo>
                        <a:pt x="77" y="163"/>
                      </a:lnTo>
                      <a:lnTo>
                        <a:pt x="77" y="163"/>
                      </a:lnTo>
                      <a:lnTo>
                        <a:pt x="77" y="163"/>
                      </a:lnTo>
                      <a:lnTo>
                        <a:pt x="79" y="165"/>
                      </a:lnTo>
                      <a:lnTo>
                        <a:pt x="79" y="165"/>
                      </a:lnTo>
                      <a:lnTo>
                        <a:pt x="79" y="165"/>
                      </a:lnTo>
                      <a:lnTo>
                        <a:pt x="79" y="165"/>
                      </a:lnTo>
                      <a:lnTo>
                        <a:pt x="79" y="165"/>
                      </a:lnTo>
                      <a:lnTo>
                        <a:pt x="72" y="170"/>
                      </a:lnTo>
                      <a:lnTo>
                        <a:pt x="72" y="170"/>
                      </a:lnTo>
                      <a:lnTo>
                        <a:pt x="72" y="170"/>
                      </a:lnTo>
                      <a:lnTo>
                        <a:pt x="72" y="167"/>
                      </a:lnTo>
                      <a:lnTo>
                        <a:pt x="72" y="167"/>
                      </a:lnTo>
                      <a:lnTo>
                        <a:pt x="69" y="167"/>
                      </a:lnTo>
                      <a:lnTo>
                        <a:pt x="63" y="170"/>
                      </a:lnTo>
                      <a:lnTo>
                        <a:pt x="63" y="170"/>
                      </a:lnTo>
                      <a:lnTo>
                        <a:pt x="62" y="171"/>
                      </a:lnTo>
                      <a:lnTo>
                        <a:pt x="62" y="171"/>
                      </a:lnTo>
                      <a:lnTo>
                        <a:pt x="62" y="171"/>
                      </a:lnTo>
                      <a:lnTo>
                        <a:pt x="63" y="171"/>
                      </a:lnTo>
                      <a:lnTo>
                        <a:pt x="65" y="173"/>
                      </a:lnTo>
                      <a:lnTo>
                        <a:pt x="66" y="173"/>
                      </a:lnTo>
                      <a:lnTo>
                        <a:pt x="66" y="174"/>
                      </a:lnTo>
                      <a:lnTo>
                        <a:pt x="66" y="174"/>
                      </a:lnTo>
                      <a:lnTo>
                        <a:pt x="62" y="180"/>
                      </a:lnTo>
                      <a:lnTo>
                        <a:pt x="58" y="188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  <p:sp>
              <p:nvSpPr>
                <p:cNvPr id="105" name="Freeform 104"/>
                <p:cNvSpPr>
                  <a:spLocks/>
                </p:cNvSpPr>
                <p:nvPr/>
              </p:nvSpPr>
              <p:spPr bwMode="auto">
                <a:xfrm>
                  <a:off x="5511800" y="1450182"/>
                  <a:ext cx="874713" cy="701675"/>
                </a:xfrm>
                <a:custGeom>
                  <a:avLst/>
                  <a:gdLst>
                    <a:gd name="connsiteX0" fmla="*/ 619125 w 874713"/>
                    <a:gd name="connsiteY0" fmla="*/ 171450 h 701675"/>
                    <a:gd name="connsiteX1" fmla="*/ 639763 w 874713"/>
                    <a:gd name="connsiteY1" fmla="*/ 182563 h 701675"/>
                    <a:gd name="connsiteX2" fmla="*/ 658813 w 874713"/>
                    <a:gd name="connsiteY2" fmla="*/ 188913 h 701675"/>
                    <a:gd name="connsiteX3" fmla="*/ 679451 w 874713"/>
                    <a:gd name="connsiteY3" fmla="*/ 196850 h 701675"/>
                    <a:gd name="connsiteX4" fmla="*/ 696913 w 874713"/>
                    <a:gd name="connsiteY4" fmla="*/ 212725 h 701675"/>
                    <a:gd name="connsiteX5" fmla="*/ 717551 w 874713"/>
                    <a:gd name="connsiteY5" fmla="*/ 215900 h 701675"/>
                    <a:gd name="connsiteX6" fmla="*/ 736601 w 874713"/>
                    <a:gd name="connsiteY6" fmla="*/ 225425 h 701675"/>
                    <a:gd name="connsiteX7" fmla="*/ 758826 w 874713"/>
                    <a:gd name="connsiteY7" fmla="*/ 231775 h 701675"/>
                    <a:gd name="connsiteX8" fmla="*/ 769938 w 874713"/>
                    <a:gd name="connsiteY8" fmla="*/ 252413 h 701675"/>
                    <a:gd name="connsiteX9" fmla="*/ 781051 w 874713"/>
                    <a:gd name="connsiteY9" fmla="*/ 268288 h 701675"/>
                    <a:gd name="connsiteX10" fmla="*/ 762001 w 874713"/>
                    <a:gd name="connsiteY10" fmla="*/ 276225 h 701675"/>
                    <a:gd name="connsiteX11" fmla="*/ 776288 w 874713"/>
                    <a:gd name="connsiteY11" fmla="*/ 292100 h 701675"/>
                    <a:gd name="connsiteX12" fmla="*/ 779463 w 874713"/>
                    <a:gd name="connsiteY12" fmla="*/ 320675 h 701675"/>
                    <a:gd name="connsiteX13" fmla="*/ 776288 w 874713"/>
                    <a:gd name="connsiteY13" fmla="*/ 349250 h 701675"/>
                    <a:gd name="connsiteX14" fmla="*/ 763588 w 874713"/>
                    <a:gd name="connsiteY14" fmla="*/ 368300 h 701675"/>
                    <a:gd name="connsiteX15" fmla="*/ 750888 w 874713"/>
                    <a:gd name="connsiteY15" fmla="*/ 382588 h 701675"/>
                    <a:gd name="connsiteX16" fmla="*/ 736601 w 874713"/>
                    <a:gd name="connsiteY16" fmla="*/ 398463 h 701675"/>
                    <a:gd name="connsiteX17" fmla="*/ 717551 w 874713"/>
                    <a:gd name="connsiteY17" fmla="*/ 407988 h 701675"/>
                    <a:gd name="connsiteX18" fmla="*/ 708026 w 874713"/>
                    <a:gd name="connsiteY18" fmla="*/ 430213 h 701675"/>
                    <a:gd name="connsiteX19" fmla="*/ 717551 w 874713"/>
                    <a:gd name="connsiteY19" fmla="*/ 450850 h 701675"/>
                    <a:gd name="connsiteX20" fmla="*/ 739776 w 874713"/>
                    <a:gd name="connsiteY20" fmla="*/ 457200 h 701675"/>
                    <a:gd name="connsiteX21" fmla="*/ 758826 w 874713"/>
                    <a:gd name="connsiteY21" fmla="*/ 442913 h 701675"/>
                    <a:gd name="connsiteX22" fmla="*/ 769938 w 874713"/>
                    <a:gd name="connsiteY22" fmla="*/ 425450 h 701675"/>
                    <a:gd name="connsiteX23" fmla="*/ 784226 w 874713"/>
                    <a:gd name="connsiteY23" fmla="*/ 409575 h 701675"/>
                    <a:gd name="connsiteX24" fmla="*/ 806451 w 874713"/>
                    <a:gd name="connsiteY24" fmla="*/ 403225 h 701675"/>
                    <a:gd name="connsiteX25" fmla="*/ 828676 w 874713"/>
                    <a:gd name="connsiteY25" fmla="*/ 398463 h 701675"/>
                    <a:gd name="connsiteX26" fmla="*/ 844551 w 874713"/>
                    <a:gd name="connsiteY26" fmla="*/ 412750 h 701675"/>
                    <a:gd name="connsiteX27" fmla="*/ 855663 w 874713"/>
                    <a:gd name="connsiteY27" fmla="*/ 434975 h 701675"/>
                    <a:gd name="connsiteX28" fmla="*/ 858838 w 874713"/>
                    <a:gd name="connsiteY28" fmla="*/ 461963 h 701675"/>
                    <a:gd name="connsiteX29" fmla="*/ 863601 w 874713"/>
                    <a:gd name="connsiteY29" fmla="*/ 485775 h 701675"/>
                    <a:gd name="connsiteX30" fmla="*/ 868363 w 874713"/>
                    <a:gd name="connsiteY30" fmla="*/ 512763 h 701675"/>
                    <a:gd name="connsiteX31" fmla="*/ 874713 w 874713"/>
                    <a:gd name="connsiteY31" fmla="*/ 528638 h 701675"/>
                    <a:gd name="connsiteX32" fmla="*/ 874713 w 874713"/>
                    <a:gd name="connsiteY32" fmla="*/ 530225 h 701675"/>
                    <a:gd name="connsiteX33" fmla="*/ 869951 w 874713"/>
                    <a:gd name="connsiteY33" fmla="*/ 542925 h 701675"/>
                    <a:gd name="connsiteX34" fmla="*/ 869951 w 874713"/>
                    <a:gd name="connsiteY34" fmla="*/ 546100 h 701675"/>
                    <a:gd name="connsiteX35" fmla="*/ 868363 w 874713"/>
                    <a:gd name="connsiteY35" fmla="*/ 554038 h 701675"/>
                    <a:gd name="connsiteX36" fmla="*/ 868363 w 874713"/>
                    <a:gd name="connsiteY36" fmla="*/ 557213 h 701675"/>
                    <a:gd name="connsiteX37" fmla="*/ 868363 w 874713"/>
                    <a:gd name="connsiteY37" fmla="*/ 558800 h 701675"/>
                    <a:gd name="connsiteX38" fmla="*/ 869951 w 874713"/>
                    <a:gd name="connsiteY38" fmla="*/ 561975 h 701675"/>
                    <a:gd name="connsiteX39" fmla="*/ 868363 w 874713"/>
                    <a:gd name="connsiteY39" fmla="*/ 563563 h 701675"/>
                    <a:gd name="connsiteX40" fmla="*/ 868363 w 874713"/>
                    <a:gd name="connsiteY40" fmla="*/ 568325 h 701675"/>
                    <a:gd name="connsiteX41" fmla="*/ 863601 w 874713"/>
                    <a:gd name="connsiteY41" fmla="*/ 579438 h 701675"/>
                    <a:gd name="connsiteX42" fmla="*/ 863601 w 874713"/>
                    <a:gd name="connsiteY42" fmla="*/ 581025 h 701675"/>
                    <a:gd name="connsiteX43" fmla="*/ 862013 w 874713"/>
                    <a:gd name="connsiteY43" fmla="*/ 584200 h 701675"/>
                    <a:gd name="connsiteX44" fmla="*/ 858838 w 874713"/>
                    <a:gd name="connsiteY44" fmla="*/ 587375 h 701675"/>
                    <a:gd name="connsiteX45" fmla="*/ 857251 w 874713"/>
                    <a:gd name="connsiteY45" fmla="*/ 590550 h 701675"/>
                    <a:gd name="connsiteX46" fmla="*/ 855663 w 874713"/>
                    <a:gd name="connsiteY46" fmla="*/ 590550 h 701675"/>
                    <a:gd name="connsiteX47" fmla="*/ 852488 w 874713"/>
                    <a:gd name="connsiteY47" fmla="*/ 590550 h 701675"/>
                    <a:gd name="connsiteX48" fmla="*/ 847726 w 874713"/>
                    <a:gd name="connsiteY48" fmla="*/ 576263 h 701675"/>
                    <a:gd name="connsiteX49" fmla="*/ 835026 w 874713"/>
                    <a:gd name="connsiteY49" fmla="*/ 590550 h 701675"/>
                    <a:gd name="connsiteX50" fmla="*/ 825501 w 874713"/>
                    <a:gd name="connsiteY50" fmla="*/ 612775 h 701675"/>
                    <a:gd name="connsiteX51" fmla="*/ 817563 w 874713"/>
                    <a:gd name="connsiteY51" fmla="*/ 617538 h 701675"/>
                    <a:gd name="connsiteX52" fmla="*/ 814388 w 874713"/>
                    <a:gd name="connsiteY52" fmla="*/ 617538 h 701675"/>
                    <a:gd name="connsiteX53" fmla="*/ 809626 w 874713"/>
                    <a:gd name="connsiteY53" fmla="*/ 619125 h 701675"/>
                    <a:gd name="connsiteX54" fmla="*/ 808038 w 874713"/>
                    <a:gd name="connsiteY54" fmla="*/ 619125 h 701675"/>
                    <a:gd name="connsiteX55" fmla="*/ 806451 w 874713"/>
                    <a:gd name="connsiteY55" fmla="*/ 619125 h 701675"/>
                    <a:gd name="connsiteX56" fmla="*/ 803276 w 874713"/>
                    <a:gd name="connsiteY56" fmla="*/ 622300 h 701675"/>
                    <a:gd name="connsiteX57" fmla="*/ 801688 w 874713"/>
                    <a:gd name="connsiteY57" fmla="*/ 623888 h 701675"/>
                    <a:gd name="connsiteX58" fmla="*/ 798513 w 874713"/>
                    <a:gd name="connsiteY58" fmla="*/ 628650 h 701675"/>
                    <a:gd name="connsiteX59" fmla="*/ 796926 w 874713"/>
                    <a:gd name="connsiteY59" fmla="*/ 630238 h 701675"/>
                    <a:gd name="connsiteX60" fmla="*/ 796926 w 874713"/>
                    <a:gd name="connsiteY60" fmla="*/ 635000 h 701675"/>
                    <a:gd name="connsiteX61" fmla="*/ 796926 w 874713"/>
                    <a:gd name="connsiteY61" fmla="*/ 636588 h 701675"/>
                    <a:gd name="connsiteX62" fmla="*/ 795338 w 874713"/>
                    <a:gd name="connsiteY62" fmla="*/ 641350 h 701675"/>
                    <a:gd name="connsiteX63" fmla="*/ 795338 w 874713"/>
                    <a:gd name="connsiteY63" fmla="*/ 650875 h 701675"/>
                    <a:gd name="connsiteX64" fmla="*/ 787401 w 874713"/>
                    <a:gd name="connsiteY64" fmla="*/ 668338 h 701675"/>
                    <a:gd name="connsiteX65" fmla="*/ 773113 w 874713"/>
                    <a:gd name="connsiteY65" fmla="*/ 681038 h 701675"/>
                    <a:gd name="connsiteX66" fmla="*/ 762001 w 874713"/>
                    <a:gd name="connsiteY66" fmla="*/ 700088 h 701675"/>
                    <a:gd name="connsiteX67" fmla="*/ 752476 w 874713"/>
                    <a:gd name="connsiteY67" fmla="*/ 696913 h 701675"/>
                    <a:gd name="connsiteX68" fmla="*/ 720726 w 874713"/>
                    <a:gd name="connsiteY68" fmla="*/ 700088 h 701675"/>
                    <a:gd name="connsiteX69" fmla="*/ 679451 w 874713"/>
                    <a:gd name="connsiteY69" fmla="*/ 700088 h 701675"/>
                    <a:gd name="connsiteX70" fmla="*/ 658813 w 874713"/>
                    <a:gd name="connsiteY70" fmla="*/ 701675 h 701675"/>
                    <a:gd name="connsiteX71" fmla="*/ 650876 w 874713"/>
                    <a:gd name="connsiteY71" fmla="*/ 701675 h 701675"/>
                    <a:gd name="connsiteX72" fmla="*/ 614363 w 874713"/>
                    <a:gd name="connsiteY72" fmla="*/ 701675 h 701675"/>
                    <a:gd name="connsiteX73" fmla="*/ 614363 w 874713"/>
                    <a:gd name="connsiteY73" fmla="*/ 695325 h 701675"/>
                    <a:gd name="connsiteX74" fmla="*/ 608013 w 874713"/>
                    <a:gd name="connsiteY74" fmla="*/ 695325 h 701675"/>
                    <a:gd name="connsiteX75" fmla="*/ 598488 w 874713"/>
                    <a:gd name="connsiteY75" fmla="*/ 695325 h 701675"/>
                    <a:gd name="connsiteX76" fmla="*/ 460375 w 874713"/>
                    <a:gd name="connsiteY76" fmla="*/ 695325 h 701675"/>
                    <a:gd name="connsiteX77" fmla="*/ 392113 w 874713"/>
                    <a:gd name="connsiteY77" fmla="*/ 695325 h 701675"/>
                    <a:gd name="connsiteX78" fmla="*/ 387350 w 874713"/>
                    <a:gd name="connsiteY78" fmla="*/ 695325 h 701675"/>
                    <a:gd name="connsiteX79" fmla="*/ 393700 w 874713"/>
                    <a:gd name="connsiteY79" fmla="*/ 690563 h 701675"/>
                    <a:gd name="connsiteX80" fmla="*/ 407988 w 874713"/>
                    <a:gd name="connsiteY80" fmla="*/ 673100 h 701675"/>
                    <a:gd name="connsiteX81" fmla="*/ 419100 w 874713"/>
                    <a:gd name="connsiteY81" fmla="*/ 652463 h 701675"/>
                    <a:gd name="connsiteX82" fmla="*/ 431800 w 874713"/>
                    <a:gd name="connsiteY82" fmla="*/ 636588 h 701675"/>
                    <a:gd name="connsiteX83" fmla="*/ 441325 w 874713"/>
                    <a:gd name="connsiteY83" fmla="*/ 617538 h 701675"/>
                    <a:gd name="connsiteX84" fmla="*/ 449263 w 874713"/>
                    <a:gd name="connsiteY84" fmla="*/ 595313 h 701675"/>
                    <a:gd name="connsiteX85" fmla="*/ 452438 w 874713"/>
                    <a:gd name="connsiteY85" fmla="*/ 565150 h 701675"/>
                    <a:gd name="connsiteX86" fmla="*/ 449263 w 874713"/>
                    <a:gd name="connsiteY86" fmla="*/ 534988 h 701675"/>
                    <a:gd name="connsiteX87" fmla="*/ 441325 w 874713"/>
                    <a:gd name="connsiteY87" fmla="*/ 512763 h 701675"/>
                    <a:gd name="connsiteX88" fmla="*/ 431800 w 874713"/>
                    <a:gd name="connsiteY88" fmla="*/ 492125 h 701675"/>
                    <a:gd name="connsiteX89" fmla="*/ 422275 w 874713"/>
                    <a:gd name="connsiteY89" fmla="*/ 469900 h 701675"/>
                    <a:gd name="connsiteX90" fmla="*/ 420688 w 874713"/>
                    <a:gd name="connsiteY90" fmla="*/ 442913 h 701675"/>
                    <a:gd name="connsiteX91" fmla="*/ 425450 w 874713"/>
                    <a:gd name="connsiteY91" fmla="*/ 414338 h 701675"/>
                    <a:gd name="connsiteX92" fmla="*/ 430213 w 874713"/>
                    <a:gd name="connsiteY92" fmla="*/ 387350 h 701675"/>
                    <a:gd name="connsiteX93" fmla="*/ 441325 w 874713"/>
                    <a:gd name="connsiteY93" fmla="*/ 369888 h 701675"/>
                    <a:gd name="connsiteX94" fmla="*/ 447675 w 874713"/>
                    <a:gd name="connsiteY94" fmla="*/ 346075 h 701675"/>
                    <a:gd name="connsiteX95" fmla="*/ 447675 w 874713"/>
                    <a:gd name="connsiteY95" fmla="*/ 314325 h 701675"/>
                    <a:gd name="connsiteX96" fmla="*/ 465138 w 874713"/>
                    <a:gd name="connsiteY96" fmla="*/ 304800 h 701675"/>
                    <a:gd name="connsiteX97" fmla="*/ 479425 w 874713"/>
                    <a:gd name="connsiteY97" fmla="*/ 285750 h 701675"/>
                    <a:gd name="connsiteX98" fmla="*/ 498475 w 874713"/>
                    <a:gd name="connsiteY98" fmla="*/ 279400 h 701675"/>
                    <a:gd name="connsiteX99" fmla="*/ 512763 w 874713"/>
                    <a:gd name="connsiteY99" fmla="*/ 260350 h 701675"/>
                    <a:gd name="connsiteX100" fmla="*/ 530225 w 874713"/>
                    <a:gd name="connsiteY100" fmla="*/ 249238 h 701675"/>
                    <a:gd name="connsiteX101" fmla="*/ 520700 w 874713"/>
                    <a:gd name="connsiteY101" fmla="*/ 271463 h 701675"/>
                    <a:gd name="connsiteX102" fmla="*/ 520700 w 874713"/>
                    <a:gd name="connsiteY102" fmla="*/ 303213 h 701675"/>
                    <a:gd name="connsiteX103" fmla="*/ 531813 w 874713"/>
                    <a:gd name="connsiteY103" fmla="*/ 282575 h 701675"/>
                    <a:gd name="connsiteX104" fmla="*/ 525463 w 874713"/>
                    <a:gd name="connsiteY104" fmla="*/ 304800 h 701675"/>
                    <a:gd name="connsiteX105" fmla="*/ 538163 w 874713"/>
                    <a:gd name="connsiteY105" fmla="*/ 290513 h 701675"/>
                    <a:gd name="connsiteX106" fmla="*/ 547688 w 874713"/>
                    <a:gd name="connsiteY106" fmla="*/ 268288 h 701675"/>
                    <a:gd name="connsiteX107" fmla="*/ 547688 w 874713"/>
                    <a:gd name="connsiteY107" fmla="*/ 238125 h 701675"/>
                    <a:gd name="connsiteX108" fmla="*/ 565150 w 874713"/>
                    <a:gd name="connsiteY108" fmla="*/ 230188 h 701675"/>
                    <a:gd name="connsiteX109" fmla="*/ 585788 w 874713"/>
                    <a:gd name="connsiteY109" fmla="*/ 219075 h 701675"/>
                    <a:gd name="connsiteX110" fmla="*/ 581025 w 874713"/>
                    <a:gd name="connsiteY110" fmla="*/ 193675 h 701675"/>
                    <a:gd name="connsiteX111" fmla="*/ 593725 w 874713"/>
                    <a:gd name="connsiteY111" fmla="*/ 176213 h 701675"/>
                    <a:gd name="connsiteX112" fmla="*/ 158750 w 874713"/>
                    <a:gd name="connsiteY112" fmla="*/ 0 h 701675"/>
                    <a:gd name="connsiteX113" fmla="*/ 187325 w 874713"/>
                    <a:gd name="connsiteY113" fmla="*/ 0 h 701675"/>
                    <a:gd name="connsiteX114" fmla="*/ 200025 w 874713"/>
                    <a:gd name="connsiteY114" fmla="*/ 14287 h 701675"/>
                    <a:gd name="connsiteX115" fmla="*/ 206375 w 874713"/>
                    <a:gd name="connsiteY115" fmla="*/ 38100 h 701675"/>
                    <a:gd name="connsiteX116" fmla="*/ 227012 w 874713"/>
                    <a:gd name="connsiteY116" fmla="*/ 30162 h 701675"/>
                    <a:gd name="connsiteX117" fmla="*/ 252412 w 874713"/>
                    <a:gd name="connsiteY117" fmla="*/ 26987 h 701675"/>
                    <a:gd name="connsiteX118" fmla="*/ 276225 w 874713"/>
                    <a:gd name="connsiteY118" fmla="*/ 30162 h 701675"/>
                    <a:gd name="connsiteX119" fmla="*/ 293687 w 874713"/>
                    <a:gd name="connsiteY119" fmla="*/ 41275 h 701675"/>
                    <a:gd name="connsiteX120" fmla="*/ 307975 w 874713"/>
                    <a:gd name="connsiteY120" fmla="*/ 55562 h 701675"/>
                    <a:gd name="connsiteX121" fmla="*/ 320675 w 874713"/>
                    <a:gd name="connsiteY121" fmla="*/ 71437 h 701675"/>
                    <a:gd name="connsiteX122" fmla="*/ 341312 w 874713"/>
                    <a:gd name="connsiteY122" fmla="*/ 80962 h 701675"/>
                    <a:gd name="connsiteX123" fmla="*/ 363537 w 874713"/>
                    <a:gd name="connsiteY123" fmla="*/ 74612 h 701675"/>
                    <a:gd name="connsiteX124" fmla="*/ 381000 w 874713"/>
                    <a:gd name="connsiteY124" fmla="*/ 87312 h 701675"/>
                    <a:gd name="connsiteX125" fmla="*/ 404813 w 874713"/>
                    <a:gd name="connsiteY125" fmla="*/ 88900 h 701675"/>
                    <a:gd name="connsiteX126" fmla="*/ 420688 w 874713"/>
                    <a:gd name="connsiteY126" fmla="*/ 74612 h 701675"/>
                    <a:gd name="connsiteX127" fmla="*/ 441325 w 874713"/>
                    <a:gd name="connsiteY127" fmla="*/ 66675 h 701675"/>
                    <a:gd name="connsiteX128" fmla="*/ 460375 w 874713"/>
                    <a:gd name="connsiteY128" fmla="*/ 55562 h 701675"/>
                    <a:gd name="connsiteX129" fmla="*/ 469900 w 874713"/>
                    <a:gd name="connsiteY129" fmla="*/ 58737 h 701675"/>
                    <a:gd name="connsiteX130" fmla="*/ 496888 w 874713"/>
                    <a:gd name="connsiteY130" fmla="*/ 53975 h 701675"/>
                    <a:gd name="connsiteX131" fmla="*/ 523875 w 874713"/>
                    <a:gd name="connsiteY131" fmla="*/ 55562 h 701675"/>
                    <a:gd name="connsiteX132" fmla="*/ 547688 w 874713"/>
                    <a:gd name="connsiteY132" fmla="*/ 52387 h 701675"/>
                    <a:gd name="connsiteX133" fmla="*/ 568325 w 874713"/>
                    <a:gd name="connsiteY133" fmla="*/ 47625 h 701675"/>
                    <a:gd name="connsiteX134" fmla="*/ 593725 w 874713"/>
                    <a:gd name="connsiteY134" fmla="*/ 44450 h 701675"/>
                    <a:gd name="connsiteX135" fmla="*/ 585788 w 874713"/>
                    <a:gd name="connsiteY135" fmla="*/ 66675 h 701675"/>
                    <a:gd name="connsiteX136" fmla="*/ 596900 w 874713"/>
                    <a:gd name="connsiteY136" fmla="*/ 82550 h 701675"/>
                    <a:gd name="connsiteX137" fmla="*/ 623888 w 874713"/>
                    <a:gd name="connsiteY137" fmla="*/ 80962 h 701675"/>
                    <a:gd name="connsiteX138" fmla="*/ 646113 w 874713"/>
                    <a:gd name="connsiteY138" fmla="*/ 88900 h 701675"/>
                    <a:gd name="connsiteX139" fmla="*/ 669925 w 874713"/>
                    <a:gd name="connsiteY139" fmla="*/ 88900 h 701675"/>
                    <a:gd name="connsiteX140" fmla="*/ 673100 w 874713"/>
                    <a:gd name="connsiteY140" fmla="*/ 120650 h 701675"/>
                    <a:gd name="connsiteX141" fmla="*/ 695325 w 874713"/>
                    <a:gd name="connsiteY141" fmla="*/ 125412 h 701675"/>
                    <a:gd name="connsiteX142" fmla="*/ 698500 w 874713"/>
                    <a:gd name="connsiteY142" fmla="*/ 152400 h 701675"/>
                    <a:gd name="connsiteX143" fmla="*/ 674688 w 874713"/>
                    <a:gd name="connsiteY143" fmla="*/ 147637 h 701675"/>
                    <a:gd name="connsiteX144" fmla="*/ 647700 w 874713"/>
                    <a:gd name="connsiteY144" fmla="*/ 144462 h 701675"/>
                    <a:gd name="connsiteX145" fmla="*/ 623888 w 874713"/>
                    <a:gd name="connsiteY145" fmla="*/ 147637 h 701675"/>
                    <a:gd name="connsiteX146" fmla="*/ 603250 w 874713"/>
                    <a:gd name="connsiteY146" fmla="*/ 155575 h 701675"/>
                    <a:gd name="connsiteX147" fmla="*/ 587375 w 874713"/>
                    <a:gd name="connsiteY147" fmla="*/ 142875 h 701675"/>
                    <a:gd name="connsiteX148" fmla="*/ 563563 w 874713"/>
                    <a:gd name="connsiteY148" fmla="*/ 138112 h 701675"/>
                    <a:gd name="connsiteX149" fmla="*/ 541338 w 874713"/>
                    <a:gd name="connsiteY149" fmla="*/ 131762 h 701675"/>
                    <a:gd name="connsiteX150" fmla="*/ 520700 w 874713"/>
                    <a:gd name="connsiteY150" fmla="*/ 141287 h 701675"/>
                    <a:gd name="connsiteX151" fmla="*/ 498475 w 874713"/>
                    <a:gd name="connsiteY151" fmla="*/ 147637 h 701675"/>
                    <a:gd name="connsiteX152" fmla="*/ 474663 w 874713"/>
                    <a:gd name="connsiteY152" fmla="*/ 149225 h 701675"/>
                    <a:gd name="connsiteX153" fmla="*/ 449263 w 874713"/>
                    <a:gd name="connsiteY153" fmla="*/ 152400 h 701675"/>
                    <a:gd name="connsiteX154" fmla="*/ 436563 w 874713"/>
                    <a:gd name="connsiteY154" fmla="*/ 171450 h 701675"/>
                    <a:gd name="connsiteX155" fmla="*/ 415925 w 874713"/>
                    <a:gd name="connsiteY155" fmla="*/ 180975 h 701675"/>
                    <a:gd name="connsiteX156" fmla="*/ 396875 w 874713"/>
                    <a:gd name="connsiteY156" fmla="*/ 188913 h 701675"/>
                    <a:gd name="connsiteX157" fmla="*/ 403225 w 874713"/>
                    <a:gd name="connsiteY157" fmla="*/ 166687 h 701675"/>
                    <a:gd name="connsiteX158" fmla="*/ 382587 w 874713"/>
                    <a:gd name="connsiteY158" fmla="*/ 174625 h 701675"/>
                    <a:gd name="connsiteX159" fmla="*/ 366712 w 874713"/>
                    <a:gd name="connsiteY159" fmla="*/ 187325 h 701675"/>
                    <a:gd name="connsiteX160" fmla="*/ 365125 w 874713"/>
                    <a:gd name="connsiteY160" fmla="*/ 158750 h 701675"/>
                    <a:gd name="connsiteX161" fmla="*/ 355600 w 874713"/>
                    <a:gd name="connsiteY161" fmla="*/ 180975 h 701675"/>
                    <a:gd name="connsiteX162" fmla="*/ 342900 w 874713"/>
                    <a:gd name="connsiteY162" fmla="*/ 193675 h 701675"/>
                    <a:gd name="connsiteX163" fmla="*/ 330200 w 874713"/>
                    <a:gd name="connsiteY163" fmla="*/ 212725 h 701675"/>
                    <a:gd name="connsiteX164" fmla="*/ 319087 w 874713"/>
                    <a:gd name="connsiteY164" fmla="*/ 231775 h 701675"/>
                    <a:gd name="connsiteX165" fmla="*/ 304800 w 874713"/>
                    <a:gd name="connsiteY165" fmla="*/ 247650 h 701675"/>
                    <a:gd name="connsiteX166" fmla="*/ 300037 w 874713"/>
                    <a:gd name="connsiteY166" fmla="*/ 254000 h 701675"/>
                    <a:gd name="connsiteX167" fmla="*/ 293687 w 874713"/>
                    <a:gd name="connsiteY167" fmla="*/ 247650 h 701675"/>
                    <a:gd name="connsiteX168" fmla="*/ 293687 w 874713"/>
                    <a:gd name="connsiteY168" fmla="*/ 246063 h 701675"/>
                    <a:gd name="connsiteX169" fmla="*/ 292100 w 874713"/>
                    <a:gd name="connsiteY169" fmla="*/ 246063 h 701675"/>
                    <a:gd name="connsiteX170" fmla="*/ 292100 w 874713"/>
                    <a:gd name="connsiteY170" fmla="*/ 242888 h 701675"/>
                    <a:gd name="connsiteX171" fmla="*/ 293687 w 874713"/>
                    <a:gd name="connsiteY171" fmla="*/ 238125 h 701675"/>
                    <a:gd name="connsiteX172" fmla="*/ 293687 w 874713"/>
                    <a:gd name="connsiteY172" fmla="*/ 234950 h 701675"/>
                    <a:gd name="connsiteX173" fmla="*/ 296862 w 874713"/>
                    <a:gd name="connsiteY173" fmla="*/ 231775 h 701675"/>
                    <a:gd name="connsiteX174" fmla="*/ 288925 w 874713"/>
                    <a:gd name="connsiteY174" fmla="*/ 223838 h 701675"/>
                    <a:gd name="connsiteX175" fmla="*/ 287337 w 874713"/>
                    <a:gd name="connsiteY175" fmla="*/ 223838 h 701675"/>
                    <a:gd name="connsiteX176" fmla="*/ 277812 w 874713"/>
                    <a:gd name="connsiteY176" fmla="*/ 223838 h 701675"/>
                    <a:gd name="connsiteX177" fmla="*/ 276225 w 874713"/>
                    <a:gd name="connsiteY177" fmla="*/ 223838 h 701675"/>
                    <a:gd name="connsiteX178" fmla="*/ 276225 w 874713"/>
                    <a:gd name="connsiteY178" fmla="*/ 220663 h 701675"/>
                    <a:gd name="connsiteX179" fmla="*/ 277812 w 874713"/>
                    <a:gd name="connsiteY179" fmla="*/ 212725 h 701675"/>
                    <a:gd name="connsiteX180" fmla="*/ 280987 w 874713"/>
                    <a:gd name="connsiteY180" fmla="*/ 209550 h 701675"/>
                    <a:gd name="connsiteX181" fmla="*/ 282575 w 874713"/>
                    <a:gd name="connsiteY181" fmla="*/ 209550 h 701675"/>
                    <a:gd name="connsiteX182" fmla="*/ 282575 w 874713"/>
                    <a:gd name="connsiteY182" fmla="*/ 207963 h 701675"/>
                    <a:gd name="connsiteX183" fmla="*/ 285750 w 874713"/>
                    <a:gd name="connsiteY183" fmla="*/ 207963 h 701675"/>
                    <a:gd name="connsiteX184" fmla="*/ 285750 w 874713"/>
                    <a:gd name="connsiteY184" fmla="*/ 204788 h 701675"/>
                    <a:gd name="connsiteX185" fmla="*/ 285750 w 874713"/>
                    <a:gd name="connsiteY185" fmla="*/ 203200 h 701675"/>
                    <a:gd name="connsiteX186" fmla="*/ 285750 w 874713"/>
                    <a:gd name="connsiteY186" fmla="*/ 180975 h 701675"/>
                    <a:gd name="connsiteX187" fmla="*/ 285750 w 874713"/>
                    <a:gd name="connsiteY187" fmla="*/ 177800 h 701675"/>
                    <a:gd name="connsiteX188" fmla="*/ 282575 w 874713"/>
                    <a:gd name="connsiteY188" fmla="*/ 176213 h 701675"/>
                    <a:gd name="connsiteX189" fmla="*/ 276225 w 874713"/>
                    <a:gd name="connsiteY189" fmla="*/ 171450 h 701675"/>
                    <a:gd name="connsiteX190" fmla="*/ 274637 w 874713"/>
                    <a:gd name="connsiteY190" fmla="*/ 169862 h 701675"/>
                    <a:gd name="connsiteX191" fmla="*/ 266700 w 874713"/>
                    <a:gd name="connsiteY191" fmla="*/ 169862 h 701675"/>
                    <a:gd name="connsiteX192" fmla="*/ 258762 w 874713"/>
                    <a:gd name="connsiteY192" fmla="*/ 166687 h 701675"/>
                    <a:gd name="connsiteX193" fmla="*/ 255587 w 874713"/>
                    <a:gd name="connsiteY193" fmla="*/ 166687 h 701675"/>
                    <a:gd name="connsiteX194" fmla="*/ 254000 w 874713"/>
                    <a:gd name="connsiteY194" fmla="*/ 166687 h 701675"/>
                    <a:gd name="connsiteX195" fmla="*/ 252412 w 874713"/>
                    <a:gd name="connsiteY195" fmla="*/ 165100 h 701675"/>
                    <a:gd name="connsiteX196" fmla="*/ 249237 w 874713"/>
                    <a:gd name="connsiteY196" fmla="*/ 163512 h 701675"/>
                    <a:gd name="connsiteX197" fmla="*/ 249237 w 874713"/>
                    <a:gd name="connsiteY197" fmla="*/ 160337 h 701675"/>
                    <a:gd name="connsiteX198" fmla="*/ 252412 w 874713"/>
                    <a:gd name="connsiteY198" fmla="*/ 160337 h 701675"/>
                    <a:gd name="connsiteX199" fmla="*/ 252412 w 874713"/>
                    <a:gd name="connsiteY199" fmla="*/ 158750 h 701675"/>
                    <a:gd name="connsiteX200" fmla="*/ 254000 w 874713"/>
                    <a:gd name="connsiteY200" fmla="*/ 155575 h 701675"/>
                    <a:gd name="connsiteX201" fmla="*/ 254000 w 874713"/>
                    <a:gd name="connsiteY201" fmla="*/ 153987 h 701675"/>
                    <a:gd name="connsiteX202" fmla="*/ 252412 w 874713"/>
                    <a:gd name="connsiteY202" fmla="*/ 147637 h 701675"/>
                    <a:gd name="connsiteX203" fmla="*/ 242887 w 874713"/>
                    <a:gd name="connsiteY203" fmla="*/ 144462 h 701675"/>
                    <a:gd name="connsiteX204" fmla="*/ 206375 w 874713"/>
                    <a:gd name="connsiteY204" fmla="*/ 136525 h 701675"/>
                    <a:gd name="connsiteX205" fmla="*/ 204787 w 874713"/>
                    <a:gd name="connsiteY205" fmla="*/ 136525 h 701675"/>
                    <a:gd name="connsiteX206" fmla="*/ 203200 w 874713"/>
                    <a:gd name="connsiteY206" fmla="*/ 136525 h 701675"/>
                    <a:gd name="connsiteX207" fmla="*/ 195262 w 874713"/>
                    <a:gd name="connsiteY207" fmla="*/ 138112 h 701675"/>
                    <a:gd name="connsiteX208" fmla="*/ 193675 w 874713"/>
                    <a:gd name="connsiteY208" fmla="*/ 138112 h 701675"/>
                    <a:gd name="connsiteX209" fmla="*/ 192087 w 874713"/>
                    <a:gd name="connsiteY209" fmla="*/ 138112 h 701675"/>
                    <a:gd name="connsiteX210" fmla="*/ 171450 w 874713"/>
                    <a:gd name="connsiteY210" fmla="*/ 133350 h 701675"/>
                    <a:gd name="connsiteX211" fmla="*/ 144462 w 874713"/>
                    <a:gd name="connsiteY211" fmla="*/ 120650 h 701675"/>
                    <a:gd name="connsiteX212" fmla="*/ 139700 w 874713"/>
                    <a:gd name="connsiteY212" fmla="*/ 120650 h 701675"/>
                    <a:gd name="connsiteX213" fmla="*/ 136525 w 874713"/>
                    <a:gd name="connsiteY213" fmla="*/ 119062 h 701675"/>
                    <a:gd name="connsiteX214" fmla="*/ 127000 w 874713"/>
                    <a:gd name="connsiteY214" fmla="*/ 115887 h 701675"/>
                    <a:gd name="connsiteX215" fmla="*/ 103187 w 874713"/>
                    <a:gd name="connsiteY215" fmla="*/ 111125 h 701675"/>
                    <a:gd name="connsiteX216" fmla="*/ 65087 w 874713"/>
                    <a:gd name="connsiteY216" fmla="*/ 103187 h 701675"/>
                    <a:gd name="connsiteX217" fmla="*/ 61912 w 874713"/>
                    <a:gd name="connsiteY217" fmla="*/ 100012 h 701675"/>
                    <a:gd name="connsiteX218" fmla="*/ 42862 w 874713"/>
                    <a:gd name="connsiteY218" fmla="*/ 96837 h 701675"/>
                    <a:gd name="connsiteX219" fmla="*/ 28575 w 874713"/>
                    <a:gd name="connsiteY219" fmla="*/ 88900 h 701675"/>
                    <a:gd name="connsiteX220" fmla="*/ 25400 w 874713"/>
                    <a:gd name="connsiteY220" fmla="*/ 77787 h 701675"/>
                    <a:gd name="connsiteX221" fmla="*/ 22225 w 874713"/>
                    <a:gd name="connsiteY221" fmla="*/ 76200 h 701675"/>
                    <a:gd name="connsiteX222" fmla="*/ 20637 w 874713"/>
                    <a:gd name="connsiteY222" fmla="*/ 74612 h 701675"/>
                    <a:gd name="connsiteX223" fmla="*/ 20637 w 874713"/>
                    <a:gd name="connsiteY223" fmla="*/ 71437 h 701675"/>
                    <a:gd name="connsiteX224" fmla="*/ 17462 w 874713"/>
                    <a:gd name="connsiteY224" fmla="*/ 71437 h 701675"/>
                    <a:gd name="connsiteX225" fmla="*/ 9525 w 874713"/>
                    <a:gd name="connsiteY225" fmla="*/ 69850 h 701675"/>
                    <a:gd name="connsiteX226" fmla="*/ 0 w 874713"/>
                    <a:gd name="connsiteY226" fmla="*/ 66675 h 701675"/>
                    <a:gd name="connsiteX227" fmla="*/ 0 w 874713"/>
                    <a:gd name="connsiteY227" fmla="*/ 65087 h 701675"/>
                    <a:gd name="connsiteX228" fmla="*/ 17462 w 874713"/>
                    <a:gd name="connsiteY228" fmla="*/ 58737 h 701675"/>
                    <a:gd name="connsiteX229" fmla="*/ 36512 w 874713"/>
                    <a:gd name="connsiteY229" fmla="*/ 49212 h 701675"/>
                    <a:gd name="connsiteX230" fmla="*/ 53975 w 874713"/>
                    <a:gd name="connsiteY230" fmla="*/ 38100 h 701675"/>
                    <a:gd name="connsiteX231" fmla="*/ 77787 w 874713"/>
                    <a:gd name="connsiteY231" fmla="*/ 36512 h 701675"/>
                    <a:gd name="connsiteX232" fmla="*/ 104775 w 874713"/>
                    <a:gd name="connsiteY232" fmla="*/ 31750 h 701675"/>
                    <a:gd name="connsiteX233" fmla="*/ 120650 w 874713"/>
                    <a:gd name="connsiteY233" fmla="*/ 20637 h 701675"/>
                    <a:gd name="connsiteX234" fmla="*/ 144462 w 874713"/>
                    <a:gd name="connsiteY234" fmla="*/ 14287 h 70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</a:cxnLst>
                  <a:rect l="l" t="t" r="r" b="b"/>
                  <a:pathLst>
                    <a:path w="874713" h="701675">
                      <a:moveTo>
                        <a:pt x="619125" y="171450"/>
                      </a:moveTo>
                      <a:lnTo>
                        <a:pt x="639763" y="182563"/>
                      </a:lnTo>
                      <a:lnTo>
                        <a:pt x="658813" y="188913"/>
                      </a:lnTo>
                      <a:lnTo>
                        <a:pt x="679451" y="196850"/>
                      </a:lnTo>
                      <a:lnTo>
                        <a:pt x="696913" y="212725"/>
                      </a:lnTo>
                      <a:lnTo>
                        <a:pt x="717551" y="215900"/>
                      </a:lnTo>
                      <a:lnTo>
                        <a:pt x="736601" y="225425"/>
                      </a:lnTo>
                      <a:lnTo>
                        <a:pt x="758826" y="231775"/>
                      </a:lnTo>
                      <a:lnTo>
                        <a:pt x="769938" y="252413"/>
                      </a:lnTo>
                      <a:lnTo>
                        <a:pt x="781051" y="268288"/>
                      </a:lnTo>
                      <a:lnTo>
                        <a:pt x="762001" y="276225"/>
                      </a:lnTo>
                      <a:lnTo>
                        <a:pt x="776288" y="292100"/>
                      </a:lnTo>
                      <a:lnTo>
                        <a:pt x="779463" y="320675"/>
                      </a:lnTo>
                      <a:lnTo>
                        <a:pt x="776288" y="349250"/>
                      </a:lnTo>
                      <a:lnTo>
                        <a:pt x="763588" y="368300"/>
                      </a:lnTo>
                      <a:lnTo>
                        <a:pt x="750888" y="382588"/>
                      </a:lnTo>
                      <a:lnTo>
                        <a:pt x="736601" y="398463"/>
                      </a:lnTo>
                      <a:lnTo>
                        <a:pt x="717551" y="407988"/>
                      </a:lnTo>
                      <a:lnTo>
                        <a:pt x="708026" y="430213"/>
                      </a:lnTo>
                      <a:lnTo>
                        <a:pt x="717551" y="450850"/>
                      </a:lnTo>
                      <a:lnTo>
                        <a:pt x="739776" y="457200"/>
                      </a:lnTo>
                      <a:lnTo>
                        <a:pt x="758826" y="442913"/>
                      </a:lnTo>
                      <a:lnTo>
                        <a:pt x="769938" y="425450"/>
                      </a:lnTo>
                      <a:lnTo>
                        <a:pt x="784226" y="409575"/>
                      </a:lnTo>
                      <a:lnTo>
                        <a:pt x="806451" y="403225"/>
                      </a:lnTo>
                      <a:lnTo>
                        <a:pt x="828676" y="398463"/>
                      </a:lnTo>
                      <a:lnTo>
                        <a:pt x="844551" y="412750"/>
                      </a:lnTo>
                      <a:lnTo>
                        <a:pt x="855663" y="434975"/>
                      </a:lnTo>
                      <a:lnTo>
                        <a:pt x="858838" y="461963"/>
                      </a:lnTo>
                      <a:lnTo>
                        <a:pt x="863601" y="485775"/>
                      </a:lnTo>
                      <a:lnTo>
                        <a:pt x="868363" y="512763"/>
                      </a:lnTo>
                      <a:lnTo>
                        <a:pt x="874713" y="528638"/>
                      </a:lnTo>
                      <a:lnTo>
                        <a:pt x="874713" y="530225"/>
                      </a:lnTo>
                      <a:lnTo>
                        <a:pt x="869951" y="542925"/>
                      </a:lnTo>
                      <a:lnTo>
                        <a:pt x="869951" y="546100"/>
                      </a:lnTo>
                      <a:lnTo>
                        <a:pt x="868363" y="554038"/>
                      </a:lnTo>
                      <a:lnTo>
                        <a:pt x="868363" y="557213"/>
                      </a:lnTo>
                      <a:lnTo>
                        <a:pt x="868363" y="558800"/>
                      </a:lnTo>
                      <a:lnTo>
                        <a:pt x="869951" y="561975"/>
                      </a:lnTo>
                      <a:lnTo>
                        <a:pt x="868363" y="563563"/>
                      </a:lnTo>
                      <a:lnTo>
                        <a:pt x="868363" y="568325"/>
                      </a:lnTo>
                      <a:lnTo>
                        <a:pt x="863601" y="579438"/>
                      </a:lnTo>
                      <a:lnTo>
                        <a:pt x="863601" y="581025"/>
                      </a:lnTo>
                      <a:lnTo>
                        <a:pt x="862013" y="584200"/>
                      </a:lnTo>
                      <a:lnTo>
                        <a:pt x="858838" y="587375"/>
                      </a:lnTo>
                      <a:lnTo>
                        <a:pt x="857251" y="590550"/>
                      </a:lnTo>
                      <a:lnTo>
                        <a:pt x="855663" y="590550"/>
                      </a:lnTo>
                      <a:lnTo>
                        <a:pt x="852488" y="590550"/>
                      </a:lnTo>
                      <a:lnTo>
                        <a:pt x="847726" y="576263"/>
                      </a:lnTo>
                      <a:lnTo>
                        <a:pt x="835026" y="590550"/>
                      </a:lnTo>
                      <a:lnTo>
                        <a:pt x="825501" y="612775"/>
                      </a:lnTo>
                      <a:lnTo>
                        <a:pt x="817563" y="617538"/>
                      </a:lnTo>
                      <a:lnTo>
                        <a:pt x="814388" y="617538"/>
                      </a:lnTo>
                      <a:lnTo>
                        <a:pt x="809626" y="619125"/>
                      </a:lnTo>
                      <a:lnTo>
                        <a:pt x="808038" y="619125"/>
                      </a:lnTo>
                      <a:lnTo>
                        <a:pt x="806451" y="619125"/>
                      </a:lnTo>
                      <a:lnTo>
                        <a:pt x="803276" y="622300"/>
                      </a:lnTo>
                      <a:lnTo>
                        <a:pt x="801688" y="623888"/>
                      </a:lnTo>
                      <a:lnTo>
                        <a:pt x="798513" y="628650"/>
                      </a:lnTo>
                      <a:lnTo>
                        <a:pt x="796926" y="630238"/>
                      </a:lnTo>
                      <a:lnTo>
                        <a:pt x="796926" y="635000"/>
                      </a:lnTo>
                      <a:lnTo>
                        <a:pt x="796926" y="636588"/>
                      </a:lnTo>
                      <a:lnTo>
                        <a:pt x="795338" y="641350"/>
                      </a:lnTo>
                      <a:lnTo>
                        <a:pt x="795338" y="650875"/>
                      </a:lnTo>
                      <a:lnTo>
                        <a:pt x="787401" y="668338"/>
                      </a:lnTo>
                      <a:lnTo>
                        <a:pt x="773113" y="681038"/>
                      </a:lnTo>
                      <a:lnTo>
                        <a:pt x="762001" y="700088"/>
                      </a:lnTo>
                      <a:lnTo>
                        <a:pt x="752476" y="696913"/>
                      </a:lnTo>
                      <a:lnTo>
                        <a:pt x="720726" y="700088"/>
                      </a:lnTo>
                      <a:lnTo>
                        <a:pt x="679451" y="700088"/>
                      </a:lnTo>
                      <a:lnTo>
                        <a:pt x="658813" y="701675"/>
                      </a:lnTo>
                      <a:lnTo>
                        <a:pt x="650876" y="701675"/>
                      </a:lnTo>
                      <a:lnTo>
                        <a:pt x="614363" y="701675"/>
                      </a:lnTo>
                      <a:lnTo>
                        <a:pt x="614363" y="695325"/>
                      </a:lnTo>
                      <a:lnTo>
                        <a:pt x="608013" y="695325"/>
                      </a:lnTo>
                      <a:lnTo>
                        <a:pt x="598488" y="695325"/>
                      </a:lnTo>
                      <a:lnTo>
                        <a:pt x="460375" y="695325"/>
                      </a:lnTo>
                      <a:lnTo>
                        <a:pt x="392113" y="695325"/>
                      </a:lnTo>
                      <a:lnTo>
                        <a:pt x="387350" y="695325"/>
                      </a:lnTo>
                      <a:lnTo>
                        <a:pt x="393700" y="690563"/>
                      </a:lnTo>
                      <a:lnTo>
                        <a:pt x="407988" y="673100"/>
                      </a:lnTo>
                      <a:lnTo>
                        <a:pt x="419100" y="652463"/>
                      </a:lnTo>
                      <a:lnTo>
                        <a:pt x="431800" y="636588"/>
                      </a:lnTo>
                      <a:lnTo>
                        <a:pt x="441325" y="617538"/>
                      </a:lnTo>
                      <a:lnTo>
                        <a:pt x="449263" y="595313"/>
                      </a:lnTo>
                      <a:lnTo>
                        <a:pt x="452438" y="565150"/>
                      </a:lnTo>
                      <a:lnTo>
                        <a:pt x="449263" y="534988"/>
                      </a:lnTo>
                      <a:lnTo>
                        <a:pt x="441325" y="512763"/>
                      </a:lnTo>
                      <a:lnTo>
                        <a:pt x="431800" y="492125"/>
                      </a:lnTo>
                      <a:lnTo>
                        <a:pt x="422275" y="469900"/>
                      </a:lnTo>
                      <a:lnTo>
                        <a:pt x="420688" y="442913"/>
                      </a:lnTo>
                      <a:lnTo>
                        <a:pt x="425450" y="414338"/>
                      </a:lnTo>
                      <a:lnTo>
                        <a:pt x="430213" y="387350"/>
                      </a:lnTo>
                      <a:lnTo>
                        <a:pt x="441325" y="369888"/>
                      </a:lnTo>
                      <a:lnTo>
                        <a:pt x="447675" y="346075"/>
                      </a:lnTo>
                      <a:lnTo>
                        <a:pt x="447675" y="314325"/>
                      </a:lnTo>
                      <a:lnTo>
                        <a:pt x="465138" y="304800"/>
                      </a:lnTo>
                      <a:lnTo>
                        <a:pt x="479425" y="285750"/>
                      </a:lnTo>
                      <a:lnTo>
                        <a:pt x="498475" y="279400"/>
                      </a:lnTo>
                      <a:lnTo>
                        <a:pt x="512763" y="260350"/>
                      </a:lnTo>
                      <a:lnTo>
                        <a:pt x="530225" y="249238"/>
                      </a:lnTo>
                      <a:lnTo>
                        <a:pt x="520700" y="271463"/>
                      </a:lnTo>
                      <a:lnTo>
                        <a:pt x="520700" y="303213"/>
                      </a:lnTo>
                      <a:lnTo>
                        <a:pt x="531813" y="282575"/>
                      </a:lnTo>
                      <a:lnTo>
                        <a:pt x="525463" y="304800"/>
                      </a:lnTo>
                      <a:lnTo>
                        <a:pt x="538163" y="290513"/>
                      </a:lnTo>
                      <a:lnTo>
                        <a:pt x="547688" y="268288"/>
                      </a:lnTo>
                      <a:lnTo>
                        <a:pt x="547688" y="238125"/>
                      </a:lnTo>
                      <a:lnTo>
                        <a:pt x="565150" y="230188"/>
                      </a:lnTo>
                      <a:lnTo>
                        <a:pt x="585788" y="219075"/>
                      </a:lnTo>
                      <a:lnTo>
                        <a:pt x="581025" y="193675"/>
                      </a:lnTo>
                      <a:lnTo>
                        <a:pt x="593725" y="176213"/>
                      </a:lnTo>
                      <a:close/>
                      <a:moveTo>
                        <a:pt x="158750" y="0"/>
                      </a:moveTo>
                      <a:lnTo>
                        <a:pt x="187325" y="0"/>
                      </a:lnTo>
                      <a:lnTo>
                        <a:pt x="200025" y="14287"/>
                      </a:lnTo>
                      <a:lnTo>
                        <a:pt x="206375" y="38100"/>
                      </a:lnTo>
                      <a:lnTo>
                        <a:pt x="227012" y="30162"/>
                      </a:lnTo>
                      <a:lnTo>
                        <a:pt x="252412" y="26987"/>
                      </a:lnTo>
                      <a:lnTo>
                        <a:pt x="276225" y="30162"/>
                      </a:lnTo>
                      <a:lnTo>
                        <a:pt x="293687" y="41275"/>
                      </a:lnTo>
                      <a:lnTo>
                        <a:pt x="307975" y="55562"/>
                      </a:lnTo>
                      <a:lnTo>
                        <a:pt x="320675" y="71437"/>
                      </a:lnTo>
                      <a:lnTo>
                        <a:pt x="341312" y="80962"/>
                      </a:lnTo>
                      <a:lnTo>
                        <a:pt x="363537" y="74612"/>
                      </a:lnTo>
                      <a:lnTo>
                        <a:pt x="381000" y="87312"/>
                      </a:lnTo>
                      <a:lnTo>
                        <a:pt x="404813" y="88900"/>
                      </a:lnTo>
                      <a:lnTo>
                        <a:pt x="420688" y="74612"/>
                      </a:lnTo>
                      <a:lnTo>
                        <a:pt x="441325" y="66675"/>
                      </a:lnTo>
                      <a:lnTo>
                        <a:pt x="460375" y="55562"/>
                      </a:lnTo>
                      <a:lnTo>
                        <a:pt x="469900" y="58737"/>
                      </a:lnTo>
                      <a:lnTo>
                        <a:pt x="496888" y="53975"/>
                      </a:lnTo>
                      <a:lnTo>
                        <a:pt x="523875" y="55562"/>
                      </a:lnTo>
                      <a:lnTo>
                        <a:pt x="547688" y="52387"/>
                      </a:lnTo>
                      <a:lnTo>
                        <a:pt x="568325" y="47625"/>
                      </a:lnTo>
                      <a:lnTo>
                        <a:pt x="593725" y="44450"/>
                      </a:lnTo>
                      <a:lnTo>
                        <a:pt x="585788" y="66675"/>
                      </a:lnTo>
                      <a:lnTo>
                        <a:pt x="596900" y="82550"/>
                      </a:lnTo>
                      <a:lnTo>
                        <a:pt x="623888" y="80962"/>
                      </a:lnTo>
                      <a:lnTo>
                        <a:pt x="646113" y="88900"/>
                      </a:lnTo>
                      <a:lnTo>
                        <a:pt x="669925" y="88900"/>
                      </a:lnTo>
                      <a:lnTo>
                        <a:pt x="673100" y="120650"/>
                      </a:lnTo>
                      <a:lnTo>
                        <a:pt x="695325" y="125412"/>
                      </a:lnTo>
                      <a:lnTo>
                        <a:pt x="698500" y="152400"/>
                      </a:lnTo>
                      <a:lnTo>
                        <a:pt x="674688" y="147637"/>
                      </a:lnTo>
                      <a:lnTo>
                        <a:pt x="647700" y="144462"/>
                      </a:lnTo>
                      <a:lnTo>
                        <a:pt x="623888" y="147637"/>
                      </a:lnTo>
                      <a:lnTo>
                        <a:pt x="603250" y="155575"/>
                      </a:lnTo>
                      <a:lnTo>
                        <a:pt x="587375" y="142875"/>
                      </a:lnTo>
                      <a:lnTo>
                        <a:pt x="563563" y="138112"/>
                      </a:lnTo>
                      <a:lnTo>
                        <a:pt x="541338" y="131762"/>
                      </a:lnTo>
                      <a:lnTo>
                        <a:pt x="520700" y="141287"/>
                      </a:lnTo>
                      <a:lnTo>
                        <a:pt x="498475" y="147637"/>
                      </a:lnTo>
                      <a:lnTo>
                        <a:pt x="474663" y="149225"/>
                      </a:lnTo>
                      <a:lnTo>
                        <a:pt x="449263" y="152400"/>
                      </a:lnTo>
                      <a:lnTo>
                        <a:pt x="436563" y="171450"/>
                      </a:lnTo>
                      <a:lnTo>
                        <a:pt x="415925" y="180975"/>
                      </a:lnTo>
                      <a:lnTo>
                        <a:pt x="396875" y="188913"/>
                      </a:lnTo>
                      <a:lnTo>
                        <a:pt x="403225" y="166687"/>
                      </a:lnTo>
                      <a:lnTo>
                        <a:pt x="382587" y="174625"/>
                      </a:lnTo>
                      <a:lnTo>
                        <a:pt x="366712" y="187325"/>
                      </a:lnTo>
                      <a:lnTo>
                        <a:pt x="365125" y="158750"/>
                      </a:lnTo>
                      <a:lnTo>
                        <a:pt x="355600" y="180975"/>
                      </a:lnTo>
                      <a:lnTo>
                        <a:pt x="342900" y="193675"/>
                      </a:lnTo>
                      <a:lnTo>
                        <a:pt x="330200" y="212725"/>
                      </a:lnTo>
                      <a:lnTo>
                        <a:pt x="319087" y="231775"/>
                      </a:lnTo>
                      <a:lnTo>
                        <a:pt x="304800" y="247650"/>
                      </a:lnTo>
                      <a:lnTo>
                        <a:pt x="300037" y="254000"/>
                      </a:lnTo>
                      <a:lnTo>
                        <a:pt x="293687" y="247650"/>
                      </a:lnTo>
                      <a:lnTo>
                        <a:pt x="293687" y="246063"/>
                      </a:lnTo>
                      <a:lnTo>
                        <a:pt x="292100" y="246063"/>
                      </a:lnTo>
                      <a:lnTo>
                        <a:pt x="292100" y="242888"/>
                      </a:lnTo>
                      <a:lnTo>
                        <a:pt x="293687" y="238125"/>
                      </a:lnTo>
                      <a:lnTo>
                        <a:pt x="293687" y="234950"/>
                      </a:lnTo>
                      <a:lnTo>
                        <a:pt x="296862" y="231775"/>
                      </a:lnTo>
                      <a:lnTo>
                        <a:pt x="288925" y="223838"/>
                      </a:lnTo>
                      <a:lnTo>
                        <a:pt x="287337" y="223838"/>
                      </a:lnTo>
                      <a:lnTo>
                        <a:pt x="277812" y="223838"/>
                      </a:lnTo>
                      <a:lnTo>
                        <a:pt x="276225" y="223838"/>
                      </a:lnTo>
                      <a:lnTo>
                        <a:pt x="276225" y="220663"/>
                      </a:lnTo>
                      <a:lnTo>
                        <a:pt x="277812" y="212725"/>
                      </a:lnTo>
                      <a:lnTo>
                        <a:pt x="280987" y="209550"/>
                      </a:lnTo>
                      <a:lnTo>
                        <a:pt x="282575" y="209550"/>
                      </a:lnTo>
                      <a:lnTo>
                        <a:pt x="282575" y="207963"/>
                      </a:lnTo>
                      <a:lnTo>
                        <a:pt x="285750" y="207963"/>
                      </a:lnTo>
                      <a:lnTo>
                        <a:pt x="285750" y="204788"/>
                      </a:lnTo>
                      <a:lnTo>
                        <a:pt x="285750" y="203200"/>
                      </a:lnTo>
                      <a:lnTo>
                        <a:pt x="285750" y="180975"/>
                      </a:lnTo>
                      <a:lnTo>
                        <a:pt x="285750" y="177800"/>
                      </a:lnTo>
                      <a:lnTo>
                        <a:pt x="282575" y="176213"/>
                      </a:lnTo>
                      <a:lnTo>
                        <a:pt x="276225" y="171450"/>
                      </a:lnTo>
                      <a:lnTo>
                        <a:pt x="274637" y="169862"/>
                      </a:lnTo>
                      <a:lnTo>
                        <a:pt x="266700" y="169862"/>
                      </a:lnTo>
                      <a:lnTo>
                        <a:pt x="258762" y="166687"/>
                      </a:lnTo>
                      <a:lnTo>
                        <a:pt x="255587" y="166687"/>
                      </a:lnTo>
                      <a:lnTo>
                        <a:pt x="254000" y="166687"/>
                      </a:lnTo>
                      <a:lnTo>
                        <a:pt x="252412" y="165100"/>
                      </a:lnTo>
                      <a:lnTo>
                        <a:pt x="249237" y="163512"/>
                      </a:lnTo>
                      <a:lnTo>
                        <a:pt x="249237" y="160337"/>
                      </a:lnTo>
                      <a:lnTo>
                        <a:pt x="252412" y="160337"/>
                      </a:lnTo>
                      <a:lnTo>
                        <a:pt x="252412" y="158750"/>
                      </a:lnTo>
                      <a:lnTo>
                        <a:pt x="254000" y="155575"/>
                      </a:lnTo>
                      <a:lnTo>
                        <a:pt x="254000" y="153987"/>
                      </a:lnTo>
                      <a:lnTo>
                        <a:pt x="252412" y="147637"/>
                      </a:lnTo>
                      <a:lnTo>
                        <a:pt x="242887" y="144462"/>
                      </a:lnTo>
                      <a:lnTo>
                        <a:pt x="206375" y="136525"/>
                      </a:lnTo>
                      <a:lnTo>
                        <a:pt x="204787" y="136525"/>
                      </a:lnTo>
                      <a:lnTo>
                        <a:pt x="203200" y="136525"/>
                      </a:lnTo>
                      <a:lnTo>
                        <a:pt x="195262" y="138112"/>
                      </a:lnTo>
                      <a:lnTo>
                        <a:pt x="193675" y="138112"/>
                      </a:lnTo>
                      <a:lnTo>
                        <a:pt x="192087" y="138112"/>
                      </a:lnTo>
                      <a:lnTo>
                        <a:pt x="171450" y="133350"/>
                      </a:lnTo>
                      <a:lnTo>
                        <a:pt x="144462" y="120650"/>
                      </a:lnTo>
                      <a:lnTo>
                        <a:pt x="139700" y="120650"/>
                      </a:lnTo>
                      <a:lnTo>
                        <a:pt x="136525" y="119062"/>
                      </a:lnTo>
                      <a:lnTo>
                        <a:pt x="127000" y="115887"/>
                      </a:lnTo>
                      <a:lnTo>
                        <a:pt x="103187" y="111125"/>
                      </a:lnTo>
                      <a:lnTo>
                        <a:pt x="65087" y="103187"/>
                      </a:lnTo>
                      <a:lnTo>
                        <a:pt x="61912" y="100012"/>
                      </a:lnTo>
                      <a:lnTo>
                        <a:pt x="42862" y="96837"/>
                      </a:lnTo>
                      <a:lnTo>
                        <a:pt x="28575" y="88900"/>
                      </a:lnTo>
                      <a:lnTo>
                        <a:pt x="25400" y="77787"/>
                      </a:lnTo>
                      <a:lnTo>
                        <a:pt x="22225" y="76200"/>
                      </a:lnTo>
                      <a:lnTo>
                        <a:pt x="20637" y="74612"/>
                      </a:lnTo>
                      <a:lnTo>
                        <a:pt x="20637" y="71437"/>
                      </a:lnTo>
                      <a:lnTo>
                        <a:pt x="17462" y="71437"/>
                      </a:lnTo>
                      <a:lnTo>
                        <a:pt x="9525" y="69850"/>
                      </a:lnTo>
                      <a:lnTo>
                        <a:pt x="0" y="66675"/>
                      </a:lnTo>
                      <a:lnTo>
                        <a:pt x="0" y="65087"/>
                      </a:lnTo>
                      <a:lnTo>
                        <a:pt x="17462" y="58737"/>
                      </a:lnTo>
                      <a:lnTo>
                        <a:pt x="36512" y="49212"/>
                      </a:lnTo>
                      <a:lnTo>
                        <a:pt x="53975" y="38100"/>
                      </a:lnTo>
                      <a:lnTo>
                        <a:pt x="77787" y="36512"/>
                      </a:lnTo>
                      <a:lnTo>
                        <a:pt x="104775" y="31750"/>
                      </a:lnTo>
                      <a:lnTo>
                        <a:pt x="120650" y="20637"/>
                      </a:lnTo>
                      <a:lnTo>
                        <a:pt x="144462" y="14287"/>
                      </a:lnTo>
                      <a:close/>
                    </a:path>
                  </a:pathLst>
                </a:custGeom>
                <a:grpFill/>
                <a:ln w="317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105000"/>
                    </a:lnSpc>
                    <a:buClr>
                      <a:schemeClr val="tx2"/>
                    </a:buClr>
                    <a:buSzPct val="120000"/>
                    <a:defRPr/>
                  </a:pPr>
                  <a:endParaRPr lang="en-US" sz="1333" dirty="0"/>
                </a:p>
              </p:txBody>
            </p:sp>
          </p:grpSp>
        </p:grpSp>
        <p:sp>
          <p:nvSpPr>
            <p:cNvPr id="95" name="Rectangle 146"/>
            <p:cNvSpPr>
              <a:spLocks noChangeArrowheads="1"/>
            </p:cNvSpPr>
            <p:nvPr/>
          </p:nvSpPr>
          <p:spPr bwMode="auto">
            <a:xfrm>
              <a:off x="3710110" y="4772735"/>
              <a:ext cx="217788" cy="3596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l" eaLnBrk="1" hangingPunct="1"/>
              <a:endParaRPr lang="en-US" sz="1333" dirty="0"/>
            </a:p>
          </p:txBody>
        </p:sp>
        <p:sp>
          <p:nvSpPr>
            <p:cNvPr id="97" name="Oval 257"/>
            <p:cNvSpPr>
              <a:spLocks noChangeArrowheads="1"/>
            </p:cNvSpPr>
            <p:nvPr/>
          </p:nvSpPr>
          <p:spPr bwMode="gray">
            <a:xfrm>
              <a:off x="3692439" y="4004665"/>
              <a:ext cx="103264" cy="103264"/>
            </a:xfrm>
            <a:prstGeom prst="ellipse">
              <a:avLst/>
            </a:prstGeom>
            <a:solidFill>
              <a:schemeClr val="tx2"/>
            </a:solidFill>
            <a:ln w="9525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>
              <a:lvl1pPr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algn="ctr" eaLnBrk="0" hangingPunct="0">
                <a:lnSpc>
                  <a:spcPct val="105000"/>
                </a:lnSpc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algn="ctr" eaLnBrk="0" fontAlgn="base" hangingPunct="0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en-US" sz="1333" dirty="0"/>
            </a:p>
          </p:txBody>
        </p:sp>
      </p:grpSp>
      <p:sp>
        <p:nvSpPr>
          <p:cNvPr id="121" name="Rectangle 10"/>
          <p:cNvSpPr txBox="1">
            <a:spLocks noChangeArrowheads="1"/>
          </p:cNvSpPr>
          <p:nvPr/>
        </p:nvSpPr>
        <p:spPr>
          <a:xfrm>
            <a:off x="1089653" y="1939001"/>
            <a:ext cx="5281084" cy="435264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r>
              <a:rPr lang="de-DE" sz="2133" b="1" dirty="0" smtClean="0">
                <a:sym typeface="Arial" pitchFamily="34" charset="0"/>
              </a:rPr>
              <a:t>Vision</a:t>
            </a:r>
          </a:p>
          <a:p>
            <a:r>
              <a:rPr lang="de-DE" sz="2133" dirty="0" smtClean="0">
                <a:sym typeface="Arial" pitchFamily="34" charset="0"/>
              </a:rPr>
              <a:t>Be the </a:t>
            </a:r>
            <a:r>
              <a:rPr lang="de-DE" sz="2133" b="1" dirty="0" smtClean="0">
                <a:solidFill>
                  <a:schemeClr val="tx2"/>
                </a:solidFill>
                <a:sym typeface="Arial" pitchFamily="34" charset="0"/>
              </a:rPr>
              <a:t>leading Jewish outdoor </a:t>
            </a:r>
            <a:r>
              <a:rPr lang="de-DE" sz="2133" dirty="0" smtClean="0">
                <a:sym typeface="Arial" pitchFamily="34" charset="0"/>
              </a:rPr>
              <a:t>camping experience in the </a:t>
            </a:r>
            <a:r>
              <a:rPr lang="de-DE" sz="2133" b="1" dirty="0" smtClean="0">
                <a:solidFill>
                  <a:schemeClr val="tx2"/>
                </a:solidFill>
                <a:sym typeface="Arial" pitchFamily="34" charset="0"/>
              </a:rPr>
              <a:t>Southwest,</a:t>
            </a:r>
            <a:r>
              <a:rPr lang="de-DE" sz="2133" dirty="0" smtClean="0">
                <a:sym typeface="Arial" pitchFamily="34" charset="0"/>
              </a:rPr>
              <a:t> and to be the </a:t>
            </a:r>
            <a:r>
              <a:rPr lang="de-DE" sz="2133" b="1" dirty="0" smtClean="0">
                <a:solidFill>
                  <a:schemeClr val="tx2"/>
                </a:solidFill>
                <a:sym typeface="Arial" pitchFamily="34" charset="0"/>
              </a:rPr>
              <a:t>first choice </a:t>
            </a:r>
            <a:r>
              <a:rPr lang="de-DE" sz="2133" dirty="0" smtClean="0">
                <a:sym typeface="Arial" pitchFamily="34" charset="0"/>
              </a:rPr>
              <a:t>of campers, staff, and community participants</a:t>
            </a:r>
          </a:p>
          <a:p>
            <a:pPr>
              <a:buFontTx/>
              <a:buNone/>
            </a:pPr>
            <a:r>
              <a:rPr lang="de-DE" sz="2133" b="1" dirty="0" smtClean="0">
                <a:sym typeface="Arial" pitchFamily="34" charset="0"/>
              </a:rPr>
              <a:t>Mission</a:t>
            </a:r>
            <a:endParaRPr lang="de-DE" sz="2133" b="1" dirty="0">
              <a:sym typeface="Arial" pitchFamily="34" charset="0"/>
            </a:endParaRPr>
          </a:p>
          <a:p>
            <a:r>
              <a:rPr lang="de-DE" sz="2133" dirty="0" smtClean="0">
                <a:sym typeface="Arial" pitchFamily="34" charset="0"/>
              </a:rPr>
              <a:t>To create </a:t>
            </a:r>
            <a:r>
              <a:rPr lang="de-DE" sz="2133" b="1" dirty="0" smtClean="0">
                <a:solidFill>
                  <a:schemeClr val="tx2"/>
                </a:solidFill>
                <a:sym typeface="Arial" pitchFamily="34" charset="0"/>
              </a:rPr>
              <a:t>sacred communities </a:t>
            </a:r>
            <a:r>
              <a:rPr lang="de-DE" sz="2133" dirty="0" smtClean="0">
                <a:sym typeface="Arial" pitchFamily="34" charset="0"/>
              </a:rPr>
              <a:t>of living Judaism that endow children, youth, and adults with a </a:t>
            </a:r>
            <a:r>
              <a:rPr lang="de-DE" sz="2133" b="1" dirty="0" smtClean="0">
                <a:solidFill>
                  <a:schemeClr val="tx2"/>
                </a:solidFill>
                <a:sym typeface="Arial" pitchFamily="34" charset="0"/>
              </a:rPr>
              <a:t>positive Jewish identity</a:t>
            </a:r>
            <a:r>
              <a:rPr lang="de-DE" sz="2133" dirty="0" smtClean="0">
                <a:sym typeface="Arial" pitchFamily="34" charset="0"/>
              </a:rPr>
              <a:t>, personal growth and self-esteem, and life-long friendships and role models</a:t>
            </a:r>
            <a:endParaRPr lang="de-DE" sz="2133" dirty="0">
              <a:sym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227679" y="5143068"/>
            <a:ext cx="2773836" cy="107721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29K camper age Jewish kid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11K in AZ alon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~ 3K attend camp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~400 attend Camp Stein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11321490" y="6455578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7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520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ym typeface="Arial" pitchFamily="34" charset="0"/>
              </a:rPr>
              <a:t>2015-2020 </a:t>
            </a:r>
            <a:r>
              <a:rPr lang="de-DE" dirty="0">
                <a:sym typeface="Arial" pitchFamily="34" charset="0"/>
              </a:rPr>
              <a:t>Strategic Plan</a:t>
            </a:r>
            <a:br>
              <a:rPr lang="de-DE" dirty="0">
                <a:sym typeface="Arial" pitchFamily="34" charset="0"/>
              </a:rPr>
            </a:br>
            <a:r>
              <a:rPr lang="de-DE" dirty="0">
                <a:solidFill>
                  <a:schemeClr val="accent2"/>
                </a:solidFill>
                <a:sym typeface="Arial" pitchFamily="34" charset="0"/>
              </a:rPr>
              <a:t>Vision and </a:t>
            </a:r>
            <a:r>
              <a:rPr lang="de-DE" dirty="0" smtClean="0">
                <a:solidFill>
                  <a:schemeClr val="accent2"/>
                </a:solidFill>
                <a:sym typeface="Arial" pitchFamily="34" charset="0"/>
              </a:rPr>
              <a:t>Miss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118C8B3-170A-4388-86C6-AF7A48BE52ED}" type="datetime1">
              <a:rPr lang="en-US" noProof="0" smtClean="0"/>
              <a:t>3/6/2015</a:t>
            </a:fld>
            <a:endParaRPr lang="de-DE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noProof="0" dirty="0" smtClean="0"/>
              <a:t>Camp Daisy and Harry Stein 2015-2020 Strategic Plan</a:t>
            </a:r>
            <a:endParaRPr lang="de-DE" noProof="0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gray">
          <a:xfrm>
            <a:off x="610796" y="2107510"/>
            <a:ext cx="1631414" cy="3245725"/>
          </a:xfrm>
          <a:prstGeom prst="rect">
            <a:avLst/>
          </a:prstGeom>
          <a:solidFill>
            <a:srgbClr val="CDD2D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84706" tIns="44046" rIns="84706" bIns="44046" anchor="ctr"/>
          <a:lstStyle/>
          <a:p>
            <a:pPr algn="ctr" eaLnBrk="1" hangingPunct="1">
              <a:defRPr/>
            </a:pPr>
            <a:endParaRPr lang="en-US" sz="1599" b="1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gray">
          <a:xfrm>
            <a:off x="946464" y="2300067"/>
            <a:ext cx="2015602" cy="1199763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lIns="143956" tIns="0" rIns="119963" bIns="0" anchor="ctr"/>
          <a:lstStyle/>
          <a:p>
            <a:pPr eaLnBrk="1" hangingPunct="1">
              <a:lnSpc>
                <a:spcPct val="105000"/>
              </a:lnSpc>
              <a:buClr>
                <a:schemeClr val="tx2"/>
              </a:buClr>
              <a:buSzPct val="120000"/>
              <a:defRPr/>
            </a:pPr>
            <a:r>
              <a:rPr lang="de-DE" sz="1866" b="1" dirty="0" smtClean="0">
                <a:solidFill>
                  <a:srgbClr val="FFFFFF"/>
                </a:solidFill>
                <a:ea typeface="ＭＳ Ｐゴシック" pitchFamily="34" charset="-128"/>
              </a:rPr>
              <a:t>Superior Camp Experience</a:t>
            </a:r>
            <a:endParaRPr lang="de-DE" sz="1866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gray">
          <a:xfrm>
            <a:off x="946464" y="3920152"/>
            <a:ext cx="2015602" cy="1199763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lIns="143956" tIns="0" rIns="119963" bIns="0" anchor="ctr"/>
          <a:lstStyle/>
          <a:p>
            <a:pPr eaLnBrk="1" hangingPunct="1">
              <a:lnSpc>
                <a:spcPct val="105000"/>
              </a:lnSpc>
              <a:buClr>
                <a:schemeClr val="tx2"/>
              </a:buClr>
              <a:buSzPct val="120000"/>
              <a:defRPr/>
            </a:pPr>
            <a:r>
              <a:rPr lang="de-DE" sz="1866" b="1" dirty="0" smtClean="0">
                <a:solidFill>
                  <a:srgbClr val="FFFFFF"/>
                </a:solidFill>
                <a:ea typeface="ＭＳ Ｐゴシック" pitchFamily="34" charset="-128"/>
              </a:rPr>
              <a:t>Year-round Center for Youth Engagement</a:t>
            </a:r>
            <a:endParaRPr lang="de-DE" sz="1866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gray">
          <a:xfrm>
            <a:off x="3151997" y="2348605"/>
            <a:ext cx="8473947" cy="11991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lIns="143956" tIns="0" rIns="119963" bIns="0" anchor="t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66" dirty="0" smtClean="0"/>
              <a:t>Develop strong, confident Jewish ident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66" dirty="0" smtClean="0"/>
              <a:t>Form positive, supportive life-long relationship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66" dirty="0" smtClean="0"/>
              <a:t>Cultivate and enhance self-confidence and independ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66" dirty="0" smtClean="0"/>
              <a:t>Gain leadership skills as idividuals and as community leaders</a:t>
            </a:r>
            <a:endParaRPr lang="de-DE" sz="1866" dirty="0"/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gray">
          <a:xfrm>
            <a:off x="3151997" y="3920152"/>
            <a:ext cx="8208145" cy="115122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lIns="143956" tIns="0" rIns="119963" bIns="0" anchor="t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66" dirty="0" smtClean="0"/>
              <a:t>Deepen and enrich the summer camp experie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66" dirty="0" smtClean="0"/>
              <a:t>Expand opportunities for educating Jewish youth and forming future Jewish lead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66" dirty="0" smtClean="0"/>
              <a:t>Serve as an eduction and resource center for the greater Southwest communities</a:t>
            </a:r>
            <a:endParaRPr lang="de-DE" sz="1866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6861" y="455356"/>
            <a:ext cx="2559083" cy="197620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12" name="TextBox 11"/>
          <p:cNvSpPr txBox="1"/>
          <p:nvPr/>
        </p:nvSpPr>
        <p:spPr>
          <a:xfrm>
            <a:off x="11321490" y="6455578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8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485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>
                <a:sym typeface="Arial" pitchFamily="34" charset="0"/>
              </a:rPr>
              <a:t>2015-2020 Strategic </a:t>
            </a:r>
            <a:r>
              <a:rPr lang="de-DE" dirty="0" smtClean="0">
                <a:sym typeface="Arial" pitchFamily="34" charset="0"/>
              </a:rPr>
              <a:t>Plan</a:t>
            </a:r>
            <a:r>
              <a:rPr lang="de-DE" dirty="0">
                <a:sym typeface="Arial" pitchFamily="34" charset="0"/>
              </a:rPr>
              <a:t/>
            </a:r>
            <a:br>
              <a:rPr lang="de-DE" dirty="0">
                <a:sym typeface="Arial" pitchFamily="34" charset="0"/>
              </a:rPr>
            </a:br>
            <a:r>
              <a:rPr lang="de-DE" b="0" dirty="0" smtClean="0">
                <a:solidFill>
                  <a:schemeClr val="accent2"/>
                </a:solidFill>
                <a:sym typeface="Arial" pitchFamily="34" charset="0"/>
              </a:rPr>
              <a:t>Core Values</a:t>
            </a:r>
            <a:endParaRPr lang="en-US" b="0" dirty="0" smtClean="0">
              <a:solidFill>
                <a:schemeClr val="accent2"/>
              </a:solidFill>
              <a:sym typeface="Arial" panose="020B0604020202020204" pitchFamily="34" charset="0"/>
            </a:endParaRPr>
          </a:p>
        </p:txBody>
      </p:sp>
      <p:sp>
        <p:nvSpPr>
          <p:cNvPr id="34" name="Sechseck 33"/>
          <p:cNvSpPr/>
          <p:nvPr/>
        </p:nvSpPr>
        <p:spPr bwMode="auto">
          <a:xfrm>
            <a:off x="4657609" y="1884985"/>
            <a:ext cx="1591399" cy="1371897"/>
          </a:xfrm>
          <a:prstGeom prst="hexagon">
            <a:avLst>
              <a:gd name="adj" fmla="val 27281"/>
              <a:gd name="vf" fmla="val 115470"/>
            </a:avLst>
          </a:prstGeom>
          <a:solidFill>
            <a:schemeClr val="accent1"/>
          </a:solidFill>
          <a:ln>
            <a:noFill/>
          </a:ln>
          <a:effectLst>
            <a:outerShdw blurRad="50800" dist="254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lIns="0" tIns="0" rIns="0" bIns="0" anchor="t" anchorCtr="0"/>
          <a:lstStyle/>
          <a:p>
            <a:pPr marL="239106" indent="-239106" algn="ctr">
              <a:lnSpc>
                <a:spcPct val="105000"/>
              </a:lnSpc>
              <a:spcAft>
                <a:spcPts val="400"/>
              </a:spcAft>
              <a:buClr>
                <a:schemeClr val="tx2"/>
              </a:buClr>
              <a:buSzPct val="120000"/>
            </a:pPr>
            <a:endParaRPr lang="de-DE" sz="1600" b="1" dirty="0" smtClean="0">
              <a:ea typeface="ＭＳ Ｐゴシック" pitchFamily="34" charset="-128"/>
            </a:endParaRPr>
          </a:p>
          <a:p>
            <a:pPr marL="239106" indent="-239106" algn="ctr">
              <a:lnSpc>
                <a:spcPct val="105000"/>
              </a:lnSpc>
              <a:spcAft>
                <a:spcPts val="400"/>
              </a:spcAft>
              <a:buClr>
                <a:schemeClr val="tx2"/>
              </a:buClr>
              <a:buSzPct val="120000"/>
            </a:pPr>
            <a:r>
              <a:rPr lang="de-DE" b="1" dirty="0" smtClean="0">
                <a:solidFill>
                  <a:schemeClr val="bg1"/>
                </a:solidFill>
                <a:ea typeface="ＭＳ Ｐゴシック" pitchFamily="34" charset="-128"/>
              </a:rPr>
              <a:t>Kehillah</a:t>
            </a:r>
            <a:endParaRPr lang="de-DE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35" name="Sechseck 34"/>
          <p:cNvSpPr/>
          <p:nvPr/>
        </p:nvSpPr>
        <p:spPr bwMode="auto">
          <a:xfrm>
            <a:off x="4668041" y="4754091"/>
            <a:ext cx="1591399" cy="1371897"/>
          </a:xfrm>
          <a:prstGeom prst="hexagon">
            <a:avLst>
              <a:gd name="adj" fmla="val 27281"/>
              <a:gd name="vf" fmla="val 115470"/>
            </a:avLst>
          </a:prstGeom>
          <a:solidFill>
            <a:schemeClr val="accent1"/>
          </a:solidFill>
          <a:ln>
            <a:noFill/>
          </a:ln>
          <a:effectLst>
            <a:outerShdw blurRad="50800" dist="254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lIns="0" tIns="0" rIns="0" bIns="0" anchor="t" anchorCtr="0"/>
          <a:lstStyle/>
          <a:p>
            <a:pPr marL="239106" indent="-239106" algn="ctr">
              <a:lnSpc>
                <a:spcPct val="105000"/>
              </a:lnSpc>
              <a:spcAft>
                <a:spcPts val="400"/>
              </a:spcAft>
              <a:buClr>
                <a:srgbClr val="E1000F"/>
              </a:buClr>
              <a:buSzPct val="120000"/>
            </a:pPr>
            <a:endParaRPr lang="de-DE" sz="1600" b="1" dirty="0" smtClean="0">
              <a:solidFill>
                <a:schemeClr val="bg1"/>
              </a:solidFill>
              <a:ea typeface="ＭＳ Ｐゴシック" pitchFamily="34" charset="-128"/>
            </a:endParaRPr>
          </a:p>
          <a:p>
            <a:pPr marL="239106" indent="-239106" algn="ctr">
              <a:lnSpc>
                <a:spcPct val="105000"/>
              </a:lnSpc>
              <a:spcAft>
                <a:spcPts val="400"/>
              </a:spcAft>
              <a:buClr>
                <a:srgbClr val="E1000F"/>
              </a:buClr>
              <a:buSzPct val="120000"/>
            </a:pPr>
            <a:r>
              <a:rPr lang="de-DE" b="1" dirty="0" smtClean="0">
                <a:solidFill>
                  <a:schemeClr val="bg1"/>
                </a:solidFill>
                <a:ea typeface="ＭＳ Ｐゴシック" pitchFamily="34" charset="-128"/>
              </a:rPr>
              <a:t>Tikkun Olam</a:t>
            </a:r>
            <a:endParaRPr lang="de-DE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36" name="Sechseck 35"/>
          <p:cNvSpPr/>
          <p:nvPr/>
        </p:nvSpPr>
        <p:spPr bwMode="auto">
          <a:xfrm>
            <a:off x="4656549" y="3305478"/>
            <a:ext cx="1614383" cy="1391709"/>
          </a:xfrm>
          <a:prstGeom prst="hexagon">
            <a:avLst>
              <a:gd name="adj" fmla="val 27281"/>
              <a:gd name="vf" fmla="val 115470"/>
            </a:avLst>
          </a:prstGeom>
          <a:solidFill>
            <a:schemeClr val="tx2"/>
          </a:solidFill>
          <a:ln>
            <a:noFill/>
          </a:ln>
          <a:effectLst>
            <a:outerShdw blurRad="50800" dist="254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lIns="95970" tIns="0" rIns="95970" bIns="0" anchor="ctr"/>
          <a:lstStyle/>
          <a:p>
            <a:pPr algn="ctr">
              <a:lnSpc>
                <a:spcPct val="105000"/>
              </a:lnSpc>
              <a:buClr>
                <a:schemeClr val="tx2"/>
              </a:buClr>
              <a:buSzPct val="120000"/>
            </a:pPr>
            <a:r>
              <a:rPr lang="de-DE" b="1" dirty="0" smtClean="0">
                <a:solidFill>
                  <a:srgbClr val="FFFFFF"/>
                </a:solidFill>
                <a:ea typeface="ＭＳ Ｐゴシック" pitchFamily="34" charset="-128"/>
              </a:rPr>
              <a:t>Core Values</a:t>
            </a:r>
            <a:endParaRPr lang="de-DE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37" name="Sechseck 36"/>
          <p:cNvSpPr/>
          <p:nvPr/>
        </p:nvSpPr>
        <p:spPr bwMode="auto">
          <a:xfrm>
            <a:off x="5955816" y="2595527"/>
            <a:ext cx="1591399" cy="1371897"/>
          </a:xfrm>
          <a:prstGeom prst="hexagon">
            <a:avLst>
              <a:gd name="adj" fmla="val 27281"/>
              <a:gd name="vf" fmla="val 115470"/>
            </a:avLst>
          </a:prstGeom>
          <a:solidFill>
            <a:schemeClr val="accent2"/>
          </a:solidFill>
          <a:ln>
            <a:noFill/>
          </a:ln>
          <a:effectLst>
            <a:outerShdw blurRad="50800" dist="254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lIns="0" tIns="0" rIns="0" bIns="0" anchor="t" anchorCtr="0"/>
          <a:lstStyle/>
          <a:p>
            <a:pPr marL="239106" indent="-239106" algn="ctr">
              <a:lnSpc>
                <a:spcPct val="105000"/>
              </a:lnSpc>
              <a:spcAft>
                <a:spcPts val="400"/>
              </a:spcAft>
              <a:buClr>
                <a:srgbClr val="E1000F"/>
              </a:buClr>
              <a:buSzPct val="120000"/>
            </a:pPr>
            <a:endParaRPr lang="de-DE" sz="1600" b="1" dirty="0" smtClean="0">
              <a:solidFill>
                <a:schemeClr val="bg1"/>
              </a:solidFill>
              <a:ea typeface="ＭＳ Ｐゴシック" pitchFamily="34" charset="-128"/>
            </a:endParaRPr>
          </a:p>
          <a:p>
            <a:pPr marL="239106" indent="-239106" algn="ctr">
              <a:lnSpc>
                <a:spcPct val="105000"/>
              </a:lnSpc>
              <a:spcAft>
                <a:spcPts val="400"/>
              </a:spcAft>
              <a:buClr>
                <a:srgbClr val="E1000F"/>
              </a:buClr>
              <a:buSzPct val="120000"/>
            </a:pPr>
            <a:r>
              <a:rPr lang="de-DE" b="1" dirty="0" smtClean="0">
                <a:solidFill>
                  <a:schemeClr val="bg1"/>
                </a:solidFill>
                <a:ea typeface="ＭＳ Ｐゴシック" pitchFamily="34" charset="-128"/>
              </a:rPr>
              <a:t>Hachnasat Orchim</a:t>
            </a:r>
            <a:endParaRPr lang="de-DE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38" name="Sechseck 37"/>
          <p:cNvSpPr/>
          <p:nvPr/>
        </p:nvSpPr>
        <p:spPr bwMode="auto">
          <a:xfrm>
            <a:off x="3364328" y="2595527"/>
            <a:ext cx="1591399" cy="1371897"/>
          </a:xfrm>
          <a:prstGeom prst="hexagon">
            <a:avLst>
              <a:gd name="adj" fmla="val 27281"/>
              <a:gd name="vf" fmla="val 115470"/>
            </a:avLst>
          </a:prstGeom>
          <a:solidFill>
            <a:srgbClr val="FFC000"/>
          </a:solidFill>
          <a:ln>
            <a:noFill/>
          </a:ln>
          <a:effectLst>
            <a:outerShdw blurRad="50800" dist="254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lIns="0" tIns="0" rIns="0" bIns="0" anchor="t" anchorCtr="0"/>
          <a:lstStyle/>
          <a:p>
            <a:pPr marL="239106" indent="-239106" algn="ctr">
              <a:lnSpc>
                <a:spcPct val="105000"/>
              </a:lnSpc>
              <a:spcAft>
                <a:spcPts val="400"/>
              </a:spcAft>
              <a:buClr>
                <a:srgbClr val="E1000F"/>
              </a:buClr>
              <a:buSzPct val="120000"/>
            </a:pPr>
            <a:endParaRPr lang="de-DE" sz="1600" b="1" dirty="0" smtClean="0">
              <a:solidFill>
                <a:schemeClr val="bg1"/>
              </a:solidFill>
              <a:ea typeface="ＭＳ Ｐゴシック" pitchFamily="34" charset="-128"/>
            </a:endParaRPr>
          </a:p>
          <a:p>
            <a:pPr marL="239106" indent="-239106" algn="ctr">
              <a:lnSpc>
                <a:spcPct val="105000"/>
              </a:lnSpc>
              <a:spcAft>
                <a:spcPts val="400"/>
              </a:spcAft>
              <a:buClr>
                <a:srgbClr val="E1000F"/>
              </a:buClr>
              <a:buSzPct val="120000"/>
            </a:pPr>
            <a:r>
              <a:rPr lang="de-DE" b="1" dirty="0" smtClean="0">
                <a:solidFill>
                  <a:schemeClr val="bg1"/>
                </a:solidFill>
                <a:ea typeface="ＭＳ Ｐゴシック" pitchFamily="34" charset="-128"/>
              </a:rPr>
              <a:t>B‘Tzelem Elohim</a:t>
            </a:r>
            <a:endParaRPr lang="de-DE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39" name="Sechseck 38"/>
          <p:cNvSpPr/>
          <p:nvPr/>
        </p:nvSpPr>
        <p:spPr bwMode="auto">
          <a:xfrm>
            <a:off x="5955816" y="4035242"/>
            <a:ext cx="1591399" cy="1371897"/>
          </a:xfrm>
          <a:prstGeom prst="hexagon">
            <a:avLst>
              <a:gd name="adj" fmla="val 27281"/>
              <a:gd name="vf" fmla="val 115470"/>
            </a:avLst>
          </a:prstGeom>
          <a:solidFill>
            <a:srgbClr val="FFC000"/>
          </a:solidFill>
          <a:ln>
            <a:noFill/>
          </a:ln>
          <a:effectLst>
            <a:outerShdw blurRad="50800" dist="254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lIns="0" tIns="0" rIns="0" bIns="0" anchor="t" anchorCtr="0"/>
          <a:lstStyle/>
          <a:p>
            <a:pPr marL="239106" indent="-239106" algn="ctr">
              <a:lnSpc>
                <a:spcPct val="105000"/>
              </a:lnSpc>
              <a:spcAft>
                <a:spcPts val="400"/>
              </a:spcAft>
              <a:buClr>
                <a:srgbClr val="E1000F"/>
              </a:buClr>
              <a:buSzPct val="120000"/>
            </a:pPr>
            <a:endParaRPr lang="de-DE" sz="1600" b="1" dirty="0" smtClean="0">
              <a:solidFill>
                <a:schemeClr val="bg1"/>
              </a:solidFill>
              <a:ea typeface="ＭＳ Ｐゴシック" pitchFamily="34" charset="-128"/>
            </a:endParaRPr>
          </a:p>
          <a:p>
            <a:pPr marL="239106" indent="-239106" algn="ctr">
              <a:lnSpc>
                <a:spcPct val="105000"/>
              </a:lnSpc>
              <a:spcAft>
                <a:spcPts val="400"/>
              </a:spcAft>
              <a:buClr>
                <a:srgbClr val="E1000F"/>
              </a:buClr>
              <a:buSzPct val="120000"/>
            </a:pPr>
            <a:r>
              <a:rPr lang="de-DE" b="1" dirty="0" smtClean="0">
                <a:solidFill>
                  <a:schemeClr val="bg1"/>
                </a:solidFill>
                <a:ea typeface="ＭＳ Ｐゴシック" pitchFamily="34" charset="-128"/>
              </a:rPr>
              <a:t>Clal Yisrael</a:t>
            </a:r>
            <a:endParaRPr lang="de-DE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40" name="Sechseck 39"/>
          <p:cNvSpPr/>
          <p:nvPr/>
        </p:nvSpPr>
        <p:spPr bwMode="auto">
          <a:xfrm>
            <a:off x="3364328" y="4035242"/>
            <a:ext cx="1591399" cy="1371897"/>
          </a:xfrm>
          <a:prstGeom prst="hexagon">
            <a:avLst>
              <a:gd name="adj" fmla="val 27281"/>
              <a:gd name="vf" fmla="val 115470"/>
            </a:avLst>
          </a:prstGeom>
          <a:solidFill>
            <a:schemeClr val="accent2"/>
          </a:solidFill>
          <a:ln>
            <a:noFill/>
          </a:ln>
          <a:effectLst>
            <a:outerShdw blurRad="50800" dist="254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lIns="0" tIns="0" rIns="0" bIns="0" anchor="t" anchorCtr="0"/>
          <a:lstStyle/>
          <a:p>
            <a:pPr marL="239106" indent="-239106" algn="ctr">
              <a:lnSpc>
                <a:spcPct val="105000"/>
              </a:lnSpc>
              <a:spcAft>
                <a:spcPts val="400"/>
              </a:spcAft>
              <a:buClr>
                <a:srgbClr val="E1000F"/>
              </a:buClr>
              <a:buSzPct val="120000"/>
            </a:pPr>
            <a:endParaRPr lang="de-DE" sz="1600" b="1" dirty="0" smtClean="0">
              <a:solidFill>
                <a:schemeClr val="bg1"/>
              </a:solidFill>
              <a:ea typeface="ＭＳ Ｐゴシック" pitchFamily="34" charset="-128"/>
            </a:endParaRPr>
          </a:p>
          <a:p>
            <a:pPr marL="239106" indent="-239106" algn="ctr">
              <a:lnSpc>
                <a:spcPct val="105000"/>
              </a:lnSpc>
              <a:spcAft>
                <a:spcPts val="400"/>
              </a:spcAft>
              <a:buClr>
                <a:srgbClr val="E1000F"/>
              </a:buClr>
              <a:buSzPct val="120000"/>
            </a:pPr>
            <a:r>
              <a:rPr lang="de-DE" b="1" dirty="0" smtClean="0">
                <a:solidFill>
                  <a:schemeClr val="bg1"/>
                </a:solidFill>
                <a:ea typeface="ＭＳ Ｐゴシック" pitchFamily="34" charset="-128"/>
              </a:rPr>
              <a:t>Kavanah</a:t>
            </a:r>
            <a:endParaRPr lang="de-DE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3" name="Rechteck 2"/>
          <p:cNvSpPr/>
          <p:nvPr/>
        </p:nvSpPr>
        <p:spPr bwMode="auto">
          <a:xfrm>
            <a:off x="6280256" y="1865779"/>
            <a:ext cx="4875423" cy="67185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9963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5000"/>
              </a:lnSpc>
              <a:buClr>
                <a:schemeClr val="tx2"/>
              </a:buClr>
              <a:buSzPct val="120000"/>
            </a:pPr>
            <a:r>
              <a:rPr lang="de-DE" sz="1400" b="1" dirty="0" smtClean="0"/>
              <a:t>Community</a:t>
            </a:r>
            <a:r>
              <a:rPr lang="de-DE" sz="1400" dirty="0" smtClean="0"/>
              <a:t> – the sense of belonging to something bigger than the self inspires </a:t>
            </a:r>
            <a:r>
              <a:rPr lang="de-DE" sz="1400" i="1" dirty="0" smtClean="0"/>
              <a:t>kavod</a:t>
            </a:r>
            <a:r>
              <a:rPr lang="de-DE" sz="1400" dirty="0" smtClean="0"/>
              <a:t> (respect) and </a:t>
            </a:r>
            <a:r>
              <a:rPr lang="de-DE" sz="1400" i="1" dirty="0" smtClean="0"/>
              <a:t>chesed</a:t>
            </a:r>
            <a:r>
              <a:rPr lang="de-DE" sz="1400" dirty="0" smtClean="0"/>
              <a:t> (kindness), and forms a safe space for learning and growing</a:t>
            </a:r>
            <a:endParaRPr lang="de-DE" sz="1400" dirty="0"/>
          </a:p>
        </p:txBody>
      </p:sp>
      <p:sp>
        <p:nvSpPr>
          <p:cNvPr id="42" name="Rechteck 41"/>
          <p:cNvSpPr/>
          <p:nvPr/>
        </p:nvSpPr>
        <p:spPr bwMode="auto">
          <a:xfrm>
            <a:off x="7563153" y="2573681"/>
            <a:ext cx="3908101" cy="1391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9963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5000"/>
              </a:lnSpc>
              <a:buClr>
                <a:schemeClr val="tx2"/>
              </a:buClr>
              <a:buSzPct val="120000"/>
            </a:pPr>
            <a:r>
              <a:rPr lang="de-DE" sz="1400" b="1" dirty="0" smtClean="0"/>
              <a:t>Welcoming Guests </a:t>
            </a:r>
            <a:r>
              <a:rPr lang="de-DE" sz="1400" dirty="0" smtClean="0"/>
              <a:t>– a sense of belonging brings people back each summer, but also for newcomers to be warmly welcome</a:t>
            </a:r>
            <a:endParaRPr lang="de-DE" sz="1400" dirty="0"/>
          </a:p>
        </p:txBody>
      </p:sp>
      <p:sp>
        <p:nvSpPr>
          <p:cNvPr id="43" name="Rechteck 42"/>
          <p:cNvSpPr/>
          <p:nvPr/>
        </p:nvSpPr>
        <p:spPr bwMode="auto">
          <a:xfrm>
            <a:off x="7563153" y="4025470"/>
            <a:ext cx="3908101" cy="1391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9963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5000"/>
              </a:lnSpc>
              <a:buClr>
                <a:schemeClr val="tx2"/>
              </a:buClr>
              <a:buSzPct val="120000"/>
            </a:pPr>
            <a:r>
              <a:rPr lang="de-DE" sz="1400" b="1" dirty="0" smtClean="0"/>
              <a:t>Unity of the Jewish People </a:t>
            </a:r>
            <a:r>
              <a:rPr lang="de-DE" sz="1400" dirty="0" smtClean="0"/>
              <a:t>– sense of belonging rooted in the camp community and a love for the land and people of Israel</a:t>
            </a:r>
            <a:endParaRPr lang="de-DE" sz="1400" dirty="0"/>
          </a:p>
        </p:txBody>
      </p:sp>
      <p:sp>
        <p:nvSpPr>
          <p:cNvPr id="46" name="Rechteck 45"/>
          <p:cNvSpPr/>
          <p:nvPr/>
        </p:nvSpPr>
        <p:spPr bwMode="auto">
          <a:xfrm>
            <a:off x="239698" y="2633745"/>
            <a:ext cx="3266982" cy="1391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119963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5000"/>
              </a:lnSpc>
              <a:buClr>
                <a:schemeClr val="tx2"/>
              </a:buClr>
              <a:buSzPct val="120000"/>
            </a:pPr>
            <a:r>
              <a:rPr lang="de-DE" sz="1400" b="1" dirty="0" smtClean="0"/>
              <a:t>In the Image of God </a:t>
            </a:r>
            <a:r>
              <a:rPr lang="de-DE" sz="1400" dirty="0" smtClean="0"/>
              <a:t>– Staff members and campers model the importance of appreciating differences, honoring their own bodies and minds, and taking care of each other</a:t>
            </a:r>
            <a:endParaRPr lang="de-DE" sz="1400" dirty="0"/>
          </a:p>
        </p:txBody>
      </p:sp>
      <p:sp>
        <p:nvSpPr>
          <p:cNvPr id="47" name="Rechteck 46"/>
          <p:cNvSpPr/>
          <p:nvPr/>
        </p:nvSpPr>
        <p:spPr bwMode="auto">
          <a:xfrm>
            <a:off x="280682" y="4202268"/>
            <a:ext cx="3113138" cy="1391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119963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5000"/>
              </a:lnSpc>
              <a:buClr>
                <a:schemeClr val="tx2"/>
              </a:buClr>
              <a:buSzPct val="120000"/>
            </a:pPr>
            <a:r>
              <a:rPr lang="de-DE" sz="1400" b="1" dirty="0" smtClean="0"/>
              <a:t>Spirituality</a:t>
            </a:r>
            <a:r>
              <a:rPr lang="de-DE" sz="1400" dirty="0" smtClean="0"/>
              <a:t> - Camp is where Judiasm comes to life through </a:t>
            </a:r>
            <a:r>
              <a:rPr lang="de-DE" sz="1400" i="1" dirty="0" smtClean="0"/>
              <a:t>hidur mitzvah </a:t>
            </a:r>
            <a:r>
              <a:rPr lang="de-DE" sz="1400" dirty="0" smtClean="0"/>
              <a:t>(creativity), </a:t>
            </a:r>
            <a:r>
              <a:rPr lang="de-DE" sz="1400" i="1" dirty="0" smtClean="0"/>
              <a:t>simcha</a:t>
            </a:r>
            <a:r>
              <a:rPr lang="de-DE" sz="1400" dirty="0" smtClean="0"/>
              <a:t> (celebration), and </a:t>
            </a:r>
            <a:r>
              <a:rPr lang="de-DE" sz="1400" i="1" dirty="0" smtClean="0"/>
              <a:t>ruach</a:t>
            </a:r>
            <a:r>
              <a:rPr lang="de-DE" sz="1400" dirty="0" smtClean="0"/>
              <a:t> (spirit</a:t>
            </a:r>
            <a:r>
              <a:rPr lang="de-DE" sz="1333" dirty="0" smtClean="0"/>
              <a:t>)</a:t>
            </a:r>
            <a:endParaRPr lang="de-DE" sz="1333" dirty="0"/>
          </a:p>
        </p:txBody>
      </p:sp>
      <p:sp>
        <p:nvSpPr>
          <p:cNvPr id="48" name="Rechteck 47"/>
          <p:cNvSpPr/>
          <p:nvPr/>
        </p:nvSpPr>
        <p:spPr bwMode="auto">
          <a:xfrm>
            <a:off x="6126480" y="5521964"/>
            <a:ext cx="3843763" cy="71883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19963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05000"/>
              </a:lnSpc>
              <a:buClr>
                <a:schemeClr val="tx2"/>
              </a:buClr>
              <a:buSzPct val="120000"/>
            </a:pPr>
            <a:r>
              <a:rPr lang="de-DE" sz="1400" b="1" dirty="0" smtClean="0"/>
              <a:t>Repairing the World </a:t>
            </a:r>
            <a:r>
              <a:rPr lang="de-DE" sz="1400" dirty="0" smtClean="0"/>
              <a:t>– the physical space of camp becomes the learning place for </a:t>
            </a:r>
            <a:r>
              <a:rPr lang="de-DE" sz="1400" i="1" dirty="0" smtClean="0"/>
              <a:t>teva</a:t>
            </a:r>
            <a:r>
              <a:rPr lang="de-DE" sz="1400" dirty="0" smtClean="0"/>
              <a:t> (nature) </a:t>
            </a:r>
            <a:endParaRPr lang="de-DE" sz="14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517176" y="6492875"/>
            <a:ext cx="2472271" cy="365125"/>
          </a:xfrm>
        </p:spPr>
        <p:txBody>
          <a:bodyPr/>
          <a:lstStyle/>
          <a:p>
            <a:pPr>
              <a:defRPr/>
            </a:pPr>
            <a:fld id="{44264502-A803-46DA-A761-732CA69BB0B9}" type="datetime1">
              <a:rPr lang="en-US" smtClean="0"/>
              <a:t>3/6/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06081" y="6492875"/>
            <a:ext cx="4822804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Camp Daisy and Harry Stein 2015-2020 Strategic Plan</a:t>
            </a:r>
            <a:endParaRPr lang="de-DE"/>
          </a:p>
        </p:txBody>
      </p:sp>
      <p:sp>
        <p:nvSpPr>
          <p:cNvPr id="18" name="TextBox 17"/>
          <p:cNvSpPr txBox="1"/>
          <p:nvPr/>
        </p:nvSpPr>
        <p:spPr>
          <a:xfrm>
            <a:off x="11321490" y="6455578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9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31600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frvvS7tU.jHhk3t8_T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xCoubx7UODR35ikkcL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xCoubx7UODR35ikkcL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xCoubx7UODR35ikkcL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xCoubx7UODR35ikkcLL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xCoubx7UODR35ikkcL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xCoubx7UODR35ikkcL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af4gNr0Wc7TvF4NjCZQ"/>
</p:tagLst>
</file>

<file path=ppt/theme/theme1.xml><?xml version="1.0" encoding="utf-8"?>
<a:theme xmlns:a="http://schemas.openxmlformats.org/drawingml/2006/main" name="Retrospect">
  <a:themeElements>
    <a:clrScheme name="Retrospect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2</TotalTime>
  <Words>1615</Words>
  <Application>Microsoft Office PowerPoint</Application>
  <PresentationFormat>Widescreen</PresentationFormat>
  <Paragraphs>351</Paragraphs>
  <Slides>20</Slides>
  <Notes>16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ＭＳ Ｐゴシック</vt:lpstr>
      <vt:lpstr>ＭＳ Ｐゴシック</vt:lpstr>
      <vt:lpstr>Arial</vt:lpstr>
      <vt:lpstr>Calibri</vt:lpstr>
      <vt:lpstr>Calibri Light</vt:lpstr>
      <vt:lpstr>Wingdings</vt:lpstr>
      <vt:lpstr>Retrospect</vt:lpstr>
      <vt:lpstr>Camp Daisy and Harry Stein  2015-2020 Strategic Plan February 25, 2015</vt:lpstr>
      <vt:lpstr>Agenda</vt:lpstr>
      <vt:lpstr>2015-2020 Strategic Plan The Process</vt:lpstr>
      <vt:lpstr>2015-2020 Strategic Plan Camp Stein Today: Current State</vt:lpstr>
      <vt:lpstr>2015-2020 Strategic Plan Aspirations for the Future</vt:lpstr>
      <vt:lpstr>Agenda</vt:lpstr>
      <vt:lpstr>2015-2020 Strategic Plan Vision and Mission</vt:lpstr>
      <vt:lpstr>2015-2020 Strategic Plan Vision and Mission</vt:lpstr>
      <vt:lpstr>2015-2020 Strategic Plan Core Values</vt:lpstr>
      <vt:lpstr>Agenda</vt:lpstr>
      <vt:lpstr>2015-2020 Strategic Plan Strategic Objectives</vt:lpstr>
      <vt:lpstr>2015-2020 Strategic Plan Strategic Goals</vt:lpstr>
      <vt:lpstr>2015-2020 Strategic Plan Action Plans</vt:lpstr>
      <vt:lpstr>2015-2020 Strategic Plan Action Plans</vt:lpstr>
      <vt:lpstr>2015-2020 Strategic Plan Action Plans</vt:lpstr>
      <vt:lpstr>2015-2020 Strategic Plan Action Plans</vt:lpstr>
      <vt:lpstr>2015-2020 Strategic Plan Camper Growth Projection</vt:lpstr>
      <vt:lpstr>2015-2020 Strategic Plan Building Blocks</vt:lpstr>
      <vt:lpstr>2015-2020 Strategic Plan Summary</vt:lpstr>
      <vt:lpstr>Thank you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in Roeder</dc:creator>
  <cp:lastModifiedBy>Mark Gold</cp:lastModifiedBy>
  <cp:revision>79</cp:revision>
  <cp:lastPrinted>2015-02-26T17:49:00Z</cp:lastPrinted>
  <dcterms:created xsi:type="dcterms:W3CDTF">2015-02-19T21:44:01Z</dcterms:created>
  <dcterms:modified xsi:type="dcterms:W3CDTF">2015-03-06T14:37:15Z</dcterms:modified>
</cp:coreProperties>
</file>